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7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48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5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aveSubsetFonts="1" autoCompressPictures="0">
  <p:sldMasterIdLst>
    <p:sldMasterId id="2147483648" r:id="rId1"/>
  </p:sldMasterIdLst>
  <p:notesMasterIdLst>
    <p:notesMasterId r:id="rId76"/>
  </p:notesMasterIdLst>
  <p:handoutMasterIdLst>
    <p:handoutMasterId r:id="rId77"/>
  </p:handoutMasterIdLst>
  <p:sldIdLst>
    <p:sldId id="258" r:id="rId2"/>
    <p:sldId id="319" r:id="rId3"/>
    <p:sldId id="260" r:id="rId4"/>
    <p:sldId id="261" r:id="rId5"/>
    <p:sldId id="256" r:id="rId6"/>
    <p:sldId id="263" r:id="rId7"/>
    <p:sldId id="318" r:id="rId8"/>
    <p:sldId id="264" r:id="rId9"/>
    <p:sldId id="265" r:id="rId10"/>
    <p:sldId id="266" r:id="rId11"/>
    <p:sldId id="267" r:id="rId12"/>
    <p:sldId id="268" r:id="rId13"/>
    <p:sldId id="273" r:id="rId14"/>
    <p:sldId id="274" r:id="rId15"/>
    <p:sldId id="331" r:id="rId16"/>
    <p:sldId id="275" r:id="rId17"/>
    <p:sldId id="332" r:id="rId18"/>
    <p:sldId id="276" r:id="rId19"/>
    <p:sldId id="277" r:id="rId20"/>
    <p:sldId id="278" r:id="rId21"/>
    <p:sldId id="269" r:id="rId22"/>
    <p:sldId id="333" r:id="rId23"/>
    <p:sldId id="334" r:id="rId24"/>
    <p:sldId id="326" r:id="rId25"/>
    <p:sldId id="327" r:id="rId26"/>
    <p:sldId id="328" r:id="rId27"/>
    <p:sldId id="335" r:id="rId28"/>
    <p:sldId id="329" r:id="rId29"/>
    <p:sldId id="330" r:id="rId30"/>
    <p:sldId id="279" r:id="rId31"/>
    <p:sldId id="280" r:id="rId32"/>
    <p:sldId id="281" r:id="rId33"/>
    <p:sldId id="283" r:id="rId34"/>
    <p:sldId id="282" r:id="rId35"/>
    <p:sldId id="284" r:id="rId36"/>
    <p:sldId id="285" r:id="rId37"/>
    <p:sldId id="286" r:id="rId38"/>
    <p:sldId id="287" r:id="rId39"/>
    <p:sldId id="291" r:id="rId40"/>
    <p:sldId id="292" r:id="rId41"/>
    <p:sldId id="288" r:id="rId42"/>
    <p:sldId id="289" r:id="rId43"/>
    <p:sldId id="290" r:id="rId44"/>
    <p:sldId id="293" r:id="rId45"/>
    <p:sldId id="294" r:id="rId46"/>
    <p:sldId id="295" r:id="rId47"/>
    <p:sldId id="296" r:id="rId48"/>
    <p:sldId id="297" r:id="rId49"/>
    <p:sldId id="299" r:id="rId50"/>
    <p:sldId id="298" r:id="rId51"/>
    <p:sldId id="300" r:id="rId52"/>
    <p:sldId id="301" r:id="rId53"/>
    <p:sldId id="302" r:id="rId54"/>
    <p:sldId id="303" r:id="rId55"/>
    <p:sldId id="304" r:id="rId56"/>
    <p:sldId id="305" r:id="rId57"/>
    <p:sldId id="306" r:id="rId58"/>
    <p:sldId id="310" r:id="rId59"/>
    <p:sldId id="311" r:id="rId60"/>
    <p:sldId id="312" r:id="rId61"/>
    <p:sldId id="313" r:id="rId62"/>
    <p:sldId id="314" r:id="rId63"/>
    <p:sldId id="315" r:id="rId64"/>
    <p:sldId id="316" r:id="rId65"/>
    <p:sldId id="309" r:id="rId66"/>
    <p:sldId id="308" r:id="rId67"/>
    <p:sldId id="307" r:id="rId68"/>
    <p:sldId id="320" r:id="rId69"/>
    <p:sldId id="324" r:id="rId70"/>
    <p:sldId id="321" r:id="rId71"/>
    <p:sldId id="322" r:id="rId72"/>
    <p:sldId id="323" r:id="rId73"/>
    <p:sldId id="325" r:id="rId74"/>
    <p:sldId id="317" r:id="rId7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79" userDrawn="1">
          <p15:clr>
            <a:srgbClr val="A4A3A4"/>
          </p15:clr>
        </p15:guide>
        <p15:guide id="2" pos="7197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4" pos="6199" userDrawn="1">
          <p15:clr>
            <a:srgbClr val="A4A3A4"/>
          </p15:clr>
        </p15:guide>
        <p15:guide id="5" pos="1118" userDrawn="1">
          <p15:clr>
            <a:srgbClr val="A4A3A4"/>
          </p15:clr>
        </p15:guide>
        <p15:guide id="6" orient="horz" pos="2523" userDrawn="1">
          <p15:clr>
            <a:srgbClr val="A4A3A4"/>
          </p15:clr>
        </p15:guide>
        <p15:guide id="7" pos="302" userDrawn="1">
          <p15:clr>
            <a:srgbClr val="A4A3A4"/>
          </p15:clr>
        </p15:guide>
        <p15:guide id="8" orient="horz" pos="3022" userDrawn="1">
          <p15:clr>
            <a:srgbClr val="A4A3A4"/>
          </p15:clr>
        </p15:guide>
        <p15:guide id="9" orient="horz" pos="2886" userDrawn="1">
          <p15:clr>
            <a:srgbClr val="A4A3A4"/>
          </p15:clr>
        </p15:guide>
        <p15:guide id="10" orient="horz" pos="1661" userDrawn="1">
          <p15:clr>
            <a:srgbClr val="A4A3A4"/>
          </p15:clr>
        </p15:guide>
        <p15:guide id="11" orient="horz" pos="1389" userDrawn="1">
          <p15:clr>
            <a:srgbClr val="A4A3A4"/>
          </p15:clr>
        </p15:guide>
        <p15:guide id="12" pos="5836" userDrawn="1">
          <p15:clr>
            <a:srgbClr val="A4A3A4"/>
          </p15:clr>
        </p15:guide>
        <p15:guide id="13" pos="511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65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262"/>
    <a:srgbClr val="2F52A0"/>
    <a:srgbClr val="00AAFF"/>
    <a:srgbClr val="CFD4D8"/>
    <a:srgbClr val="EBA804"/>
    <a:srgbClr val="FFBC04"/>
    <a:srgbClr val="F7F7F7"/>
    <a:srgbClr val="E3E8EC"/>
    <a:srgbClr val="CD76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87119" autoAdjust="0"/>
  </p:normalViewPr>
  <p:slideViewPr>
    <p:cSldViewPr snapToObjects="1">
      <p:cViewPr varScale="1">
        <p:scale>
          <a:sx n="95" d="100"/>
          <a:sy n="95" d="100"/>
        </p:scale>
        <p:origin x="66" y="66"/>
      </p:cViewPr>
      <p:guideLst>
        <p:guide orient="horz" pos="1979"/>
        <p:guide pos="7197"/>
        <p:guide orient="horz" pos="4201"/>
        <p:guide pos="6199"/>
        <p:guide pos="1118"/>
        <p:guide orient="horz" pos="2523"/>
        <p:guide pos="302"/>
        <p:guide orient="horz" pos="3022"/>
        <p:guide orient="horz" pos="2886"/>
        <p:guide orient="horz" pos="1661"/>
        <p:guide orient="horz" pos="1389"/>
        <p:guide pos="5836"/>
        <p:guide pos="5110"/>
        <p:guide pos="3840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866692-FCFE-6B45-AE8E-60C8D97C4055}" type="datetimeFigureOut">
              <a:rPr lang="de-DE" smtClean="0"/>
              <a:t>20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6BF1C4-E420-F343-BFE0-D89D25B25B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405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730AB8-F80B-4448-8735-F825568A93DA}" type="datetimeFigureOut">
              <a:rPr lang="de-DE" smtClean="0"/>
              <a:t>20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26F747-7A3A-5445-B159-F758C001B7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964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arbwerte</a:t>
            </a:r>
            <a:r>
              <a:rPr lang="de-DE" baseline="0" dirty="0"/>
              <a:t> vom Bild aufwärm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48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3386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390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08629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3752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98853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7024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59528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096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9311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292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ußzeil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8613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4031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4226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1516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847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01845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86650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6576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9513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4078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841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ction</a:t>
            </a:r>
            <a:r>
              <a:rPr lang="de-DE" baseline="0" dirty="0"/>
              <a:t> Title müssen in Gliederungsansicht zu sehen sei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1921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33504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2366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0855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85867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67620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01559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382492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10269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038023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524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7493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641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11658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2705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65607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583803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095586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27291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924909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357080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0395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12325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43481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0555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12565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28647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24908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04676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851424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664807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779531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62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93898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17966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11647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943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48780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23888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450838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20100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530780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73950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003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82471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1338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2692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1193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6F747-7A3A-5445-B159-F758C001B7A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3392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3F8ED-A203-D245-9551-2206E7CC2622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85428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70DF0-F8A2-AA41-BBF2-E1AFE079A998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5109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Platzhalter für vertikalen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0CEE8D-5B4E-844A-910C-448DBD0EECBE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0372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9C589-DFEE-7D4B-A9C7-B5F271018CB8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7390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A6B80-9DD6-F24B-A06C-D7A72153FF08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626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C897E3-EF0E-ED45-81AE-65D94B57CF8B}" type="datetime1">
              <a:rPr lang="de-DE" smtClean="0"/>
              <a:t>2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161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AC5E1-4A77-D34B-B129-1B549674C37F}" type="datetime1">
              <a:rPr lang="de-DE" smtClean="0"/>
              <a:t>20.08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7569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96D01-FF54-1449-89F3-8F64E6F936E4}" type="datetime1">
              <a:rPr lang="de-DE" smtClean="0"/>
              <a:t>20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317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27E92-197D-8B4B-8C42-4790BFB8D086}" type="datetime1">
              <a:rPr lang="de-DE" smtClean="0"/>
              <a:t>20.08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207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8AC622-C587-CB48-9E3E-0A2F10664880}" type="datetime1">
              <a:rPr lang="de-DE" smtClean="0"/>
              <a:t>2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82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B9445-34DE-CF48-8747-C6B602793EAF}" type="datetime1">
              <a:rPr lang="de-DE" smtClean="0"/>
              <a:t>2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1132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51ED12-9873-784C-A872-312D191928AA}" type="datetime1">
              <a:rPr lang="de-DE" smtClean="0"/>
              <a:t>2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Fußzeil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00E7ED-5C83-664F-B4FE-CE4E06B01B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47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notesSlide" Target="../notesSlides/notesSlide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4.xml"/><Relationship Id="rId7" Type="http://schemas.openxmlformats.org/officeDocument/2006/relationships/notesSlide" Target="../notesSlides/notesSlide2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5.emf"/><Relationship Id="rId5" Type="http://schemas.openxmlformats.org/officeDocument/2006/relationships/tags" Target="../tags/tag21.xml"/><Relationship Id="rId10" Type="http://schemas.openxmlformats.org/officeDocument/2006/relationships/notesSlide" Target="../notesSlides/notesSlide24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5.emf"/><Relationship Id="rId4" Type="http://schemas.openxmlformats.org/officeDocument/2006/relationships/notesSlide" Target="../notesSlides/notesSlide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5.emf"/><Relationship Id="rId5" Type="http://schemas.openxmlformats.org/officeDocument/2006/relationships/tags" Target="../tags/tag31.xml"/><Relationship Id="rId10" Type="http://schemas.openxmlformats.org/officeDocument/2006/relationships/notesSlide" Target="../notesSlides/notesSlide45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5.emf"/><Relationship Id="rId4" Type="http://schemas.openxmlformats.org/officeDocument/2006/relationships/tags" Target="../tags/tag38.xml"/><Relationship Id="rId9" Type="http://schemas.openxmlformats.org/officeDocument/2006/relationships/notesSlide" Target="../notesSlides/notesSlide46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5.emf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notesSlide" Target="../notesSlides/notesSlide47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notesSlide" Target="../notesSlides/notesSlide48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5.emf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image" Target="../media/image5.emf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notesSlide" Target="../notesSlides/notesSlide4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notesSlide" Target="../notesSlides/notesSlide50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5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5.emf"/><Relationship Id="rId5" Type="http://schemas.openxmlformats.org/officeDocument/2006/relationships/notesSlide" Target="../notesSlides/notesSlide59.xml"/><Relationship Id="rId4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29890" y="0"/>
            <a:ext cx="12328859" cy="6938682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0E7ED-5C83-664F-B4FE-CE4E06B01BBB}" type="slidenum">
              <a:rPr lang="de-DE" smtClean="0"/>
              <a:t>2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2707" y="3015081"/>
            <a:ext cx="5960643" cy="680619"/>
          </a:xfrm>
        </p:spPr>
        <p:txBody>
          <a:bodyPr>
            <a:normAutofit/>
          </a:bodyPr>
          <a:lstStyle/>
          <a:p>
            <a:r>
              <a:rPr lang="de-DE" sz="3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äsentationstitel</a:t>
            </a: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5602707" y="4037172"/>
            <a:ext cx="5960643" cy="839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de-DE" sz="2000" kern="1600" spc="9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Untertitel der Präsentation oder der </a:t>
            </a:r>
          </a:p>
          <a:p>
            <a:pPr>
              <a:lnSpc>
                <a:spcPct val="120000"/>
              </a:lnSpc>
            </a:pPr>
            <a:r>
              <a:rPr lang="de-DE" sz="2000" kern="1600" spc="9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Name des Vortragenden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10547932" y="6379156"/>
            <a:ext cx="1507219" cy="348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de-DE" sz="1100" kern="1600" spc="9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4. Juni 2017</a:t>
            </a: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0015" y="-71440"/>
            <a:ext cx="1901830" cy="134393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371475" y="352425"/>
            <a:ext cx="5695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Janus Consultants e. V.</a:t>
            </a:r>
            <a:r>
              <a:rPr lang="de-DE" sz="10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      </a:t>
            </a:r>
            <a:r>
              <a:rPr lang="de-DE" sz="10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önigsworther</a:t>
            </a:r>
            <a:r>
              <a:rPr lang="de-DE" sz="10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Platz 1      30167 Hannover         </a:t>
            </a:r>
            <a:r>
              <a:rPr lang="de-DE" sz="1000" i="1" dirty="0">
                <a:solidFill>
                  <a:srgbClr val="1D2262"/>
                </a:solidFill>
                <a:latin typeface="Georgia" charset="0"/>
                <a:ea typeface="Georgia" charset="0"/>
                <a:cs typeface="Georgia" charset="0"/>
              </a:rPr>
              <a:t>Member </a:t>
            </a:r>
            <a:r>
              <a:rPr lang="de-DE" sz="1000" i="1" dirty="0" err="1">
                <a:solidFill>
                  <a:srgbClr val="1D2262"/>
                </a:solidFill>
                <a:latin typeface="Georgia" charset="0"/>
                <a:ea typeface="Georgia" charset="0"/>
                <a:cs typeface="Georgia" charset="0"/>
              </a:rPr>
              <a:t>of</a:t>
            </a:r>
            <a:endParaRPr lang="de-DE" sz="1000" dirty="0">
              <a:solidFill>
                <a:srgbClr val="1D2262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3" name="Bild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125" y="301827"/>
            <a:ext cx="886518" cy="366596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0149" y="317698"/>
            <a:ext cx="818356" cy="409178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1962000" y="456774"/>
            <a:ext cx="45720" cy="45720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1D2262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409200" y="456774"/>
            <a:ext cx="45720" cy="45720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1D2262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4608000" y="456774"/>
            <a:ext cx="45720" cy="45720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1D2262"/>
              </a:solidFill>
            </a:endParaRPr>
          </a:p>
        </p:txBody>
      </p:sp>
      <p:cxnSp>
        <p:nvCxnSpPr>
          <p:cNvPr id="7" name="Gerade Verbindung 6"/>
          <p:cNvCxnSpPr/>
          <p:nvPr/>
        </p:nvCxnSpPr>
        <p:spPr>
          <a:xfrm>
            <a:off x="5735638" y="3789040"/>
            <a:ext cx="360362" cy="0"/>
          </a:xfrm>
          <a:prstGeom prst="line">
            <a:avLst/>
          </a:prstGeom>
          <a:ln w="34925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5735638" y="3861048"/>
            <a:ext cx="360362" cy="0"/>
          </a:xfrm>
          <a:prstGeom prst="line">
            <a:avLst/>
          </a:prstGeom>
          <a:ln w="34925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ierung 16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24" name="Gerade Verbindung 23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Fußzeilenplatzhalt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</p:spTree>
    <p:extLst>
      <p:ext uri="{BB962C8B-B14F-4D97-AF65-F5344CB8AC3E}">
        <p14:creationId xmlns:p14="http://schemas.microsoft.com/office/powerpoint/2010/main" val="131611949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 und Ergebnis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Stufen</a:t>
            </a:r>
          </a:p>
        </p:txBody>
      </p:sp>
      <p:sp>
        <p:nvSpPr>
          <p:cNvPr id="34" name="Freihandform 33"/>
          <p:cNvSpPr/>
          <p:nvPr/>
        </p:nvSpPr>
        <p:spPr>
          <a:xfrm rot="5400000">
            <a:off x="3863696" y="2060635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6" name="Gruppierung 25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27" name="Gerade Verbindung 26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ung 12"/>
          <p:cNvGrpSpPr/>
          <p:nvPr/>
        </p:nvGrpSpPr>
        <p:grpSpPr>
          <a:xfrm>
            <a:off x="7680376" y="2060576"/>
            <a:ext cx="3744862" cy="3456656"/>
            <a:chOff x="7680376" y="2060576"/>
            <a:chExt cx="3744862" cy="3456656"/>
          </a:xfrm>
        </p:grpSpPr>
        <p:sp>
          <p:nvSpPr>
            <p:cNvPr id="42" name="Rechteck 41"/>
            <p:cNvSpPr/>
            <p:nvPr/>
          </p:nvSpPr>
          <p:spPr>
            <a:xfrm>
              <a:off x="7680376" y="2060576"/>
              <a:ext cx="3744862" cy="3456656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7865738" y="2280875"/>
              <a:ext cx="3374137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44" name="Abgerundetes Rechteck 43"/>
          <p:cNvSpPr/>
          <p:nvPr/>
        </p:nvSpPr>
        <p:spPr>
          <a:xfrm>
            <a:off x="7680376" y="1484784"/>
            <a:ext cx="374486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sp>
        <p:nvSpPr>
          <p:cNvPr id="57" name="Abgerundetes Rechteck 56"/>
          <p:cNvSpPr/>
          <p:nvPr/>
        </p:nvSpPr>
        <p:spPr>
          <a:xfrm>
            <a:off x="530674" y="1484784"/>
            <a:ext cx="282902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9" name="Gruppierung 8"/>
          <p:cNvGrpSpPr/>
          <p:nvPr/>
        </p:nvGrpSpPr>
        <p:grpSpPr>
          <a:xfrm>
            <a:off x="533623" y="2060574"/>
            <a:ext cx="3402138" cy="3456657"/>
            <a:chOff x="533623" y="2060574"/>
            <a:chExt cx="3402138" cy="3456657"/>
          </a:xfrm>
        </p:grpSpPr>
        <p:grpSp>
          <p:nvGrpSpPr>
            <p:cNvPr id="50" name="Gruppierung 49"/>
            <p:cNvGrpSpPr/>
            <p:nvPr/>
          </p:nvGrpSpPr>
          <p:grpSpPr>
            <a:xfrm>
              <a:off x="533623" y="2060574"/>
              <a:ext cx="3402138" cy="3456657"/>
              <a:chOff x="479425" y="2060574"/>
              <a:chExt cx="2419619" cy="3456657"/>
            </a:xfrm>
          </p:grpSpPr>
          <p:sp>
            <p:nvSpPr>
              <p:cNvPr id="55" name="Rechteck 54"/>
              <p:cNvSpPr/>
              <p:nvPr/>
            </p:nvSpPr>
            <p:spPr>
              <a:xfrm>
                <a:off x="479425" y="2060574"/>
                <a:ext cx="2009918" cy="345665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6" name="Dreieck 55"/>
              <p:cNvSpPr/>
              <p:nvPr/>
            </p:nvSpPr>
            <p:spPr>
              <a:xfrm rot="5400000">
                <a:off x="961045" y="3579233"/>
                <a:ext cx="3456657" cy="419340"/>
              </a:xfrm>
              <a:prstGeom prst="triangl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58" name="Textfeld 57"/>
            <p:cNvSpPr txBox="1"/>
            <p:nvPr/>
          </p:nvSpPr>
          <p:spPr>
            <a:xfrm>
              <a:off x="687878" y="2280875"/>
              <a:ext cx="2655946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5" name="Abgerundetes Rechteck 74"/>
          <p:cNvSpPr/>
          <p:nvPr/>
        </p:nvSpPr>
        <p:spPr>
          <a:xfrm>
            <a:off x="3935130" y="1484784"/>
            <a:ext cx="282902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11" name="Gruppierung 10"/>
          <p:cNvGrpSpPr/>
          <p:nvPr/>
        </p:nvGrpSpPr>
        <p:grpSpPr>
          <a:xfrm>
            <a:off x="3935760" y="2060574"/>
            <a:ext cx="3404457" cy="3456657"/>
            <a:chOff x="3935760" y="2060574"/>
            <a:chExt cx="3404457" cy="3456657"/>
          </a:xfrm>
        </p:grpSpPr>
        <p:grpSp>
          <p:nvGrpSpPr>
            <p:cNvPr id="72" name="Gruppierung 71"/>
            <p:cNvGrpSpPr/>
            <p:nvPr/>
          </p:nvGrpSpPr>
          <p:grpSpPr>
            <a:xfrm>
              <a:off x="3935760" y="2060574"/>
              <a:ext cx="3404457" cy="3456657"/>
              <a:chOff x="477776" y="2060574"/>
              <a:chExt cx="2421268" cy="3456657"/>
            </a:xfrm>
          </p:grpSpPr>
          <p:sp>
            <p:nvSpPr>
              <p:cNvPr id="73" name="Rechteck 72"/>
              <p:cNvSpPr/>
              <p:nvPr/>
            </p:nvSpPr>
            <p:spPr>
              <a:xfrm>
                <a:off x="479425" y="2060574"/>
                <a:ext cx="2009918" cy="345665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4" name="Dreieck 73"/>
              <p:cNvSpPr/>
              <p:nvPr/>
            </p:nvSpPr>
            <p:spPr>
              <a:xfrm rot="5400000">
                <a:off x="961045" y="3579233"/>
                <a:ext cx="3456657" cy="419340"/>
              </a:xfrm>
              <a:prstGeom prst="triangl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7" name="Dreieck 76"/>
              <p:cNvSpPr/>
              <p:nvPr/>
            </p:nvSpPr>
            <p:spPr>
              <a:xfrm rot="5400000">
                <a:off x="-1040883" y="3579233"/>
                <a:ext cx="3456657" cy="4193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76" name="Textfeld 75"/>
            <p:cNvSpPr txBox="1"/>
            <p:nvPr/>
          </p:nvSpPr>
          <p:spPr>
            <a:xfrm>
              <a:off x="4360286" y="2280875"/>
              <a:ext cx="2671818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226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block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Stufen</a:t>
            </a:r>
          </a:p>
        </p:txBody>
      </p:sp>
      <p:sp>
        <p:nvSpPr>
          <p:cNvPr id="34" name="Freihandform 33"/>
          <p:cNvSpPr/>
          <p:nvPr/>
        </p:nvSpPr>
        <p:spPr>
          <a:xfrm rot="5400000">
            <a:off x="3863696" y="2060635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 58"/>
          <p:cNvSpPr/>
          <p:nvPr/>
        </p:nvSpPr>
        <p:spPr>
          <a:xfrm rot="5400000">
            <a:off x="6960254" y="1988980"/>
            <a:ext cx="5380" cy="5697"/>
          </a:xfrm>
          <a:custGeom>
            <a:avLst/>
            <a:gdLst>
              <a:gd name="connsiteX0" fmla="*/ 0 w 5380"/>
              <a:gd name="connsiteY0" fmla="*/ 5697 h 5697"/>
              <a:gd name="connsiteX1" fmla="*/ 0 w 5380"/>
              <a:gd name="connsiteY1" fmla="*/ 0 h 5697"/>
              <a:gd name="connsiteX2" fmla="*/ 5380 w 5380"/>
              <a:gd name="connsiteY2" fmla="*/ 5697 h 5697"/>
              <a:gd name="connsiteX3" fmla="*/ 0 w 5380"/>
              <a:gd name="connsiteY3" fmla="*/ 5697 h 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0" h="5697">
                <a:moveTo>
                  <a:pt x="0" y="5697"/>
                </a:moveTo>
                <a:lnTo>
                  <a:pt x="0" y="0"/>
                </a:lnTo>
                <a:lnTo>
                  <a:pt x="5380" y="5697"/>
                </a:lnTo>
                <a:lnTo>
                  <a:pt x="0" y="5697"/>
                </a:lnTo>
                <a:close/>
              </a:path>
            </a:pathLst>
          </a:cu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5" name="Gruppierung 24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26" name="Gerade Verbindung 25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2783632" y="2060576"/>
            <a:ext cx="3672408" cy="3455988"/>
            <a:chOff x="2783632" y="2060576"/>
            <a:chExt cx="3672408" cy="3455988"/>
          </a:xfrm>
        </p:grpSpPr>
        <p:sp>
          <p:nvSpPr>
            <p:cNvPr id="27" name="Rechteck 26"/>
            <p:cNvSpPr/>
            <p:nvPr/>
          </p:nvSpPr>
          <p:spPr>
            <a:xfrm>
              <a:off x="2783632" y="2060576"/>
              <a:ext cx="3672408" cy="345598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2927646" y="2118057"/>
              <a:ext cx="3312369" cy="318315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2" name="Gruppierung 1"/>
          <p:cNvGrpSpPr/>
          <p:nvPr/>
        </p:nvGrpSpPr>
        <p:grpSpPr>
          <a:xfrm>
            <a:off x="6960096" y="2060576"/>
            <a:ext cx="3672408" cy="3455988"/>
            <a:chOff x="6960096" y="2060576"/>
            <a:chExt cx="3672408" cy="3455988"/>
          </a:xfrm>
        </p:grpSpPr>
        <p:sp>
          <p:nvSpPr>
            <p:cNvPr id="10" name="Rechteck 9"/>
            <p:cNvSpPr/>
            <p:nvPr/>
          </p:nvSpPr>
          <p:spPr>
            <a:xfrm>
              <a:off x="6960096" y="2060576"/>
              <a:ext cx="3672408" cy="345598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7104112" y="2118057"/>
              <a:ext cx="3312369" cy="318315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2788570" y="1484784"/>
            <a:ext cx="3955501" cy="509733"/>
            <a:chOff x="2788570" y="1484784"/>
            <a:chExt cx="3955501" cy="509733"/>
          </a:xfrm>
        </p:grpSpPr>
        <p:sp>
          <p:nvSpPr>
            <p:cNvPr id="37" name="Dreieck 36"/>
            <p:cNvSpPr/>
            <p:nvPr/>
          </p:nvSpPr>
          <p:spPr>
            <a:xfrm rot="5400000">
              <a:off x="6354277" y="1604722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Abgerundetes Rechteck 42"/>
            <p:cNvSpPr/>
            <p:nvPr/>
          </p:nvSpPr>
          <p:spPr>
            <a:xfrm>
              <a:off x="2788570" y="1484784"/>
              <a:ext cx="3739477" cy="504056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92500" lnSpcReduction="10000"/>
            </a:bodyPr>
            <a:lstStyle/>
            <a:p>
              <a:pPr algn="ctr"/>
              <a:r>
                <a:rPr lang="de-DE" sz="1500" b="1" dirty="0">
                  <a:latin typeface="Arial" charset="0"/>
                  <a:ea typeface="Arial" charset="0"/>
                  <a:cs typeface="Arial" charset="0"/>
                </a:rPr>
                <a:t>Titel</a:t>
              </a:r>
            </a:p>
            <a:p>
              <a:pPr algn="ctr"/>
              <a:r>
                <a:rPr lang="de-DE" sz="1200" dirty="0">
                  <a:latin typeface="Arial" charset="0"/>
                  <a:ea typeface="Arial" charset="0"/>
                  <a:cs typeface="Arial" charset="0"/>
                </a:rPr>
                <a:t>Einheit</a:t>
              </a:r>
            </a:p>
          </p:txBody>
        </p:sp>
      </p:grpSp>
      <p:sp>
        <p:nvSpPr>
          <p:cNvPr id="45" name="Dreieck 44"/>
          <p:cNvSpPr/>
          <p:nvPr/>
        </p:nvSpPr>
        <p:spPr>
          <a:xfrm rot="5400000">
            <a:off x="6840157" y="1604723"/>
            <a:ext cx="509732" cy="26985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" name="Gruppierung 7"/>
          <p:cNvGrpSpPr/>
          <p:nvPr/>
        </p:nvGrpSpPr>
        <p:grpSpPr>
          <a:xfrm>
            <a:off x="6960091" y="1484784"/>
            <a:ext cx="3960444" cy="509734"/>
            <a:chOff x="6960091" y="1484784"/>
            <a:chExt cx="3960444" cy="509734"/>
          </a:xfrm>
        </p:grpSpPr>
        <p:sp>
          <p:nvSpPr>
            <p:cNvPr id="52" name="Dreieck 51"/>
            <p:cNvSpPr/>
            <p:nvPr/>
          </p:nvSpPr>
          <p:spPr>
            <a:xfrm rot="5400000">
              <a:off x="10530741" y="1604722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6960093" y="1484784"/>
              <a:ext cx="3690585" cy="504056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500" b="1" dirty="0">
                  <a:latin typeface="Arial" charset="0"/>
                  <a:ea typeface="Arial" charset="0"/>
                  <a:cs typeface="Arial" charset="0"/>
                </a:rPr>
                <a:t>Titel</a:t>
              </a:r>
            </a:p>
            <a:p>
              <a:pPr algn="ctr"/>
              <a:r>
                <a:rPr lang="de-DE" sz="1200" dirty="0">
                  <a:latin typeface="Arial" charset="0"/>
                  <a:ea typeface="Arial" charset="0"/>
                  <a:cs typeface="Arial" charset="0"/>
                </a:rPr>
                <a:t>Einheit</a:t>
              </a:r>
            </a:p>
          </p:txBody>
        </p:sp>
        <p:sp>
          <p:nvSpPr>
            <p:cNvPr id="49" name="Dreieck 48"/>
            <p:cNvSpPr/>
            <p:nvPr/>
          </p:nvSpPr>
          <p:spPr>
            <a:xfrm rot="5400000">
              <a:off x="6840154" y="1604723"/>
              <a:ext cx="509732" cy="269857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66997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block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 Stufen</a:t>
            </a:r>
          </a:p>
        </p:txBody>
      </p:sp>
      <p:sp>
        <p:nvSpPr>
          <p:cNvPr id="34" name="Freihandform 33"/>
          <p:cNvSpPr/>
          <p:nvPr/>
        </p:nvSpPr>
        <p:spPr>
          <a:xfrm rot="5400000">
            <a:off x="3863696" y="2060635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 58"/>
          <p:cNvSpPr/>
          <p:nvPr/>
        </p:nvSpPr>
        <p:spPr>
          <a:xfrm rot="5400000">
            <a:off x="6960254" y="1988980"/>
            <a:ext cx="5380" cy="5697"/>
          </a:xfrm>
          <a:custGeom>
            <a:avLst/>
            <a:gdLst>
              <a:gd name="connsiteX0" fmla="*/ 0 w 5380"/>
              <a:gd name="connsiteY0" fmla="*/ 5697 h 5697"/>
              <a:gd name="connsiteX1" fmla="*/ 0 w 5380"/>
              <a:gd name="connsiteY1" fmla="*/ 0 h 5697"/>
              <a:gd name="connsiteX2" fmla="*/ 5380 w 5380"/>
              <a:gd name="connsiteY2" fmla="*/ 5697 h 5697"/>
              <a:gd name="connsiteX3" fmla="*/ 0 w 5380"/>
              <a:gd name="connsiteY3" fmla="*/ 5697 h 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0" h="5697">
                <a:moveTo>
                  <a:pt x="0" y="5697"/>
                </a:moveTo>
                <a:lnTo>
                  <a:pt x="0" y="0"/>
                </a:lnTo>
                <a:lnTo>
                  <a:pt x="5380" y="5697"/>
                </a:lnTo>
                <a:lnTo>
                  <a:pt x="0" y="5697"/>
                </a:lnTo>
                <a:close/>
              </a:path>
            </a:pathLst>
          </a:cu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ung 55"/>
          <p:cNvGrpSpPr/>
          <p:nvPr/>
        </p:nvGrpSpPr>
        <p:grpSpPr>
          <a:xfrm>
            <a:off x="490430" y="2065594"/>
            <a:ext cx="3157297" cy="3455988"/>
            <a:chOff x="2783632" y="2060576"/>
            <a:chExt cx="3672408" cy="3455988"/>
          </a:xfrm>
        </p:grpSpPr>
        <p:sp>
          <p:nvSpPr>
            <p:cNvPr id="57" name="Rechteck 56"/>
            <p:cNvSpPr/>
            <p:nvPr/>
          </p:nvSpPr>
          <p:spPr>
            <a:xfrm>
              <a:off x="2783632" y="2060576"/>
              <a:ext cx="3672408" cy="345598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2927646" y="2118057"/>
              <a:ext cx="3312369" cy="318315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1" name="Gruppierung 60"/>
          <p:cNvGrpSpPr/>
          <p:nvPr/>
        </p:nvGrpSpPr>
        <p:grpSpPr>
          <a:xfrm>
            <a:off x="4062432" y="2065594"/>
            <a:ext cx="3157297" cy="3455988"/>
            <a:chOff x="2783632" y="2060576"/>
            <a:chExt cx="3672408" cy="3455988"/>
          </a:xfrm>
        </p:grpSpPr>
        <p:sp>
          <p:nvSpPr>
            <p:cNvPr id="62" name="Rechteck 61"/>
            <p:cNvSpPr/>
            <p:nvPr/>
          </p:nvSpPr>
          <p:spPr>
            <a:xfrm>
              <a:off x="2783632" y="2060576"/>
              <a:ext cx="3672408" cy="345598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2927646" y="2118057"/>
              <a:ext cx="3312369" cy="318315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4" name="Gruppierung 63"/>
          <p:cNvGrpSpPr/>
          <p:nvPr/>
        </p:nvGrpSpPr>
        <p:grpSpPr>
          <a:xfrm>
            <a:off x="7691231" y="2065594"/>
            <a:ext cx="3157297" cy="3455988"/>
            <a:chOff x="2783632" y="2060576"/>
            <a:chExt cx="3672408" cy="3455988"/>
          </a:xfrm>
        </p:grpSpPr>
        <p:sp>
          <p:nvSpPr>
            <p:cNvPr id="65" name="Rechteck 64"/>
            <p:cNvSpPr/>
            <p:nvPr/>
          </p:nvSpPr>
          <p:spPr>
            <a:xfrm>
              <a:off x="2783632" y="2060576"/>
              <a:ext cx="3672408" cy="345598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Textfeld 65"/>
            <p:cNvSpPr txBox="1"/>
            <p:nvPr/>
          </p:nvSpPr>
          <p:spPr>
            <a:xfrm>
              <a:off x="2927646" y="2118057"/>
              <a:ext cx="3312369" cy="318315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9" name="Gruppierung 68"/>
          <p:cNvGrpSpPr/>
          <p:nvPr/>
        </p:nvGrpSpPr>
        <p:grpSpPr>
          <a:xfrm>
            <a:off x="480146" y="1484784"/>
            <a:ext cx="3383604" cy="509734"/>
            <a:chOff x="2788571" y="1484784"/>
            <a:chExt cx="3383604" cy="509734"/>
          </a:xfrm>
        </p:grpSpPr>
        <p:sp>
          <p:nvSpPr>
            <p:cNvPr id="70" name="Dreieck 69"/>
            <p:cNvSpPr/>
            <p:nvPr/>
          </p:nvSpPr>
          <p:spPr>
            <a:xfrm rot="5400000">
              <a:off x="5782381" y="1604723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Abgerundetes Rechteck 70"/>
            <p:cNvSpPr/>
            <p:nvPr/>
          </p:nvSpPr>
          <p:spPr>
            <a:xfrm>
              <a:off x="2788571" y="1484784"/>
              <a:ext cx="3167582" cy="504056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92500" lnSpcReduction="10000"/>
            </a:bodyPr>
            <a:lstStyle/>
            <a:p>
              <a:pPr algn="ctr"/>
              <a:r>
                <a:rPr lang="de-DE" sz="1500" b="1" dirty="0">
                  <a:latin typeface="Arial" charset="0"/>
                  <a:ea typeface="Arial" charset="0"/>
                  <a:cs typeface="Arial" charset="0"/>
                </a:rPr>
                <a:t>Titel</a:t>
              </a:r>
            </a:p>
            <a:p>
              <a:pPr algn="ctr"/>
              <a:r>
                <a:rPr lang="de-DE" sz="1200" dirty="0">
                  <a:latin typeface="Arial" charset="0"/>
                  <a:ea typeface="Arial" charset="0"/>
                  <a:cs typeface="Arial" charset="0"/>
                </a:rPr>
                <a:t>Einheit</a:t>
              </a:r>
            </a:p>
          </p:txBody>
        </p:sp>
      </p:grpSp>
      <p:sp>
        <p:nvSpPr>
          <p:cNvPr id="73" name="Dreieck 72"/>
          <p:cNvSpPr/>
          <p:nvPr/>
        </p:nvSpPr>
        <p:spPr>
          <a:xfrm rot="5400000">
            <a:off x="7099791" y="1604723"/>
            <a:ext cx="509732" cy="269857"/>
          </a:xfrm>
          <a:prstGeom prst="triangl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Rechteck 73"/>
          <p:cNvSpPr/>
          <p:nvPr/>
        </p:nvSpPr>
        <p:spPr>
          <a:xfrm>
            <a:off x="4062434" y="1484784"/>
            <a:ext cx="3157295" cy="504056"/>
          </a:xfrm>
          <a:prstGeom prst="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sp>
        <p:nvSpPr>
          <p:cNvPr id="75" name="Dreieck 74"/>
          <p:cNvSpPr/>
          <p:nvPr/>
        </p:nvSpPr>
        <p:spPr>
          <a:xfrm rot="5400000">
            <a:off x="3942495" y="1604723"/>
            <a:ext cx="509732" cy="26985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0" name="Gruppierung 19"/>
          <p:cNvGrpSpPr/>
          <p:nvPr/>
        </p:nvGrpSpPr>
        <p:grpSpPr>
          <a:xfrm>
            <a:off x="7684133" y="1484784"/>
            <a:ext cx="3171846" cy="509735"/>
            <a:chOff x="7684133" y="1484784"/>
            <a:chExt cx="3171846" cy="509735"/>
          </a:xfrm>
        </p:grpSpPr>
        <p:grpSp>
          <p:nvGrpSpPr>
            <p:cNvPr id="17" name="Gruppierung 16"/>
            <p:cNvGrpSpPr/>
            <p:nvPr/>
          </p:nvGrpSpPr>
          <p:grpSpPr>
            <a:xfrm>
              <a:off x="7684133" y="1484784"/>
              <a:ext cx="3171846" cy="509735"/>
              <a:chOff x="7684133" y="1484784"/>
              <a:chExt cx="3171846" cy="509735"/>
            </a:xfrm>
          </p:grpSpPr>
          <p:sp>
            <p:nvSpPr>
              <p:cNvPr id="82" name="Abgerundetes Rechteck 81"/>
              <p:cNvSpPr/>
              <p:nvPr/>
            </p:nvSpPr>
            <p:spPr>
              <a:xfrm rot="5400000" flipH="1">
                <a:off x="9021577" y="154437"/>
                <a:ext cx="504056" cy="3164749"/>
              </a:xfrm>
              <a:prstGeom prst="round2SameRect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84" name="Dreieck 83"/>
              <p:cNvSpPr/>
              <p:nvPr/>
            </p:nvSpPr>
            <p:spPr>
              <a:xfrm rot="5400000">
                <a:off x="7564196" y="1604724"/>
                <a:ext cx="509732" cy="269857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5" name="Rechteck 84"/>
            <p:cNvSpPr/>
            <p:nvPr/>
          </p:nvSpPr>
          <p:spPr>
            <a:xfrm>
              <a:off x="7938069" y="1484784"/>
              <a:ext cx="289940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500" b="1" dirty="0">
                  <a:latin typeface="Arial" charset="0"/>
                  <a:ea typeface="Arial" charset="0"/>
                  <a:cs typeface="Arial" charset="0"/>
                </a:rPr>
                <a:t>Titel</a:t>
              </a:r>
            </a:p>
            <a:p>
              <a:pPr algn="ctr"/>
              <a:r>
                <a:rPr lang="de-DE" sz="1200" dirty="0">
                  <a:latin typeface="Arial" charset="0"/>
                  <a:ea typeface="Arial" charset="0"/>
                  <a:cs typeface="Arial" charset="0"/>
                </a:rPr>
                <a:t>Einheit</a:t>
              </a:r>
            </a:p>
          </p:txBody>
        </p:sp>
      </p:grpSp>
      <p:sp>
        <p:nvSpPr>
          <p:cNvPr id="3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46004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 nack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Stufen</a:t>
            </a:r>
          </a:p>
        </p:txBody>
      </p:sp>
      <p:sp>
        <p:nvSpPr>
          <p:cNvPr id="34" name="Freihandform 33"/>
          <p:cNvSpPr/>
          <p:nvPr/>
        </p:nvSpPr>
        <p:spPr>
          <a:xfrm rot="5400000">
            <a:off x="3863696" y="2060635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ung 1"/>
          <p:cNvGrpSpPr/>
          <p:nvPr/>
        </p:nvGrpSpPr>
        <p:grpSpPr>
          <a:xfrm>
            <a:off x="1487488" y="3063280"/>
            <a:ext cx="1890450" cy="509736"/>
            <a:chOff x="1487488" y="3063280"/>
            <a:chExt cx="1890450" cy="509736"/>
          </a:xfrm>
        </p:grpSpPr>
        <p:sp>
          <p:nvSpPr>
            <p:cNvPr id="56" name="Freihandform 55"/>
            <p:cNvSpPr/>
            <p:nvPr/>
          </p:nvSpPr>
          <p:spPr>
            <a:xfrm rot="5400000">
              <a:off x="2047759" y="2503009"/>
              <a:ext cx="504355" cy="1624897"/>
            </a:xfrm>
            <a:custGeom>
              <a:avLst/>
              <a:gdLst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0 w 504355"/>
                <a:gd name="connsiteY5" fmla="*/ 0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10451 w 504355"/>
                <a:gd name="connsiteY5" fmla="*/ 2382666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10451 w 504355"/>
                <a:gd name="connsiteY5" fmla="*/ 334410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26126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6670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3495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4355" h="1624897">
                  <a:moveTo>
                    <a:pt x="0" y="1624897"/>
                  </a:moveTo>
                  <a:lnTo>
                    <a:pt x="0" y="1540836"/>
                  </a:lnTo>
                  <a:lnTo>
                    <a:pt x="0" y="1264856"/>
                  </a:lnTo>
                  <a:lnTo>
                    <a:pt x="0" y="1048088"/>
                  </a:lnTo>
                  <a:lnTo>
                    <a:pt x="0" y="710496"/>
                  </a:lnTo>
                  <a:cubicBezTo>
                    <a:pt x="2223" y="473664"/>
                    <a:pt x="1272" y="236833"/>
                    <a:pt x="3495" y="1"/>
                  </a:cubicBezTo>
                  <a:lnTo>
                    <a:pt x="504355" y="0"/>
                  </a:lnTo>
                  <a:lnTo>
                    <a:pt x="504355" y="710496"/>
                  </a:lnTo>
                  <a:lnTo>
                    <a:pt x="504355" y="1048088"/>
                  </a:lnTo>
                  <a:lnTo>
                    <a:pt x="504355" y="1264856"/>
                  </a:lnTo>
                  <a:lnTo>
                    <a:pt x="504355" y="1540836"/>
                  </a:lnTo>
                  <a:lnTo>
                    <a:pt x="504355" y="1619200"/>
                  </a:lnTo>
                  <a:lnTo>
                    <a:pt x="254869" y="1355039"/>
                  </a:lnTo>
                  <a:lnTo>
                    <a:pt x="3" y="1624897"/>
                  </a:lnTo>
                  <a:lnTo>
                    <a:pt x="0" y="16248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631504" y="3162496"/>
              <a:ext cx="1584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itel</a:t>
              </a:r>
            </a:p>
          </p:txBody>
        </p:sp>
        <p:sp>
          <p:nvSpPr>
            <p:cNvPr id="37" name="Dreieck 36"/>
            <p:cNvSpPr/>
            <p:nvPr/>
          </p:nvSpPr>
          <p:spPr>
            <a:xfrm rot="5400000">
              <a:off x="2988144" y="3183221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9" name="Freihandform 58"/>
          <p:cNvSpPr/>
          <p:nvPr/>
        </p:nvSpPr>
        <p:spPr>
          <a:xfrm rot="5400000">
            <a:off x="6960254" y="1988980"/>
            <a:ext cx="5380" cy="5697"/>
          </a:xfrm>
          <a:custGeom>
            <a:avLst/>
            <a:gdLst>
              <a:gd name="connsiteX0" fmla="*/ 0 w 5380"/>
              <a:gd name="connsiteY0" fmla="*/ 5697 h 5697"/>
              <a:gd name="connsiteX1" fmla="*/ 0 w 5380"/>
              <a:gd name="connsiteY1" fmla="*/ 0 h 5697"/>
              <a:gd name="connsiteX2" fmla="*/ 5380 w 5380"/>
              <a:gd name="connsiteY2" fmla="*/ 5697 h 5697"/>
              <a:gd name="connsiteX3" fmla="*/ 0 w 5380"/>
              <a:gd name="connsiteY3" fmla="*/ 5697 h 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0" h="5697">
                <a:moveTo>
                  <a:pt x="0" y="5697"/>
                </a:moveTo>
                <a:lnTo>
                  <a:pt x="0" y="0"/>
                </a:lnTo>
                <a:lnTo>
                  <a:pt x="5380" y="5697"/>
                </a:lnTo>
                <a:lnTo>
                  <a:pt x="0" y="5697"/>
                </a:lnTo>
                <a:close/>
              </a:path>
            </a:pathLst>
          </a:cu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3359696" y="3063280"/>
            <a:ext cx="1890450" cy="509736"/>
            <a:chOff x="3359696" y="3063280"/>
            <a:chExt cx="1890450" cy="509736"/>
          </a:xfrm>
        </p:grpSpPr>
        <p:sp>
          <p:nvSpPr>
            <p:cNvPr id="57" name="Freihandform 56"/>
            <p:cNvSpPr/>
            <p:nvPr/>
          </p:nvSpPr>
          <p:spPr>
            <a:xfrm rot="5400000">
              <a:off x="3919967" y="2503009"/>
              <a:ext cx="504355" cy="1624897"/>
            </a:xfrm>
            <a:custGeom>
              <a:avLst/>
              <a:gdLst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0 w 504355"/>
                <a:gd name="connsiteY5" fmla="*/ 0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10451 w 504355"/>
                <a:gd name="connsiteY5" fmla="*/ 2382666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10451 w 504355"/>
                <a:gd name="connsiteY5" fmla="*/ 334410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26126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6670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3495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4355" h="1624897">
                  <a:moveTo>
                    <a:pt x="0" y="1624897"/>
                  </a:moveTo>
                  <a:lnTo>
                    <a:pt x="0" y="1540836"/>
                  </a:lnTo>
                  <a:lnTo>
                    <a:pt x="0" y="1264856"/>
                  </a:lnTo>
                  <a:lnTo>
                    <a:pt x="0" y="1048088"/>
                  </a:lnTo>
                  <a:lnTo>
                    <a:pt x="0" y="710496"/>
                  </a:lnTo>
                  <a:cubicBezTo>
                    <a:pt x="2223" y="473664"/>
                    <a:pt x="1272" y="236833"/>
                    <a:pt x="3495" y="1"/>
                  </a:cubicBezTo>
                  <a:lnTo>
                    <a:pt x="504355" y="0"/>
                  </a:lnTo>
                  <a:lnTo>
                    <a:pt x="504355" y="710496"/>
                  </a:lnTo>
                  <a:lnTo>
                    <a:pt x="504355" y="1048088"/>
                  </a:lnTo>
                  <a:lnTo>
                    <a:pt x="504355" y="1264856"/>
                  </a:lnTo>
                  <a:lnTo>
                    <a:pt x="504355" y="1540836"/>
                  </a:lnTo>
                  <a:lnTo>
                    <a:pt x="504355" y="1619200"/>
                  </a:lnTo>
                  <a:lnTo>
                    <a:pt x="254869" y="1355039"/>
                  </a:lnTo>
                  <a:lnTo>
                    <a:pt x="3" y="1624897"/>
                  </a:lnTo>
                  <a:lnTo>
                    <a:pt x="0" y="16248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3503712" y="3162496"/>
              <a:ext cx="1584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itel</a:t>
              </a:r>
            </a:p>
          </p:txBody>
        </p:sp>
        <p:sp>
          <p:nvSpPr>
            <p:cNvPr id="61" name="Dreieck 60"/>
            <p:cNvSpPr/>
            <p:nvPr/>
          </p:nvSpPr>
          <p:spPr>
            <a:xfrm rot="5400000">
              <a:off x="4860352" y="3183221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" name="Gruppierung 3"/>
          <p:cNvGrpSpPr/>
          <p:nvPr/>
        </p:nvGrpSpPr>
        <p:grpSpPr>
          <a:xfrm>
            <a:off x="5159896" y="3063280"/>
            <a:ext cx="1890450" cy="509736"/>
            <a:chOff x="5159896" y="3063280"/>
            <a:chExt cx="1890450" cy="509736"/>
          </a:xfrm>
        </p:grpSpPr>
        <p:sp>
          <p:nvSpPr>
            <p:cNvPr id="62" name="Freihandform 61"/>
            <p:cNvSpPr/>
            <p:nvPr/>
          </p:nvSpPr>
          <p:spPr>
            <a:xfrm rot="5400000">
              <a:off x="5720167" y="2503009"/>
              <a:ext cx="504355" cy="1624897"/>
            </a:xfrm>
            <a:custGeom>
              <a:avLst/>
              <a:gdLst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0 w 504355"/>
                <a:gd name="connsiteY5" fmla="*/ 0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10451 w 504355"/>
                <a:gd name="connsiteY5" fmla="*/ 2382666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10451 w 504355"/>
                <a:gd name="connsiteY5" fmla="*/ 334410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26126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6670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3495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4355" h="1624897">
                  <a:moveTo>
                    <a:pt x="0" y="1624897"/>
                  </a:moveTo>
                  <a:lnTo>
                    <a:pt x="0" y="1540836"/>
                  </a:lnTo>
                  <a:lnTo>
                    <a:pt x="0" y="1264856"/>
                  </a:lnTo>
                  <a:lnTo>
                    <a:pt x="0" y="1048088"/>
                  </a:lnTo>
                  <a:lnTo>
                    <a:pt x="0" y="710496"/>
                  </a:lnTo>
                  <a:cubicBezTo>
                    <a:pt x="2223" y="473664"/>
                    <a:pt x="1272" y="236833"/>
                    <a:pt x="3495" y="1"/>
                  </a:cubicBezTo>
                  <a:lnTo>
                    <a:pt x="504355" y="0"/>
                  </a:lnTo>
                  <a:lnTo>
                    <a:pt x="504355" y="710496"/>
                  </a:lnTo>
                  <a:lnTo>
                    <a:pt x="504355" y="1048088"/>
                  </a:lnTo>
                  <a:lnTo>
                    <a:pt x="504355" y="1264856"/>
                  </a:lnTo>
                  <a:lnTo>
                    <a:pt x="504355" y="1540836"/>
                  </a:lnTo>
                  <a:lnTo>
                    <a:pt x="504355" y="1619200"/>
                  </a:lnTo>
                  <a:lnTo>
                    <a:pt x="254869" y="1355039"/>
                  </a:lnTo>
                  <a:lnTo>
                    <a:pt x="3" y="1624897"/>
                  </a:lnTo>
                  <a:lnTo>
                    <a:pt x="0" y="16248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5303912" y="3162496"/>
              <a:ext cx="1584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itel</a:t>
              </a:r>
            </a:p>
          </p:txBody>
        </p:sp>
        <p:sp>
          <p:nvSpPr>
            <p:cNvPr id="64" name="Dreieck 63"/>
            <p:cNvSpPr/>
            <p:nvPr/>
          </p:nvSpPr>
          <p:spPr>
            <a:xfrm rot="5400000">
              <a:off x="6660552" y="3183221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ung 4"/>
          <p:cNvGrpSpPr/>
          <p:nvPr/>
        </p:nvGrpSpPr>
        <p:grpSpPr>
          <a:xfrm>
            <a:off x="6941853" y="3063280"/>
            <a:ext cx="1890450" cy="509736"/>
            <a:chOff x="6941853" y="3063280"/>
            <a:chExt cx="1890450" cy="509736"/>
          </a:xfrm>
        </p:grpSpPr>
        <p:sp>
          <p:nvSpPr>
            <p:cNvPr id="65" name="Freihandform 64"/>
            <p:cNvSpPr/>
            <p:nvPr/>
          </p:nvSpPr>
          <p:spPr>
            <a:xfrm rot="5400000">
              <a:off x="7502124" y="2503009"/>
              <a:ext cx="504355" cy="1624897"/>
            </a:xfrm>
            <a:custGeom>
              <a:avLst/>
              <a:gdLst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0 w 504355"/>
                <a:gd name="connsiteY5" fmla="*/ 0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10451 w 504355"/>
                <a:gd name="connsiteY5" fmla="*/ 2382666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10451 w 504355"/>
                <a:gd name="connsiteY5" fmla="*/ 334410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26126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6670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3495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4355" h="1624897">
                  <a:moveTo>
                    <a:pt x="0" y="1624897"/>
                  </a:moveTo>
                  <a:lnTo>
                    <a:pt x="0" y="1540836"/>
                  </a:lnTo>
                  <a:lnTo>
                    <a:pt x="0" y="1264856"/>
                  </a:lnTo>
                  <a:lnTo>
                    <a:pt x="0" y="1048088"/>
                  </a:lnTo>
                  <a:lnTo>
                    <a:pt x="0" y="710496"/>
                  </a:lnTo>
                  <a:cubicBezTo>
                    <a:pt x="2223" y="473664"/>
                    <a:pt x="1272" y="236833"/>
                    <a:pt x="3495" y="1"/>
                  </a:cubicBezTo>
                  <a:lnTo>
                    <a:pt x="504355" y="0"/>
                  </a:lnTo>
                  <a:lnTo>
                    <a:pt x="504355" y="710496"/>
                  </a:lnTo>
                  <a:lnTo>
                    <a:pt x="504355" y="1048088"/>
                  </a:lnTo>
                  <a:lnTo>
                    <a:pt x="504355" y="1264856"/>
                  </a:lnTo>
                  <a:lnTo>
                    <a:pt x="504355" y="1540836"/>
                  </a:lnTo>
                  <a:lnTo>
                    <a:pt x="504355" y="1619200"/>
                  </a:lnTo>
                  <a:lnTo>
                    <a:pt x="254869" y="1355039"/>
                  </a:lnTo>
                  <a:lnTo>
                    <a:pt x="3" y="1624897"/>
                  </a:lnTo>
                  <a:lnTo>
                    <a:pt x="0" y="16248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Textfeld 65"/>
            <p:cNvSpPr txBox="1"/>
            <p:nvPr/>
          </p:nvSpPr>
          <p:spPr>
            <a:xfrm>
              <a:off x="7085869" y="3162496"/>
              <a:ext cx="1584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itel</a:t>
              </a:r>
            </a:p>
          </p:txBody>
        </p:sp>
        <p:sp>
          <p:nvSpPr>
            <p:cNvPr id="67" name="Dreieck 66"/>
            <p:cNvSpPr/>
            <p:nvPr/>
          </p:nvSpPr>
          <p:spPr>
            <a:xfrm rot="5400000">
              <a:off x="8442509" y="3183221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8742053" y="3063280"/>
            <a:ext cx="1890450" cy="509736"/>
            <a:chOff x="8742053" y="3063280"/>
            <a:chExt cx="1890450" cy="509736"/>
          </a:xfrm>
        </p:grpSpPr>
        <p:sp>
          <p:nvSpPr>
            <p:cNvPr id="68" name="Freihandform 67"/>
            <p:cNvSpPr/>
            <p:nvPr/>
          </p:nvSpPr>
          <p:spPr>
            <a:xfrm rot="5400000">
              <a:off x="9302324" y="2503009"/>
              <a:ext cx="504355" cy="1624897"/>
            </a:xfrm>
            <a:custGeom>
              <a:avLst/>
              <a:gdLst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0 w 504355"/>
                <a:gd name="connsiteY5" fmla="*/ 0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3673153 h 3673153"/>
                <a:gd name="connsiteX1" fmla="*/ 0 w 504355"/>
                <a:gd name="connsiteY1" fmla="*/ 3589092 h 3673153"/>
                <a:gd name="connsiteX2" fmla="*/ 0 w 504355"/>
                <a:gd name="connsiteY2" fmla="*/ 3313112 h 3673153"/>
                <a:gd name="connsiteX3" fmla="*/ 0 w 504355"/>
                <a:gd name="connsiteY3" fmla="*/ 3096344 h 3673153"/>
                <a:gd name="connsiteX4" fmla="*/ 0 w 504355"/>
                <a:gd name="connsiteY4" fmla="*/ 2758752 h 3673153"/>
                <a:gd name="connsiteX5" fmla="*/ 10451 w 504355"/>
                <a:gd name="connsiteY5" fmla="*/ 2382666 h 3673153"/>
                <a:gd name="connsiteX6" fmla="*/ 504355 w 504355"/>
                <a:gd name="connsiteY6" fmla="*/ 0 h 3673153"/>
                <a:gd name="connsiteX7" fmla="*/ 504355 w 504355"/>
                <a:gd name="connsiteY7" fmla="*/ 2758752 h 3673153"/>
                <a:gd name="connsiteX8" fmla="*/ 504355 w 504355"/>
                <a:gd name="connsiteY8" fmla="*/ 3096344 h 3673153"/>
                <a:gd name="connsiteX9" fmla="*/ 504355 w 504355"/>
                <a:gd name="connsiteY9" fmla="*/ 3313112 h 3673153"/>
                <a:gd name="connsiteX10" fmla="*/ 504355 w 504355"/>
                <a:gd name="connsiteY10" fmla="*/ 3589092 h 3673153"/>
                <a:gd name="connsiteX11" fmla="*/ 504355 w 504355"/>
                <a:gd name="connsiteY11" fmla="*/ 3667456 h 3673153"/>
                <a:gd name="connsiteX12" fmla="*/ 254869 w 504355"/>
                <a:gd name="connsiteY12" fmla="*/ 3403295 h 3673153"/>
                <a:gd name="connsiteX13" fmla="*/ 3 w 504355"/>
                <a:gd name="connsiteY13" fmla="*/ 3673153 h 3673153"/>
                <a:gd name="connsiteX14" fmla="*/ 0 w 504355"/>
                <a:gd name="connsiteY14" fmla="*/ 3673153 h 3673153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10451 w 504355"/>
                <a:gd name="connsiteY5" fmla="*/ 334410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26126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6670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  <a:gd name="connsiteX0" fmla="*/ 0 w 504355"/>
                <a:gd name="connsiteY0" fmla="*/ 1624897 h 1624897"/>
                <a:gd name="connsiteX1" fmla="*/ 0 w 504355"/>
                <a:gd name="connsiteY1" fmla="*/ 1540836 h 1624897"/>
                <a:gd name="connsiteX2" fmla="*/ 0 w 504355"/>
                <a:gd name="connsiteY2" fmla="*/ 1264856 h 1624897"/>
                <a:gd name="connsiteX3" fmla="*/ 0 w 504355"/>
                <a:gd name="connsiteY3" fmla="*/ 1048088 h 1624897"/>
                <a:gd name="connsiteX4" fmla="*/ 0 w 504355"/>
                <a:gd name="connsiteY4" fmla="*/ 710496 h 1624897"/>
                <a:gd name="connsiteX5" fmla="*/ 3495 w 504355"/>
                <a:gd name="connsiteY5" fmla="*/ 1 h 1624897"/>
                <a:gd name="connsiteX6" fmla="*/ 504355 w 504355"/>
                <a:gd name="connsiteY6" fmla="*/ 0 h 1624897"/>
                <a:gd name="connsiteX7" fmla="*/ 504355 w 504355"/>
                <a:gd name="connsiteY7" fmla="*/ 710496 h 1624897"/>
                <a:gd name="connsiteX8" fmla="*/ 504355 w 504355"/>
                <a:gd name="connsiteY8" fmla="*/ 1048088 h 1624897"/>
                <a:gd name="connsiteX9" fmla="*/ 504355 w 504355"/>
                <a:gd name="connsiteY9" fmla="*/ 1264856 h 1624897"/>
                <a:gd name="connsiteX10" fmla="*/ 504355 w 504355"/>
                <a:gd name="connsiteY10" fmla="*/ 1540836 h 1624897"/>
                <a:gd name="connsiteX11" fmla="*/ 504355 w 504355"/>
                <a:gd name="connsiteY11" fmla="*/ 1619200 h 1624897"/>
                <a:gd name="connsiteX12" fmla="*/ 254869 w 504355"/>
                <a:gd name="connsiteY12" fmla="*/ 1355039 h 1624897"/>
                <a:gd name="connsiteX13" fmla="*/ 3 w 504355"/>
                <a:gd name="connsiteY13" fmla="*/ 1624897 h 1624897"/>
                <a:gd name="connsiteX14" fmla="*/ 0 w 504355"/>
                <a:gd name="connsiteY14" fmla="*/ 1624897 h 16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4355" h="1624897">
                  <a:moveTo>
                    <a:pt x="0" y="1624897"/>
                  </a:moveTo>
                  <a:lnTo>
                    <a:pt x="0" y="1540836"/>
                  </a:lnTo>
                  <a:lnTo>
                    <a:pt x="0" y="1264856"/>
                  </a:lnTo>
                  <a:lnTo>
                    <a:pt x="0" y="1048088"/>
                  </a:lnTo>
                  <a:lnTo>
                    <a:pt x="0" y="710496"/>
                  </a:lnTo>
                  <a:cubicBezTo>
                    <a:pt x="2223" y="473664"/>
                    <a:pt x="1272" y="236833"/>
                    <a:pt x="3495" y="1"/>
                  </a:cubicBezTo>
                  <a:lnTo>
                    <a:pt x="504355" y="0"/>
                  </a:lnTo>
                  <a:lnTo>
                    <a:pt x="504355" y="710496"/>
                  </a:lnTo>
                  <a:lnTo>
                    <a:pt x="504355" y="1048088"/>
                  </a:lnTo>
                  <a:lnTo>
                    <a:pt x="504355" y="1264856"/>
                  </a:lnTo>
                  <a:lnTo>
                    <a:pt x="504355" y="1540836"/>
                  </a:lnTo>
                  <a:lnTo>
                    <a:pt x="504355" y="1619200"/>
                  </a:lnTo>
                  <a:lnTo>
                    <a:pt x="254869" y="1355039"/>
                  </a:lnTo>
                  <a:lnTo>
                    <a:pt x="3" y="1624897"/>
                  </a:lnTo>
                  <a:lnTo>
                    <a:pt x="0" y="16248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Textfeld 68"/>
            <p:cNvSpPr txBox="1"/>
            <p:nvPr/>
          </p:nvSpPr>
          <p:spPr>
            <a:xfrm>
              <a:off x="8886069" y="3162496"/>
              <a:ext cx="15841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itel</a:t>
              </a:r>
            </a:p>
          </p:txBody>
        </p:sp>
        <p:sp>
          <p:nvSpPr>
            <p:cNvPr id="70" name="Dreieck 69"/>
            <p:cNvSpPr/>
            <p:nvPr/>
          </p:nvSpPr>
          <p:spPr>
            <a:xfrm rot="5400000">
              <a:off x="10242709" y="3183221"/>
              <a:ext cx="509732" cy="269857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506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 senkrech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Stuf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Freihandform 33"/>
          <p:cNvSpPr/>
          <p:nvPr/>
        </p:nvSpPr>
        <p:spPr>
          <a:xfrm rot="5400000">
            <a:off x="5993684" y="1907097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Freihandform 58"/>
          <p:cNvSpPr/>
          <p:nvPr/>
        </p:nvSpPr>
        <p:spPr>
          <a:xfrm rot="5400000">
            <a:off x="9090242" y="1835442"/>
            <a:ext cx="5380" cy="5697"/>
          </a:xfrm>
          <a:custGeom>
            <a:avLst/>
            <a:gdLst>
              <a:gd name="connsiteX0" fmla="*/ 0 w 5380"/>
              <a:gd name="connsiteY0" fmla="*/ 5697 h 5697"/>
              <a:gd name="connsiteX1" fmla="*/ 0 w 5380"/>
              <a:gd name="connsiteY1" fmla="*/ 0 h 5697"/>
              <a:gd name="connsiteX2" fmla="*/ 5380 w 5380"/>
              <a:gd name="connsiteY2" fmla="*/ 5697 h 5697"/>
              <a:gd name="connsiteX3" fmla="*/ 0 w 5380"/>
              <a:gd name="connsiteY3" fmla="*/ 5697 h 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0" h="5697">
                <a:moveTo>
                  <a:pt x="0" y="5697"/>
                </a:moveTo>
                <a:lnTo>
                  <a:pt x="0" y="0"/>
                </a:lnTo>
                <a:lnTo>
                  <a:pt x="5380" y="5697"/>
                </a:lnTo>
                <a:lnTo>
                  <a:pt x="0" y="5697"/>
                </a:lnTo>
                <a:close/>
              </a:path>
            </a:pathLst>
          </a:cu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2438994" y="4285460"/>
            <a:ext cx="1103960" cy="2033587"/>
          </a:xfrm>
          <a:prstGeom prst="homePlate">
            <a:avLst>
              <a:gd name="adj" fmla="val 24273"/>
            </a:avLst>
          </a:prstGeom>
          <a:solidFill>
            <a:srgbClr val="2F52A0"/>
          </a:solidFill>
          <a:ln w="7302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36000" rIns="28800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1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434909" y="3463268"/>
            <a:ext cx="1112130" cy="2033587"/>
          </a:xfrm>
          <a:prstGeom prst="homePlate">
            <a:avLst>
              <a:gd name="adj" fmla="val 25000"/>
            </a:avLst>
          </a:prstGeom>
          <a:solidFill>
            <a:srgbClr val="2F52A0"/>
          </a:solidFill>
          <a:ln w="7302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36000" rIns="28800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2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2434096" y="2628666"/>
            <a:ext cx="1113756" cy="2033587"/>
          </a:xfrm>
          <a:prstGeom prst="homePlate">
            <a:avLst>
              <a:gd name="adj" fmla="val 25000"/>
            </a:avLst>
          </a:prstGeom>
          <a:solidFill>
            <a:srgbClr val="2F52A0"/>
          </a:solidFill>
          <a:ln w="7302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36000" rIns="28800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400" b="1" spc="2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3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2434096" y="1808893"/>
            <a:ext cx="1113756" cy="2033587"/>
          </a:xfrm>
          <a:prstGeom prst="homePlate">
            <a:avLst>
              <a:gd name="adj" fmla="val 25000"/>
            </a:avLst>
          </a:prstGeom>
          <a:solidFill>
            <a:srgbClr val="2F52A0"/>
          </a:solidFill>
          <a:ln w="7302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36000" rIns="28800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5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2433283" y="980897"/>
            <a:ext cx="1115382" cy="2033587"/>
          </a:xfrm>
          <a:prstGeom prst="homePlate">
            <a:avLst>
              <a:gd name="adj" fmla="val 25000"/>
            </a:avLst>
          </a:prstGeom>
          <a:solidFill>
            <a:srgbClr val="2F52A0"/>
          </a:solidFill>
          <a:ln w="7302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2" name="Rechteck 1"/>
          <p:cNvSpPr/>
          <p:nvPr/>
        </p:nvSpPr>
        <p:spPr>
          <a:xfrm>
            <a:off x="4090764" y="1475236"/>
            <a:ext cx="6469286" cy="776163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Textfeld 55"/>
          <p:cNvSpPr txBox="1"/>
          <p:nvPr/>
        </p:nvSpPr>
        <p:spPr>
          <a:xfrm>
            <a:off x="4235400" y="1508421"/>
            <a:ext cx="6181080" cy="676423"/>
          </a:xfrm>
          <a:prstGeom prst="rect">
            <a:avLst/>
          </a:prstGeom>
          <a:noFill/>
        </p:spPr>
        <p:txBody>
          <a:bodyPr wrap="square" rtlCol="0" anchor="t" anchorCtr="0">
            <a:normAutofit/>
          </a:bodyPr>
          <a:lstStyle/>
          <a:p>
            <a:pPr marL="342900" indent="-342900">
              <a:buClr>
                <a:srgbClr val="1D2262"/>
              </a:buClr>
              <a:buFont typeface="Helvetica" charset="0"/>
              <a:buChar char="●"/>
            </a:pP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ste Ebene</a:t>
            </a:r>
          </a:p>
          <a:p>
            <a:pPr marL="800100" lvl="1" indent="-342900">
              <a:buFont typeface="Courier New" charset="0"/>
              <a:buChar char="o"/>
            </a:pP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weite Ebene</a:t>
            </a:r>
          </a:p>
          <a:p>
            <a:pPr marL="1257300" lvl="2" indent="-342900">
              <a:buFont typeface="Symbol" charset="2"/>
              <a:buChar char="-"/>
            </a:pP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ritte Ebene</a:t>
            </a:r>
          </a:p>
          <a:p>
            <a:endParaRPr lang="de-DE" sz="12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3" name="Gruppierung 2"/>
          <p:cNvGrpSpPr/>
          <p:nvPr/>
        </p:nvGrpSpPr>
        <p:grpSpPr>
          <a:xfrm>
            <a:off x="4090764" y="2348880"/>
            <a:ext cx="6469286" cy="2376000"/>
            <a:chOff x="4090764" y="2364806"/>
            <a:chExt cx="6469286" cy="2330153"/>
          </a:xfrm>
        </p:grpSpPr>
        <p:sp>
          <p:nvSpPr>
            <p:cNvPr id="57" name="Rechteck 56"/>
            <p:cNvSpPr/>
            <p:nvPr/>
          </p:nvSpPr>
          <p:spPr>
            <a:xfrm>
              <a:off x="4090764" y="2364806"/>
              <a:ext cx="6469286" cy="689696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4235400" y="2378078"/>
              <a:ext cx="6181080" cy="676424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buFont typeface="Courier New" charset="0"/>
                <a:buChar char="o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buFont typeface="Symbol" charset="2"/>
                <a:buChar char="-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endPara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090764" y="3959853"/>
              <a:ext cx="6469286" cy="735106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Textfeld 68"/>
            <p:cNvSpPr txBox="1"/>
            <p:nvPr/>
          </p:nvSpPr>
          <p:spPr>
            <a:xfrm>
              <a:off x="4235400" y="4018535"/>
              <a:ext cx="6181080" cy="609045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 lnSpcReduction="10000"/>
            </a:bodyPr>
            <a:lstStyle/>
            <a:p>
              <a:pPr marL="342900" indent="-342900"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buFont typeface="Courier New" charset="0"/>
                <a:buChar char="o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buFont typeface="Symbol" charset="2"/>
                <a:buChar char="-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endPara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3" name="Gruppierung 62"/>
          <p:cNvGrpSpPr/>
          <p:nvPr/>
        </p:nvGrpSpPr>
        <p:grpSpPr>
          <a:xfrm>
            <a:off x="4090764" y="3141662"/>
            <a:ext cx="6469286" cy="737577"/>
            <a:chOff x="4090764" y="2364806"/>
            <a:chExt cx="6469286" cy="689696"/>
          </a:xfrm>
        </p:grpSpPr>
        <p:sp>
          <p:nvSpPr>
            <p:cNvPr id="64" name="Rechteck 63"/>
            <p:cNvSpPr/>
            <p:nvPr/>
          </p:nvSpPr>
          <p:spPr>
            <a:xfrm>
              <a:off x="4090764" y="2364806"/>
              <a:ext cx="6469286" cy="689696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4235400" y="2378078"/>
              <a:ext cx="6181080" cy="597882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 lnSpcReduction="10000"/>
            </a:bodyPr>
            <a:lstStyle/>
            <a:p>
              <a:pPr marL="342900" indent="-342900"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buFont typeface="Courier New" charset="0"/>
                <a:buChar char="o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buFont typeface="Symbol" charset="2"/>
                <a:buChar char="-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endPara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70" name="Gruppierung 69"/>
          <p:cNvGrpSpPr/>
          <p:nvPr/>
        </p:nvGrpSpPr>
        <p:grpSpPr>
          <a:xfrm>
            <a:off x="4090764" y="4802403"/>
            <a:ext cx="6469286" cy="782333"/>
            <a:chOff x="4090764" y="2364806"/>
            <a:chExt cx="6469286" cy="689696"/>
          </a:xfrm>
        </p:grpSpPr>
        <p:sp>
          <p:nvSpPr>
            <p:cNvPr id="74" name="Rechteck 73"/>
            <p:cNvSpPr/>
            <p:nvPr/>
          </p:nvSpPr>
          <p:spPr>
            <a:xfrm>
              <a:off x="4090764" y="2364806"/>
              <a:ext cx="6469286" cy="689696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Textfeld 74"/>
            <p:cNvSpPr txBox="1"/>
            <p:nvPr/>
          </p:nvSpPr>
          <p:spPr>
            <a:xfrm>
              <a:off x="4235400" y="2378078"/>
              <a:ext cx="6181080" cy="676424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buFont typeface="Courier New" charset="0"/>
                <a:buChar char="o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buFont typeface="Symbol" charset="2"/>
                <a:buChar char="-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endPara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27421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 senkrech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Stuf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ung 7"/>
          <p:cNvGrpSpPr/>
          <p:nvPr/>
        </p:nvGrpSpPr>
        <p:grpSpPr>
          <a:xfrm>
            <a:off x="1974180" y="1440000"/>
            <a:ext cx="8585870" cy="4149240"/>
            <a:chOff x="1974180" y="1440000"/>
            <a:chExt cx="8585870" cy="4149240"/>
          </a:xfrm>
        </p:grpSpPr>
        <p:grpSp>
          <p:nvGrpSpPr>
            <p:cNvPr id="6" name="Gruppierung 5"/>
            <p:cNvGrpSpPr/>
            <p:nvPr/>
          </p:nvGrpSpPr>
          <p:grpSpPr>
            <a:xfrm>
              <a:off x="1991544" y="4689240"/>
              <a:ext cx="1944216" cy="900000"/>
              <a:chOff x="1991544" y="4689240"/>
              <a:chExt cx="1944216" cy="900000"/>
            </a:xfrm>
          </p:grpSpPr>
          <p:sp>
            <p:nvSpPr>
              <p:cNvPr id="36" name="Rechteck 35"/>
              <p:cNvSpPr/>
              <p:nvPr/>
            </p:nvSpPr>
            <p:spPr>
              <a:xfrm>
                <a:off x="1991544" y="4689240"/>
                <a:ext cx="1944216" cy="900000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" name="Rechteck 3"/>
              <p:cNvSpPr/>
              <p:nvPr/>
            </p:nvSpPr>
            <p:spPr>
              <a:xfrm>
                <a:off x="2063750" y="5143494"/>
                <a:ext cx="18000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altLang="de-DE" sz="1400" b="1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sp>
          <p:nvSpPr>
            <p:cNvPr id="34" name="Freihandform 33"/>
            <p:cNvSpPr/>
            <p:nvPr/>
          </p:nvSpPr>
          <p:spPr>
            <a:xfrm rot="5400000">
              <a:off x="5993684" y="1907097"/>
              <a:ext cx="269" cy="159"/>
            </a:xfrm>
            <a:custGeom>
              <a:avLst/>
              <a:gdLst>
                <a:gd name="connsiteX0" fmla="*/ 0 w 269"/>
                <a:gd name="connsiteY0" fmla="*/ 159 h 159"/>
                <a:gd name="connsiteX1" fmla="*/ 269 w 269"/>
                <a:gd name="connsiteY1" fmla="*/ 0 h 159"/>
                <a:gd name="connsiteX2" fmla="*/ 269 w 269"/>
                <a:gd name="connsiteY2" fmla="*/ 159 h 159"/>
                <a:gd name="connsiteX3" fmla="*/ 0 w 269"/>
                <a:gd name="connsiteY3" fmla="*/ 159 h 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" h="159">
                  <a:moveTo>
                    <a:pt x="0" y="159"/>
                  </a:moveTo>
                  <a:lnTo>
                    <a:pt x="269" y="0"/>
                  </a:lnTo>
                  <a:lnTo>
                    <a:pt x="269" y="159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Freihandform 58"/>
            <p:cNvSpPr/>
            <p:nvPr/>
          </p:nvSpPr>
          <p:spPr>
            <a:xfrm rot="5400000">
              <a:off x="9090242" y="1835442"/>
              <a:ext cx="5380" cy="5697"/>
            </a:xfrm>
            <a:custGeom>
              <a:avLst/>
              <a:gdLst>
                <a:gd name="connsiteX0" fmla="*/ 0 w 5380"/>
                <a:gd name="connsiteY0" fmla="*/ 5697 h 5697"/>
                <a:gd name="connsiteX1" fmla="*/ 0 w 5380"/>
                <a:gd name="connsiteY1" fmla="*/ 0 h 5697"/>
                <a:gd name="connsiteX2" fmla="*/ 5380 w 5380"/>
                <a:gd name="connsiteY2" fmla="*/ 5697 h 5697"/>
                <a:gd name="connsiteX3" fmla="*/ 0 w 5380"/>
                <a:gd name="connsiteY3" fmla="*/ 5697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0" h="5697">
                  <a:moveTo>
                    <a:pt x="0" y="5697"/>
                  </a:moveTo>
                  <a:lnTo>
                    <a:pt x="0" y="0"/>
                  </a:lnTo>
                  <a:lnTo>
                    <a:pt x="5380" y="5697"/>
                  </a:lnTo>
                  <a:lnTo>
                    <a:pt x="0" y="56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AutoShap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2434909" y="3463268"/>
              <a:ext cx="1112130" cy="2033587"/>
            </a:xfrm>
            <a:prstGeom prst="homePlate">
              <a:avLst>
                <a:gd name="adj" fmla="val 25000"/>
              </a:avLst>
            </a:prstGeom>
            <a:solidFill>
              <a:srgbClr val="2F52A0"/>
            </a:solidFill>
            <a:ln w="73025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36000" rIns="288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2" name="AutoShape 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434096" y="2628666"/>
              <a:ext cx="1113756" cy="2033587"/>
            </a:xfrm>
            <a:prstGeom prst="homePlate">
              <a:avLst>
                <a:gd name="adj" fmla="val 25000"/>
              </a:avLst>
            </a:prstGeom>
            <a:solidFill>
              <a:srgbClr val="2F52A0"/>
            </a:solidFill>
            <a:ln w="73025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36000" rIns="288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de-DE" sz="1400" b="1" spc="2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3" name="AutoShap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434096" y="1808893"/>
              <a:ext cx="1113756" cy="2033587"/>
            </a:xfrm>
            <a:prstGeom prst="homePlate">
              <a:avLst>
                <a:gd name="adj" fmla="val 25000"/>
              </a:avLst>
            </a:prstGeom>
            <a:solidFill>
              <a:srgbClr val="2F52A0"/>
            </a:solidFill>
            <a:ln w="73025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36000" rIns="288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5" name="AutoShap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2320509" y="1093671"/>
              <a:ext cx="1340930" cy="2033587"/>
            </a:xfrm>
            <a:prstGeom prst="homePlate">
              <a:avLst>
                <a:gd name="adj" fmla="val 25000"/>
              </a:avLst>
            </a:prstGeom>
            <a:solidFill>
              <a:srgbClr val="2F52A0"/>
            </a:solidFill>
            <a:ln w="73025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" name="Rechteck 1"/>
            <p:cNvSpPr/>
            <p:nvPr/>
          </p:nvSpPr>
          <p:spPr>
            <a:xfrm>
              <a:off x="4090764" y="1475236"/>
              <a:ext cx="6469286" cy="776163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4235400" y="1508421"/>
              <a:ext cx="6181080" cy="67642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buFont typeface="Courier New" charset="0"/>
                <a:buChar char="o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buFont typeface="Symbol" charset="2"/>
                <a:buChar char="-"/>
              </a:pPr>
              <a:r>
                <a: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endPara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grpSp>
          <p:nvGrpSpPr>
            <p:cNvPr id="3" name="Gruppierung 2"/>
            <p:cNvGrpSpPr/>
            <p:nvPr/>
          </p:nvGrpSpPr>
          <p:grpSpPr>
            <a:xfrm>
              <a:off x="4090764" y="2348880"/>
              <a:ext cx="6469286" cy="2376000"/>
              <a:chOff x="4090764" y="2364806"/>
              <a:chExt cx="6469286" cy="2330153"/>
            </a:xfrm>
          </p:grpSpPr>
          <p:sp>
            <p:nvSpPr>
              <p:cNvPr id="57" name="Rechteck 56"/>
              <p:cNvSpPr/>
              <p:nvPr/>
            </p:nvSpPr>
            <p:spPr>
              <a:xfrm>
                <a:off x="4090764" y="2364806"/>
                <a:ext cx="6469286" cy="689696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8" name="Textfeld 57"/>
              <p:cNvSpPr txBox="1"/>
              <p:nvPr/>
            </p:nvSpPr>
            <p:spPr>
              <a:xfrm>
                <a:off x="4235400" y="2378078"/>
                <a:ext cx="6181080" cy="676424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4090764" y="3959853"/>
                <a:ext cx="6469286" cy="735106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9" name="Textfeld 68"/>
              <p:cNvSpPr txBox="1"/>
              <p:nvPr/>
            </p:nvSpPr>
            <p:spPr>
              <a:xfrm>
                <a:off x="4235400" y="4018535"/>
                <a:ext cx="6181080" cy="60904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lnSpcReduction="10000"/>
              </a:bodyPr>
              <a:lstStyle/>
              <a:p>
                <a:pPr marL="342900" indent="-342900"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63" name="Gruppierung 62"/>
            <p:cNvGrpSpPr/>
            <p:nvPr/>
          </p:nvGrpSpPr>
          <p:grpSpPr>
            <a:xfrm>
              <a:off x="4090764" y="3141662"/>
              <a:ext cx="6469286" cy="737577"/>
              <a:chOff x="4090764" y="2364806"/>
              <a:chExt cx="6469286" cy="689696"/>
            </a:xfrm>
          </p:grpSpPr>
          <p:sp>
            <p:nvSpPr>
              <p:cNvPr id="64" name="Rechteck 63"/>
              <p:cNvSpPr/>
              <p:nvPr/>
            </p:nvSpPr>
            <p:spPr>
              <a:xfrm>
                <a:off x="4090764" y="2364806"/>
                <a:ext cx="6469286" cy="689696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5" name="Textfeld 64"/>
              <p:cNvSpPr txBox="1"/>
              <p:nvPr/>
            </p:nvSpPr>
            <p:spPr>
              <a:xfrm>
                <a:off x="4235400" y="2378078"/>
                <a:ext cx="6181080" cy="597882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lnSpcReduction="10000"/>
              </a:bodyPr>
              <a:lstStyle/>
              <a:p>
                <a:pPr marL="342900" indent="-342900"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70" name="Gruppierung 69"/>
            <p:cNvGrpSpPr/>
            <p:nvPr/>
          </p:nvGrpSpPr>
          <p:grpSpPr>
            <a:xfrm>
              <a:off x="4090764" y="4802403"/>
              <a:ext cx="6469286" cy="782333"/>
              <a:chOff x="4090764" y="2364806"/>
              <a:chExt cx="6469286" cy="689696"/>
            </a:xfrm>
          </p:grpSpPr>
          <p:sp>
            <p:nvSpPr>
              <p:cNvPr id="74" name="Rechteck 73"/>
              <p:cNvSpPr/>
              <p:nvPr/>
            </p:nvSpPr>
            <p:spPr>
              <a:xfrm>
                <a:off x="4090764" y="2364806"/>
                <a:ext cx="6469286" cy="689696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5" name="Textfeld 74"/>
              <p:cNvSpPr txBox="1"/>
              <p:nvPr/>
            </p:nvSpPr>
            <p:spPr>
              <a:xfrm>
                <a:off x="4235400" y="2378078"/>
                <a:ext cx="6181080" cy="676424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3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76538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abellenaufzählung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Eben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ung 9"/>
          <p:cNvGrpSpPr/>
          <p:nvPr/>
        </p:nvGrpSpPr>
        <p:grpSpPr>
          <a:xfrm>
            <a:off x="2005315" y="1484784"/>
            <a:ext cx="8555182" cy="4103687"/>
            <a:chOff x="2005315" y="1484784"/>
            <a:chExt cx="8555182" cy="4103687"/>
          </a:xfrm>
        </p:grpSpPr>
        <p:grpSp>
          <p:nvGrpSpPr>
            <p:cNvPr id="8" name="Gruppierung 7"/>
            <p:cNvGrpSpPr/>
            <p:nvPr/>
          </p:nvGrpSpPr>
          <p:grpSpPr>
            <a:xfrm>
              <a:off x="2005315" y="1484784"/>
              <a:ext cx="8555182" cy="4103687"/>
              <a:chOff x="2005315" y="1484784"/>
              <a:chExt cx="8555182" cy="4103687"/>
            </a:xfrm>
          </p:grpSpPr>
          <p:sp>
            <p:nvSpPr>
              <p:cNvPr id="34" name="Freihandform 33"/>
              <p:cNvSpPr/>
              <p:nvPr/>
            </p:nvSpPr>
            <p:spPr>
              <a:xfrm rot="5400000">
                <a:off x="7320092" y="1988081"/>
                <a:ext cx="269" cy="159"/>
              </a:xfrm>
              <a:custGeom>
                <a:avLst/>
                <a:gdLst>
                  <a:gd name="connsiteX0" fmla="*/ 0 w 269"/>
                  <a:gd name="connsiteY0" fmla="*/ 159 h 159"/>
                  <a:gd name="connsiteX1" fmla="*/ 269 w 269"/>
                  <a:gd name="connsiteY1" fmla="*/ 0 h 159"/>
                  <a:gd name="connsiteX2" fmla="*/ 269 w 269"/>
                  <a:gd name="connsiteY2" fmla="*/ 159 h 159"/>
                  <a:gd name="connsiteX3" fmla="*/ 0 w 269"/>
                  <a:gd name="connsiteY3" fmla="*/ 159 h 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9" h="159">
                    <a:moveTo>
                      <a:pt x="0" y="159"/>
                    </a:moveTo>
                    <a:lnTo>
                      <a:pt x="269" y="0"/>
                    </a:lnTo>
                    <a:lnTo>
                      <a:pt x="269" y="159"/>
                    </a:lnTo>
                    <a:lnTo>
                      <a:pt x="0" y="159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Freihandform 58"/>
              <p:cNvSpPr/>
              <p:nvPr/>
            </p:nvSpPr>
            <p:spPr>
              <a:xfrm rot="5400000">
                <a:off x="10416650" y="1916426"/>
                <a:ext cx="5380" cy="5697"/>
              </a:xfrm>
              <a:custGeom>
                <a:avLst/>
                <a:gdLst>
                  <a:gd name="connsiteX0" fmla="*/ 0 w 5380"/>
                  <a:gd name="connsiteY0" fmla="*/ 5697 h 5697"/>
                  <a:gd name="connsiteX1" fmla="*/ 0 w 5380"/>
                  <a:gd name="connsiteY1" fmla="*/ 0 h 5697"/>
                  <a:gd name="connsiteX2" fmla="*/ 5380 w 5380"/>
                  <a:gd name="connsiteY2" fmla="*/ 5697 h 5697"/>
                  <a:gd name="connsiteX3" fmla="*/ 0 w 5380"/>
                  <a:gd name="connsiteY3" fmla="*/ 5697 h 5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80" h="5697">
                    <a:moveTo>
                      <a:pt x="0" y="5697"/>
                    </a:moveTo>
                    <a:lnTo>
                      <a:pt x="0" y="0"/>
                    </a:lnTo>
                    <a:lnTo>
                      <a:pt x="5380" y="5697"/>
                    </a:lnTo>
                    <a:lnTo>
                      <a:pt x="0" y="5697"/>
                    </a:lnTo>
                    <a:close/>
                  </a:path>
                </a:pathLst>
              </a:cu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8" name="Rechteck 77"/>
              <p:cNvSpPr/>
              <p:nvPr/>
            </p:nvSpPr>
            <p:spPr>
              <a:xfrm>
                <a:off x="2005315" y="1484784"/>
                <a:ext cx="1944216" cy="900000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b="1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79" name="Rechteck 78"/>
              <p:cNvSpPr/>
              <p:nvPr/>
            </p:nvSpPr>
            <p:spPr>
              <a:xfrm>
                <a:off x="2005315" y="3608574"/>
                <a:ext cx="1944216" cy="900000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b="1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80" name="Rechteck 79"/>
              <p:cNvSpPr/>
              <p:nvPr/>
            </p:nvSpPr>
            <p:spPr>
              <a:xfrm>
                <a:off x="2005315" y="2555446"/>
                <a:ext cx="1944216" cy="900000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b="1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grpSp>
            <p:nvGrpSpPr>
              <p:cNvPr id="6" name="Gruppierung 5"/>
              <p:cNvGrpSpPr/>
              <p:nvPr/>
            </p:nvGrpSpPr>
            <p:grpSpPr>
              <a:xfrm>
                <a:off x="4078522" y="1484784"/>
                <a:ext cx="6481974" cy="900000"/>
                <a:chOff x="4078522" y="1484784"/>
                <a:chExt cx="6481974" cy="900000"/>
              </a:xfrm>
            </p:grpSpPr>
            <p:sp>
              <p:nvSpPr>
                <p:cNvPr id="93" name="Rechteck 92"/>
                <p:cNvSpPr/>
                <p:nvPr/>
              </p:nvSpPr>
              <p:spPr>
                <a:xfrm>
                  <a:off x="4078522" y="1484784"/>
                  <a:ext cx="6481974" cy="900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9" name="Textfeld 38"/>
                <p:cNvSpPr txBox="1"/>
                <p:nvPr/>
              </p:nvSpPr>
              <p:spPr>
                <a:xfrm>
                  <a:off x="4235400" y="1508421"/>
                  <a:ext cx="6181080" cy="768451"/>
                </a:xfrm>
                <a:prstGeom prst="rect">
                  <a:avLst/>
                </a:prstGeom>
                <a:noFill/>
              </p:spPr>
              <p:txBody>
                <a:bodyPr wrap="square" rtlCol="0" anchor="t" anchorCtr="0">
                  <a:normAutofit fontScale="92500" lnSpcReduction="20000"/>
                </a:bodyPr>
                <a:lstStyle/>
                <a:p>
                  <a:pPr marL="342900" indent="-342900">
                    <a:lnSpc>
                      <a:spcPct val="150000"/>
                    </a:lnSpc>
                    <a:buClr>
                      <a:srgbClr val="1D2262"/>
                    </a:buClr>
                    <a:buFont typeface="Helvetica" charset="0"/>
                    <a:buChar char="●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Erste Ebene</a:t>
                  </a:r>
                </a:p>
                <a:p>
                  <a:pPr marL="800100" lvl="1" indent="-342900">
                    <a:lnSpc>
                      <a:spcPct val="150000"/>
                    </a:lnSpc>
                    <a:buFont typeface="Courier New" charset="0"/>
                    <a:buChar char="o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Zweite Ebene</a:t>
                  </a:r>
                </a:p>
                <a:p>
                  <a:pPr marL="1257300" lvl="2" indent="-342900">
                    <a:lnSpc>
                      <a:spcPct val="150000"/>
                    </a:lnSpc>
                    <a:buFont typeface="Symbol" charset="2"/>
                    <a:buChar char="-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Dritte Ebene</a:t>
                  </a:r>
                </a:p>
                <a:p>
                  <a:pPr>
                    <a:lnSpc>
                      <a:spcPct val="150000"/>
                    </a:lnSpc>
                  </a:pPr>
                  <a:endPara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4" name="Gruppierung 3"/>
              <p:cNvGrpSpPr/>
              <p:nvPr/>
            </p:nvGrpSpPr>
            <p:grpSpPr>
              <a:xfrm>
                <a:off x="4078522" y="2564363"/>
                <a:ext cx="6481975" cy="900001"/>
                <a:chOff x="4078522" y="2564363"/>
                <a:chExt cx="6481975" cy="900001"/>
              </a:xfrm>
            </p:grpSpPr>
            <p:sp>
              <p:nvSpPr>
                <p:cNvPr id="88" name="Rechteck 87"/>
                <p:cNvSpPr/>
                <p:nvPr/>
              </p:nvSpPr>
              <p:spPr>
                <a:xfrm>
                  <a:off x="4078522" y="2564363"/>
                  <a:ext cx="6481975" cy="900001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0" name="Textfeld 39"/>
                <p:cNvSpPr txBox="1"/>
                <p:nvPr/>
              </p:nvSpPr>
              <p:spPr>
                <a:xfrm>
                  <a:off x="4235400" y="2564904"/>
                  <a:ext cx="6181080" cy="768451"/>
                </a:xfrm>
                <a:prstGeom prst="rect">
                  <a:avLst/>
                </a:prstGeom>
                <a:noFill/>
              </p:spPr>
              <p:txBody>
                <a:bodyPr wrap="square" rtlCol="0" anchor="t" anchorCtr="0">
                  <a:normAutofit fontScale="92500" lnSpcReduction="20000"/>
                </a:bodyPr>
                <a:lstStyle/>
                <a:p>
                  <a:pPr marL="342900" indent="-342900">
                    <a:lnSpc>
                      <a:spcPct val="150000"/>
                    </a:lnSpc>
                    <a:buClr>
                      <a:srgbClr val="1D2262"/>
                    </a:buClr>
                    <a:buFont typeface="Helvetica" charset="0"/>
                    <a:buChar char="●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Erste Ebene</a:t>
                  </a:r>
                </a:p>
                <a:p>
                  <a:pPr marL="800100" lvl="1" indent="-342900">
                    <a:lnSpc>
                      <a:spcPct val="150000"/>
                    </a:lnSpc>
                    <a:buFont typeface="Courier New" charset="0"/>
                    <a:buChar char="o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Zweite Ebene</a:t>
                  </a:r>
                </a:p>
                <a:p>
                  <a:pPr marL="1257300" lvl="2" indent="-342900">
                    <a:lnSpc>
                      <a:spcPct val="150000"/>
                    </a:lnSpc>
                    <a:buFont typeface="Symbol" charset="2"/>
                    <a:buChar char="-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Dritte Ebene</a:t>
                  </a:r>
                </a:p>
                <a:p>
                  <a:pPr>
                    <a:lnSpc>
                      <a:spcPct val="150000"/>
                    </a:lnSpc>
                  </a:pPr>
                  <a:endPara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3" name="Gruppierung 2"/>
              <p:cNvGrpSpPr/>
              <p:nvPr/>
            </p:nvGrpSpPr>
            <p:grpSpPr>
              <a:xfrm>
                <a:off x="4078522" y="3617447"/>
                <a:ext cx="6481974" cy="900000"/>
                <a:chOff x="4078522" y="3617447"/>
                <a:chExt cx="6481974" cy="900000"/>
              </a:xfrm>
            </p:grpSpPr>
            <p:sp>
              <p:nvSpPr>
                <p:cNvPr id="82" name="Rechteck 81"/>
                <p:cNvSpPr/>
                <p:nvPr/>
              </p:nvSpPr>
              <p:spPr>
                <a:xfrm>
                  <a:off x="4078522" y="3617447"/>
                  <a:ext cx="6481974" cy="900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4" name="Textfeld 43"/>
                <p:cNvSpPr txBox="1"/>
                <p:nvPr/>
              </p:nvSpPr>
              <p:spPr>
                <a:xfrm>
                  <a:off x="4235400" y="3671023"/>
                  <a:ext cx="6181080" cy="768451"/>
                </a:xfrm>
                <a:prstGeom prst="rect">
                  <a:avLst/>
                </a:prstGeom>
                <a:noFill/>
              </p:spPr>
              <p:txBody>
                <a:bodyPr wrap="square" rtlCol="0" anchor="t" anchorCtr="0">
                  <a:normAutofit fontScale="92500" lnSpcReduction="20000"/>
                </a:bodyPr>
                <a:lstStyle/>
                <a:p>
                  <a:pPr marL="342900" indent="-342900">
                    <a:lnSpc>
                      <a:spcPct val="150000"/>
                    </a:lnSpc>
                    <a:buClr>
                      <a:srgbClr val="1D2262"/>
                    </a:buClr>
                    <a:buFont typeface="Helvetica" charset="0"/>
                    <a:buChar char="●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Erste Ebene</a:t>
                  </a:r>
                </a:p>
                <a:p>
                  <a:pPr marL="800100" lvl="1" indent="-342900">
                    <a:lnSpc>
                      <a:spcPct val="150000"/>
                    </a:lnSpc>
                    <a:buFont typeface="Courier New" charset="0"/>
                    <a:buChar char="o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Zweite Ebene</a:t>
                  </a:r>
                </a:p>
                <a:p>
                  <a:pPr marL="1257300" lvl="2" indent="-342900">
                    <a:lnSpc>
                      <a:spcPct val="150000"/>
                    </a:lnSpc>
                    <a:buFont typeface="Symbol" charset="2"/>
                    <a:buChar char="-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Dritte Ebene</a:t>
                  </a:r>
                </a:p>
                <a:p>
                  <a:pPr>
                    <a:lnSpc>
                      <a:spcPct val="150000"/>
                    </a:lnSpc>
                  </a:pPr>
                  <a:endPara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2" name="Gruppierung 1"/>
              <p:cNvGrpSpPr/>
              <p:nvPr/>
            </p:nvGrpSpPr>
            <p:grpSpPr>
              <a:xfrm>
                <a:off x="4078522" y="4688471"/>
                <a:ext cx="6481974" cy="900000"/>
                <a:chOff x="4078522" y="4688471"/>
                <a:chExt cx="6481974" cy="900000"/>
              </a:xfrm>
            </p:grpSpPr>
            <p:sp>
              <p:nvSpPr>
                <p:cNvPr id="52" name="Rechteck 51"/>
                <p:cNvSpPr/>
                <p:nvPr/>
              </p:nvSpPr>
              <p:spPr>
                <a:xfrm>
                  <a:off x="4078522" y="4688471"/>
                  <a:ext cx="6481974" cy="900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5" name="Textfeld 44"/>
                <p:cNvSpPr txBox="1"/>
                <p:nvPr/>
              </p:nvSpPr>
              <p:spPr>
                <a:xfrm>
                  <a:off x="4235400" y="4792733"/>
                  <a:ext cx="6181080" cy="768451"/>
                </a:xfrm>
                <a:prstGeom prst="rect">
                  <a:avLst/>
                </a:prstGeom>
                <a:noFill/>
              </p:spPr>
              <p:txBody>
                <a:bodyPr wrap="square" rtlCol="0" anchor="t" anchorCtr="0">
                  <a:normAutofit fontScale="92500" lnSpcReduction="20000"/>
                </a:bodyPr>
                <a:lstStyle/>
                <a:p>
                  <a:pPr marL="342900" indent="-342900">
                    <a:lnSpc>
                      <a:spcPct val="150000"/>
                    </a:lnSpc>
                    <a:buClr>
                      <a:srgbClr val="1D2262"/>
                    </a:buClr>
                    <a:buFont typeface="Helvetica" charset="0"/>
                    <a:buChar char="●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Erste Ebene</a:t>
                  </a:r>
                </a:p>
                <a:p>
                  <a:pPr marL="800100" lvl="1" indent="-342900">
                    <a:lnSpc>
                      <a:spcPct val="150000"/>
                    </a:lnSpc>
                    <a:buFont typeface="Courier New" charset="0"/>
                    <a:buChar char="o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Zweite Ebene</a:t>
                  </a:r>
                </a:p>
                <a:p>
                  <a:pPr marL="1257300" lvl="2" indent="-342900">
                    <a:lnSpc>
                      <a:spcPct val="150000"/>
                    </a:lnSpc>
                    <a:buFont typeface="Symbol" charset="2"/>
                    <a:buChar char="-"/>
                  </a:pPr>
                  <a:r>
                    <a:rPr lang="de-DE" sz="1200" dirty="0">
                      <a:solidFill>
                        <a:srgbClr val="1D2262"/>
                      </a:solidFill>
                      <a:latin typeface="Arial" charset="0"/>
                      <a:ea typeface="Arial" charset="0"/>
                      <a:cs typeface="Arial" charset="0"/>
                    </a:rPr>
                    <a:t>Dritte Ebene</a:t>
                  </a:r>
                </a:p>
                <a:p>
                  <a:pPr>
                    <a:lnSpc>
                      <a:spcPct val="150000"/>
                    </a:lnSpc>
                  </a:pPr>
                  <a:endPara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</p:grpSp>
        <p:sp>
          <p:nvSpPr>
            <p:cNvPr id="48" name="Rechteck 47"/>
            <p:cNvSpPr/>
            <p:nvPr/>
          </p:nvSpPr>
          <p:spPr>
            <a:xfrm>
              <a:off x="2005315" y="4688471"/>
              <a:ext cx="1944216" cy="900000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3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67029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abellenaufzählung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Eben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ung 7"/>
          <p:cNvGrpSpPr/>
          <p:nvPr/>
        </p:nvGrpSpPr>
        <p:grpSpPr>
          <a:xfrm>
            <a:off x="2005315" y="1484784"/>
            <a:ext cx="8555182" cy="4103687"/>
            <a:chOff x="2005315" y="1484784"/>
            <a:chExt cx="8555182" cy="4103687"/>
          </a:xfrm>
        </p:grpSpPr>
        <p:sp>
          <p:nvSpPr>
            <p:cNvPr id="34" name="Freihandform 33"/>
            <p:cNvSpPr/>
            <p:nvPr/>
          </p:nvSpPr>
          <p:spPr>
            <a:xfrm rot="5400000">
              <a:off x="7320092" y="1988081"/>
              <a:ext cx="269" cy="159"/>
            </a:xfrm>
            <a:custGeom>
              <a:avLst/>
              <a:gdLst>
                <a:gd name="connsiteX0" fmla="*/ 0 w 269"/>
                <a:gd name="connsiteY0" fmla="*/ 159 h 159"/>
                <a:gd name="connsiteX1" fmla="*/ 269 w 269"/>
                <a:gd name="connsiteY1" fmla="*/ 0 h 159"/>
                <a:gd name="connsiteX2" fmla="*/ 269 w 269"/>
                <a:gd name="connsiteY2" fmla="*/ 159 h 159"/>
                <a:gd name="connsiteX3" fmla="*/ 0 w 269"/>
                <a:gd name="connsiteY3" fmla="*/ 159 h 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" h="159">
                  <a:moveTo>
                    <a:pt x="0" y="159"/>
                  </a:moveTo>
                  <a:lnTo>
                    <a:pt x="269" y="0"/>
                  </a:lnTo>
                  <a:lnTo>
                    <a:pt x="269" y="159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Freihandform 58"/>
            <p:cNvSpPr/>
            <p:nvPr/>
          </p:nvSpPr>
          <p:spPr>
            <a:xfrm rot="5400000">
              <a:off x="10416650" y="1916426"/>
              <a:ext cx="5380" cy="5697"/>
            </a:xfrm>
            <a:custGeom>
              <a:avLst/>
              <a:gdLst>
                <a:gd name="connsiteX0" fmla="*/ 0 w 5380"/>
                <a:gd name="connsiteY0" fmla="*/ 5697 h 5697"/>
                <a:gd name="connsiteX1" fmla="*/ 0 w 5380"/>
                <a:gd name="connsiteY1" fmla="*/ 0 h 5697"/>
                <a:gd name="connsiteX2" fmla="*/ 5380 w 5380"/>
                <a:gd name="connsiteY2" fmla="*/ 5697 h 5697"/>
                <a:gd name="connsiteX3" fmla="*/ 0 w 5380"/>
                <a:gd name="connsiteY3" fmla="*/ 5697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0" h="5697">
                  <a:moveTo>
                    <a:pt x="0" y="5697"/>
                  </a:moveTo>
                  <a:lnTo>
                    <a:pt x="0" y="0"/>
                  </a:lnTo>
                  <a:lnTo>
                    <a:pt x="5380" y="5697"/>
                  </a:lnTo>
                  <a:lnTo>
                    <a:pt x="0" y="5697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Abgerundetes Rechteck 76"/>
            <p:cNvSpPr/>
            <p:nvPr/>
          </p:nvSpPr>
          <p:spPr>
            <a:xfrm>
              <a:off x="2005315" y="4688471"/>
              <a:ext cx="1944216" cy="900000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78" name="Abgerundetes Rechteck 77"/>
            <p:cNvSpPr/>
            <p:nvPr/>
          </p:nvSpPr>
          <p:spPr>
            <a:xfrm>
              <a:off x="2005315" y="1484784"/>
              <a:ext cx="1944216" cy="900000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79" name="Abgerundetes Rechteck 78"/>
            <p:cNvSpPr/>
            <p:nvPr/>
          </p:nvSpPr>
          <p:spPr>
            <a:xfrm>
              <a:off x="2005315" y="3608574"/>
              <a:ext cx="1944216" cy="900000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80" name="Abgerundetes Rechteck 79"/>
            <p:cNvSpPr/>
            <p:nvPr/>
          </p:nvSpPr>
          <p:spPr>
            <a:xfrm>
              <a:off x="2005315" y="2555446"/>
              <a:ext cx="1944216" cy="900000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grpSp>
          <p:nvGrpSpPr>
            <p:cNvPr id="6" name="Gruppierung 5"/>
            <p:cNvGrpSpPr/>
            <p:nvPr/>
          </p:nvGrpSpPr>
          <p:grpSpPr>
            <a:xfrm>
              <a:off x="4078522" y="1484784"/>
              <a:ext cx="6481974" cy="900000"/>
              <a:chOff x="4078522" y="1484784"/>
              <a:chExt cx="6481974" cy="900000"/>
            </a:xfrm>
          </p:grpSpPr>
          <p:sp>
            <p:nvSpPr>
              <p:cNvPr id="93" name="Rechteck 92"/>
              <p:cNvSpPr/>
              <p:nvPr/>
            </p:nvSpPr>
            <p:spPr>
              <a:xfrm>
                <a:off x="4078522" y="1484784"/>
                <a:ext cx="6481974" cy="900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9" name="Textfeld 38"/>
              <p:cNvSpPr txBox="1"/>
              <p:nvPr/>
            </p:nvSpPr>
            <p:spPr>
              <a:xfrm>
                <a:off x="4235400" y="1508421"/>
                <a:ext cx="6181080" cy="76845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fontScale="92500" lnSpcReduction="20000"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4" name="Gruppierung 3"/>
            <p:cNvGrpSpPr/>
            <p:nvPr/>
          </p:nvGrpSpPr>
          <p:grpSpPr>
            <a:xfrm>
              <a:off x="4078522" y="2564363"/>
              <a:ext cx="6481975" cy="900001"/>
              <a:chOff x="4078522" y="2564363"/>
              <a:chExt cx="6481975" cy="900001"/>
            </a:xfrm>
          </p:grpSpPr>
          <p:sp>
            <p:nvSpPr>
              <p:cNvPr id="88" name="Rechteck 87"/>
              <p:cNvSpPr/>
              <p:nvPr/>
            </p:nvSpPr>
            <p:spPr>
              <a:xfrm>
                <a:off x="4078522" y="2564363"/>
                <a:ext cx="6481975" cy="900001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Textfeld 39"/>
              <p:cNvSpPr txBox="1"/>
              <p:nvPr/>
            </p:nvSpPr>
            <p:spPr>
              <a:xfrm>
                <a:off x="4235400" y="2564904"/>
                <a:ext cx="6181080" cy="76845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fontScale="92500" lnSpcReduction="20000"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3" name="Gruppierung 2"/>
            <p:cNvGrpSpPr/>
            <p:nvPr/>
          </p:nvGrpSpPr>
          <p:grpSpPr>
            <a:xfrm>
              <a:off x="4078522" y="3617447"/>
              <a:ext cx="6481974" cy="900000"/>
              <a:chOff x="4078522" y="3617447"/>
              <a:chExt cx="6481974" cy="900000"/>
            </a:xfrm>
          </p:grpSpPr>
          <p:sp>
            <p:nvSpPr>
              <p:cNvPr id="82" name="Rechteck 81"/>
              <p:cNvSpPr/>
              <p:nvPr/>
            </p:nvSpPr>
            <p:spPr>
              <a:xfrm>
                <a:off x="4078522" y="3617447"/>
                <a:ext cx="6481974" cy="900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4235400" y="3671023"/>
                <a:ext cx="6181080" cy="76845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fontScale="92500" lnSpcReduction="20000"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" name="Gruppierung 1"/>
            <p:cNvGrpSpPr/>
            <p:nvPr/>
          </p:nvGrpSpPr>
          <p:grpSpPr>
            <a:xfrm>
              <a:off x="4078522" y="4688471"/>
              <a:ext cx="6481974" cy="900000"/>
              <a:chOff x="4078522" y="4688471"/>
              <a:chExt cx="6481974" cy="900000"/>
            </a:xfrm>
          </p:grpSpPr>
          <p:sp>
            <p:nvSpPr>
              <p:cNvPr id="52" name="Rechteck 51"/>
              <p:cNvSpPr/>
              <p:nvPr/>
            </p:nvSpPr>
            <p:spPr>
              <a:xfrm>
                <a:off x="4078522" y="4688471"/>
                <a:ext cx="6481974" cy="900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5" name="Textfeld 44"/>
              <p:cNvSpPr txBox="1"/>
              <p:nvPr/>
            </p:nvSpPr>
            <p:spPr>
              <a:xfrm>
                <a:off x="4235400" y="4792733"/>
                <a:ext cx="6181080" cy="76845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 fontScale="92500" lnSpcReduction="20000"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3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82144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WOT-Analys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0" name="Gruppierung 29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1" name="Gerade Verbindung 30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ung 18"/>
          <p:cNvGrpSpPr/>
          <p:nvPr/>
        </p:nvGrpSpPr>
        <p:grpSpPr>
          <a:xfrm>
            <a:off x="3359150" y="786320"/>
            <a:ext cx="7218076" cy="5090952"/>
            <a:chOff x="3359150" y="786320"/>
            <a:chExt cx="7218076" cy="5090952"/>
          </a:xfrm>
        </p:grpSpPr>
        <p:sp>
          <p:nvSpPr>
            <p:cNvPr id="52" name="Abgerundetes Rechteck 51"/>
            <p:cNvSpPr/>
            <p:nvPr/>
          </p:nvSpPr>
          <p:spPr>
            <a:xfrm rot="16200000">
              <a:off x="2513178" y="4527244"/>
              <a:ext cx="2196000" cy="504056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12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Internal Origin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ttributes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f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rganization</a:t>
              </a:r>
              <a:endParaRPr lang="de-DE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de-DE" sz="900" dirty="0"/>
            </a:p>
          </p:txBody>
        </p:sp>
        <p:sp>
          <p:nvSpPr>
            <p:cNvPr id="57" name="Abgerundetes Rechteck 56"/>
            <p:cNvSpPr/>
            <p:nvPr/>
          </p:nvSpPr>
          <p:spPr>
            <a:xfrm rot="16200000">
              <a:off x="2531058" y="2190474"/>
              <a:ext cx="2160240" cy="504056"/>
            </a:xfrm>
            <a:prstGeom prst="round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12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Internal Origin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ttributes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f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rganization</a:t>
              </a:r>
              <a:endParaRPr lang="de-DE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de-DE" sz="900" dirty="0"/>
            </a:p>
          </p:txBody>
        </p:sp>
        <p:sp>
          <p:nvSpPr>
            <p:cNvPr id="58" name="Abgerundetes Rechteck 57"/>
            <p:cNvSpPr/>
            <p:nvPr/>
          </p:nvSpPr>
          <p:spPr>
            <a:xfrm>
              <a:off x="3954263" y="786320"/>
              <a:ext cx="3258525" cy="504056"/>
            </a:xfrm>
            <a:prstGeom prst="round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1200" b="1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Helpful</a:t>
              </a:r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o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chiving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he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bjectiv</a:t>
              </a:r>
              <a:endParaRPr lang="de-DE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de-DE" sz="900" dirty="0"/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7318701" y="786320"/>
              <a:ext cx="3258525" cy="504056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1200" b="1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Harmful</a:t>
              </a:r>
              <a:endParaRPr lang="de-DE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o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achiving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he</a:t>
              </a:r>
              <a:r>
                <a:rPr lang="de-DE" sz="9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de-DE" sz="9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bjectiv</a:t>
              </a:r>
              <a:endParaRPr lang="de-DE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endParaRPr lang="de-DE" sz="900" dirty="0"/>
            </a:p>
          </p:txBody>
        </p:sp>
        <p:grpSp>
          <p:nvGrpSpPr>
            <p:cNvPr id="11" name="Gruppierung 10"/>
            <p:cNvGrpSpPr/>
            <p:nvPr/>
          </p:nvGrpSpPr>
          <p:grpSpPr>
            <a:xfrm>
              <a:off x="3933481" y="1362382"/>
              <a:ext cx="3260945" cy="2196000"/>
              <a:chOff x="3933481" y="1362382"/>
              <a:chExt cx="3260945" cy="2196000"/>
            </a:xfrm>
          </p:grpSpPr>
          <p:grpSp>
            <p:nvGrpSpPr>
              <p:cNvPr id="4" name="Gruppierung 3"/>
              <p:cNvGrpSpPr/>
              <p:nvPr/>
            </p:nvGrpSpPr>
            <p:grpSpPr>
              <a:xfrm>
                <a:off x="3933481" y="1362382"/>
                <a:ext cx="3260945" cy="2196000"/>
                <a:chOff x="3933481" y="1362382"/>
                <a:chExt cx="3260945" cy="2196000"/>
              </a:xfrm>
            </p:grpSpPr>
            <p:sp>
              <p:nvSpPr>
                <p:cNvPr id="13" name="Rechteck 12"/>
                <p:cNvSpPr/>
                <p:nvPr/>
              </p:nvSpPr>
              <p:spPr>
                <a:xfrm>
                  <a:off x="3954264" y="1362382"/>
                  <a:ext cx="3240162" cy="2196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3" name="Textfeld 82"/>
                <p:cNvSpPr txBox="1"/>
                <p:nvPr/>
              </p:nvSpPr>
              <p:spPr>
                <a:xfrm>
                  <a:off x="3933481" y="1434392"/>
                  <a:ext cx="3240360" cy="17851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1000" b="1" dirty="0">
                      <a:solidFill>
                        <a:srgbClr val="F7F7F7"/>
                      </a:solidFill>
                      <a:latin typeface="Arial" charset="0"/>
                      <a:ea typeface="Arial" charset="0"/>
                      <a:cs typeface="Arial" charset="0"/>
                    </a:rPr>
                    <a:t>s</a:t>
                  </a:r>
                </a:p>
              </p:txBody>
            </p:sp>
          </p:grpSp>
          <p:sp>
            <p:nvSpPr>
              <p:cNvPr id="62" name="Textfeld 61"/>
              <p:cNvSpPr txBox="1"/>
              <p:nvPr/>
            </p:nvSpPr>
            <p:spPr>
              <a:xfrm>
                <a:off x="4235400" y="1508421"/>
                <a:ext cx="2796704" cy="190597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14" name="Gruppierung 13"/>
            <p:cNvGrpSpPr/>
            <p:nvPr/>
          </p:nvGrpSpPr>
          <p:grpSpPr>
            <a:xfrm>
              <a:off x="7299551" y="1362382"/>
              <a:ext cx="3260945" cy="2196000"/>
              <a:chOff x="7299551" y="1362382"/>
              <a:chExt cx="3260945" cy="2196000"/>
            </a:xfrm>
          </p:grpSpPr>
          <p:grpSp>
            <p:nvGrpSpPr>
              <p:cNvPr id="6" name="Gruppierung 5"/>
              <p:cNvGrpSpPr/>
              <p:nvPr/>
            </p:nvGrpSpPr>
            <p:grpSpPr>
              <a:xfrm>
                <a:off x="7299551" y="1362382"/>
                <a:ext cx="3260945" cy="2196000"/>
                <a:chOff x="7299551" y="1362382"/>
                <a:chExt cx="3260945" cy="2196000"/>
              </a:xfrm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7320334" y="1362382"/>
                  <a:ext cx="3240162" cy="2196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8" name="Textfeld 87"/>
                <p:cNvSpPr txBox="1"/>
                <p:nvPr/>
              </p:nvSpPr>
              <p:spPr>
                <a:xfrm>
                  <a:off x="7299551" y="1434392"/>
                  <a:ext cx="3240360" cy="17851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1000" b="1" dirty="0" err="1">
                      <a:solidFill>
                        <a:srgbClr val="F7F7F7"/>
                      </a:solidFill>
                      <a:latin typeface="Arial" charset="0"/>
                      <a:ea typeface="Arial" charset="0"/>
                      <a:cs typeface="Arial" charset="0"/>
                    </a:rPr>
                    <a:t>w</a:t>
                  </a:r>
                  <a:endParaRPr lang="de-DE" sz="11000" b="1" dirty="0">
                    <a:solidFill>
                      <a:srgbClr val="F7F7F7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  <p:sp>
            <p:nvSpPr>
              <p:cNvPr id="63" name="Textfeld 62"/>
              <p:cNvSpPr txBox="1"/>
              <p:nvPr/>
            </p:nvSpPr>
            <p:spPr>
              <a:xfrm>
                <a:off x="7464152" y="1508421"/>
                <a:ext cx="2796704" cy="190597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17" name="Gruppierung 16"/>
            <p:cNvGrpSpPr/>
            <p:nvPr/>
          </p:nvGrpSpPr>
          <p:grpSpPr>
            <a:xfrm>
              <a:off x="3933481" y="3681272"/>
              <a:ext cx="3260945" cy="2196000"/>
              <a:chOff x="3933481" y="3681272"/>
              <a:chExt cx="3260945" cy="2196000"/>
            </a:xfrm>
          </p:grpSpPr>
          <p:grpSp>
            <p:nvGrpSpPr>
              <p:cNvPr id="8" name="Gruppierung 7"/>
              <p:cNvGrpSpPr/>
              <p:nvPr/>
            </p:nvGrpSpPr>
            <p:grpSpPr>
              <a:xfrm>
                <a:off x="3933481" y="3681272"/>
                <a:ext cx="3260945" cy="2196000"/>
                <a:chOff x="3933481" y="3681272"/>
                <a:chExt cx="3260945" cy="2196000"/>
              </a:xfrm>
            </p:grpSpPr>
            <p:sp>
              <p:nvSpPr>
                <p:cNvPr id="93" name="Rechteck 92"/>
                <p:cNvSpPr/>
                <p:nvPr/>
              </p:nvSpPr>
              <p:spPr>
                <a:xfrm>
                  <a:off x="3954264" y="3681272"/>
                  <a:ext cx="3240162" cy="2196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4" name="Textfeld 93"/>
                <p:cNvSpPr txBox="1"/>
                <p:nvPr/>
              </p:nvSpPr>
              <p:spPr>
                <a:xfrm>
                  <a:off x="3933481" y="3753282"/>
                  <a:ext cx="3240360" cy="17851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1000" b="1" dirty="0">
                      <a:solidFill>
                        <a:srgbClr val="F7F7F7"/>
                      </a:solidFill>
                      <a:latin typeface="Arial" charset="0"/>
                      <a:ea typeface="Arial" charset="0"/>
                      <a:cs typeface="Arial" charset="0"/>
                    </a:rPr>
                    <a:t>o</a:t>
                  </a:r>
                </a:p>
              </p:txBody>
            </p:sp>
          </p:grpSp>
          <p:sp>
            <p:nvSpPr>
              <p:cNvPr id="65" name="Textfeld 64"/>
              <p:cNvSpPr txBox="1"/>
              <p:nvPr/>
            </p:nvSpPr>
            <p:spPr>
              <a:xfrm>
                <a:off x="4235400" y="3837591"/>
                <a:ext cx="2796704" cy="190597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18" name="Gruppierung 17"/>
            <p:cNvGrpSpPr/>
            <p:nvPr/>
          </p:nvGrpSpPr>
          <p:grpSpPr>
            <a:xfrm>
              <a:off x="7297918" y="3681272"/>
              <a:ext cx="3260945" cy="2196000"/>
              <a:chOff x="7297918" y="3681272"/>
              <a:chExt cx="3260945" cy="2196000"/>
            </a:xfrm>
          </p:grpSpPr>
          <p:grpSp>
            <p:nvGrpSpPr>
              <p:cNvPr id="9" name="Gruppierung 8"/>
              <p:cNvGrpSpPr/>
              <p:nvPr/>
            </p:nvGrpSpPr>
            <p:grpSpPr>
              <a:xfrm>
                <a:off x="7297918" y="3681272"/>
                <a:ext cx="3260945" cy="2196000"/>
                <a:chOff x="7297918" y="3681272"/>
                <a:chExt cx="3260945" cy="2196000"/>
              </a:xfrm>
            </p:grpSpPr>
            <p:sp>
              <p:nvSpPr>
                <p:cNvPr id="98" name="Rechteck 97"/>
                <p:cNvSpPr/>
                <p:nvPr/>
              </p:nvSpPr>
              <p:spPr>
                <a:xfrm>
                  <a:off x="7318701" y="3681272"/>
                  <a:ext cx="3240162" cy="2196000"/>
                </a:xfrm>
                <a:prstGeom prst="rect">
                  <a:avLst/>
                </a:prstGeom>
                <a:solidFill>
                  <a:srgbClr val="E3E8E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9" name="Textfeld 98"/>
                <p:cNvSpPr txBox="1"/>
                <p:nvPr/>
              </p:nvSpPr>
              <p:spPr>
                <a:xfrm>
                  <a:off x="7297918" y="3753282"/>
                  <a:ext cx="3240360" cy="17851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1000" b="1" dirty="0">
                      <a:solidFill>
                        <a:srgbClr val="F7F7F7"/>
                      </a:solidFill>
                      <a:latin typeface="Arial" charset="0"/>
                      <a:ea typeface="Arial" charset="0"/>
                      <a:cs typeface="Arial" charset="0"/>
                    </a:rPr>
                    <a:t>t</a:t>
                  </a:r>
                </a:p>
              </p:txBody>
            </p:sp>
          </p:grpSp>
          <p:sp>
            <p:nvSpPr>
              <p:cNvPr id="66" name="Textfeld 65"/>
              <p:cNvSpPr txBox="1"/>
              <p:nvPr/>
            </p:nvSpPr>
            <p:spPr>
              <a:xfrm>
                <a:off x="7464152" y="3837591"/>
                <a:ext cx="2796704" cy="1905975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3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259426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Matrix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x 2</a:t>
            </a:r>
          </a:p>
        </p:txBody>
      </p:sp>
      <p:sp>
        <p:nvSpPr>
          <p:cNvPr id="4" name="Textfeld 3"/>
          <p:cNvSpPr txBox="1"/>
          <p:nvPr/>
        </p:nvSpPr>
        <p:spPr>
          <a:xfrm rot="16200000">
            <a:off x="4903476" y="954052"/>
            <a:ext cx="5116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rPr>
              <a:t>high</a:t>
            </a:r>
          </a:p>
        </p:txBody>
      </p:sp>
      <p:grpSp>
        <p:nvGrpSpPr>
          <p:cNvPr id="65" name="Gruppierung 64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66" name="Gerade Verbindung 65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ung 10"/>
          <p:cNvGrpSpPr/>
          <p:nvPr/>
        </p:nvGrpSpPr>
        <p:grpSpPr>
          <a:xfrm>
            <a:off x="4727848" y="927955"/>
            <a:ext cx="5978193" cy="5060178"/>
            <a:chOff x="4727848" y="927955"/>
            <a:chExt cx="5978193" cy="5060178"/>
          </a:xfrm>
        </p:grpSpPr>
        <p:sp>
          <p:nvSpPr>
            <p:cNvPr id="56" name="Textfeld 55"/>
            <p:cNvSpPr txBox="1"/>
            <p:nvPr/>
          </p:nvSpPr>
          <p:spPr>
            <a:xfrm rot="16200000">
              <a:off x="4937940" y="5083140"/>
              <a:ext cx="4427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err="1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low</a:t>
              </a:r>
              <a:endParaRPr lang="de-DE" sz="12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" name="Textfeld 4"/>
            <p:cNvSpPr txBox="1"/>
            <p:nvPr/>
          </p:nvSpPr>
          <p:spPr>
            <a:xfrm rot="16200000">
              <a:off x="4601595" y="3041890"/>
              <a:ext cx="5910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grpSp>
          <p:nvGrpSpPr>
            <p:cNvPr id="6" name="Gruppierung 5"/>
            <p:cNvGrpSpPr/>
            <p:nvPr/>
          </p:nvGrpSpPr>
          <p:grpSpPr>
            <a:xfrm rot="5400000">
              <a:off x="7770806" y="3052899"/>
              <a:ext cx="534255" cy="5336214"/>
              <a:chOff x="4511822" y="238769"/>
              <a:chExt cx="534255" cy="5336214"/>
            </a:xfrm>
          </p:grpSpPr>
          <p:sp>
            <p:nvSpPr>
              <p:cNvPr id="58" name="Textfeld 57"/>
              <p:cNvSpPr txBox="1"/>
              <p:nvPr/>
            </p:nvSpPr>
            <p:spPr>
              <a:xfrm rot="16200000">
                <a:off x="4394484" y="356109"/>
                <a:ext cx="51167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>
                    <a:solidFill>
                      <a:srgbClr val="EBA804"/>
                    </a:solidFill>
                    <a:latin typeface="Arial" charset="0"/>
                    <a:ea typeface="Arial" charset="0"/>
                    <a:cs typeface="Arial" charset="0"/>
                  </a:rPr>
                  <a:t>high</a:t>
                </a:r>
              </a:p>
            </p:txBody>
          </p:sp>
          <p:sp>
            <p:nvSpPr>
              <p:cNvPr id="61" name="Textfeld 60"/>
              <p:cNvSpPr txBox="1"/>
              <p:nvPr/>
            </p:nvSpPr>
            <p:spPr>
              <a:xfrm rot="16200000">
                <a:off x="4428947" y="5215108"/>
                <a:ext cx="44275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 err="1">
                    <a:solidFill>
                      <a:srgbClr val="00AAFF"/>
                    </a:solidFill>
                    <a:latin typeface="Arial" charset="0"/>
                    <a:ea typeface="Arial" charset="0"/>
                    <a:cs typeface="Arial" charset="0"/>
                  </a:rPr>
                  <a:t>low</a:t>
                </a:r>
                <a:endParaRPr lang="de-DE" sz="12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2" name="Textfeld 61"/>
              <p:cNvSpPr txBox="1"/>
              <p:nvPr/>
            </p:nvSpPr>
            <p:spPr>
              <a:xfrm rot="16200000">
                <a:off x="4581270" y="2805921"/>
                <a:ext cx="5910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600" b="1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2" name="Gruppierung 1"/>
            <p:cNvGrpSpPr/>
            <p:nvPr/>
          </p:nvGrpSpPr>
          <p:grpSpPr>
            <a:xfrm>
              <a:off x="5324421" y="927955"/>
              <a:ext cx="2565682" cy="2196000"/>
              <a:chOff x="5324421" y="927955"/>
              <a:chExt cx="2565682" cy="2196000"/>
            </a:xfrm>
          </p:grpSpPr>
          <p:sp>
            <p:nvSpPr>
              <p:cNvPr id="13" name="Rechteck 12"/>
              <p:cNvSpPr/>
              <p:nvPr/>
            </p:nvSpPr>
            <p:spPr>
              <a:xfrm>
                <a:off x="5349238" y="927955"/>
                <a:ext cx="2540865" cy="2196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35" name="Textfeld 34"/>
              <p:cNvSpPr txBox="1"/>
              <p:nvPr/>
            </p:nvSpPr>
            <p:spPr>
              <a:xfrm>
                <a:off x="5324421" y="996022"/>
                <a:ext cx="2565682" cy="2044089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3" name="Gruppierung 2"/>
            <p:cNvGrpSpPr/>
            <p:nvPr/>
          </p:nvGrpSpPr>
          <p:grpSpPr>
            <a:xfrm>
              <a:off x="8015812" y="927955"/>
              <a:ext cx="2646686" cy="2196000"/>
              <a:chOff x="8015812" y="927955"/>
              <a:chExt cx="2646686" cy="2196000"/>
            </a:xfrm>
          </p:grpSpPr>
          <p:sp>
            <p:nvSpPr>
              <p:cNvPr id="87" name="Rechteck 86"/>
              <p:cNvSpPr/>
              <p:nvPr/>
            </p:nvSpPr>
            <p:spPr>
              <a:xfrm>
                <a:off x="8015812" y="927955"/>
                <a:ext cx="2540865" cy="2196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36" name="Textfeld 35"/>
              <p:cNvSpPr txBox="1"/>
              <p:nvPr/>
            </p:nvSpPr>
            <p:spPr>
              <a:xfrm>
                <a:off x="8096816" y="996022"/>
                <a:ext cx="2565682" cy="2044089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8" name="Gruppierung 7"/>
            <p:cNvGrpSpPr/>
            <p:nvPr/>
          </p:nvGrpSpPr>
          <p:grpSpPr>
            <a:xfrm>
              <a:off x="5324421" y="3246845"/>
              <a:ext cx="2565682" cy="2196000"/>
              <a:chOff x="5324421" y="3246845"/>
              <a:chExt cx="2565682" cy="2196000"/>
            </a:xfrm>
          </p:grpSpPr>
          <p:sp>
            <p:nvSpPr>
              <p:cNvPr id="93" name="Rechteck 92"/>
              <p:cNvSpPr/>
              <p:nvPr/>
            </p:nvSpPr>
            <p:spPr>
              <a:xfrm>
                <a:off x="5349238" y="3246845"/>
                <a:ext cx="2540865" cy="2196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37" name="Textfeld 36"/>
              <p:cNvSpPr txBox="1"/>
              <p:nvPr/>
            </p:nvSpPr>
            <p:spPr>
              <a:xfrm>
                <a:off x="5324421" y="3249373"/>
                <a:ext cx="2565682" cy="2044089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10" name="Gruppierung 9"/>
            <p:cNvGrpSpPr/>
            <p:nvPr/>
          </p:nvGrpSpPr>
          <p:grpSpPr>
            <a:xfrm>
              <a:off x="8014179" y="3246845"/>
              <a:ext cx="2648319" cy="2196000"/>
              <a:chOff x="8014179" y="3246845"/>
              <a:chExt cx="2648319" cy="2196000"/>
            </a:xfrm>
          </p:grpSpPr>
          <p:sp>
            <p:nvSpPr>
              <p:cNvPr id="98" name="Rechteck 97"/>
              <p:cNvSpPr/>
              <p:nvPr/>
            </p:nvSpPr>
            <p:spPr>
              <a:xfrm>
                <a:off x="8014179" y="3246845"/>
                <a:ext cx="2540865" cy="2196000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38" name="Textfeld 37"/>
              <p:cNvSpPr txBox="1"/>
              <p:nvPr/>
            </p:nvSpPr>
            <p:spPr>
              <a:xfrm>
                <a:off x="8096816" y="3249373"/>
                <a:ext cx="2565682" cy="2044089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2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3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95852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genda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tichpunktartige Auflistung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feld 1"/>
          <p:cNvSpPr txBox="1"/>
          <p:nvPr/>
        </p:nvSpPr>
        <p:spPr>
          <a:xfrm>
            <a:off x="3001932" y="2326099"/>
            <a:ext cx="669451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gendapunkt</a:t>
            </a: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AutoNum type="arabicPeriod"/>
            </a:pP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Tx/>
              <a:buAutoNum type="arabicPeriod"/>
            </a:pPr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gendapunkt</a:t>
            </a: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Tx/>
              <a:buAutoNum type="arabicPeriod"/>
            </a:pP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Tx/>
              <a:buAutoNum type="arabicPeriod"/>
            </a:pPr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gendapunkt</a:t>
            </a: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Tx/>
              <a:buAutoNum type="arabicPeriod"/>
            </a:pP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Tx/>
              <a:buAutoNum type="arabicPeriod"/>
            </a:pPr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gendapunkt</a:t>
            </a: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8552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Matrix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 x 3</a:t>
            </a:r>
          </a:p>
        </p:txBody>
      </p:sp>
      <p:grpSp>
        <p:nvGrpSpPr>
          <p:cNvPr id="30" name="Gruppierung 29"/>
          <p:cNvGrpSpPr/>
          <p:nvPr/>
        </p:nvGrpSpPr>
        <p:grpSpPr>
          <a:xfrm>
            <a:off x="-871726" y="450000"/>
            <a:ext cx="360362" cy="45336"/>
            <a:chOff x="0" y="404664"/>
            <a:chExt cx="360362" cy="45336"/>
          </a:xfrm>
        </p:grpSpPr>
        <p:cxnSp>
          <p:nvCxnSpPr>
            <p:cNvPr id="31" name="Gerade Verbindung 30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ung 108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110" name="Gerade Verbindung 109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pierung 32"/>
          <p:cNvGrpSpPr/>
          <p:nvPr/>
        </p:nvGrpSpPr>
        <p:grpSpPr>
          <a:xfrm>
            <a:off x="3790210" y="507215"/>
            <a:ext cx="6914301" cy="5442065"/>
            <a:chOff x="3790210" y="507215"/>
            <a:chExt cx="6914301" cy="5442065"/>
          </a:xfrm>
        </p:grpSpPr>
        <p:sp>
          <p:nvSpPr>
            <p:cNvPr id="4" name="Textfeld 3"/>
            <p:cNvSpPr txBox="1"/>
            <p:nvPr/>
          </p:nvSpPr>
          <p:spPr>
            <a:xfrm rot="16200000">
              <a:off x="3965838" y="636400"/>
              <a:ext cx="51167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high</a:t>
              </a:r>
            </a:p>
          </p:txBody>
        </p:sp>
        <p:sp>
          <p:nvSpPr>
            <p:cNvPr id="56" name="Textfeld 55"/>
            <p:cNvSpPr txBox="1"/>
            <p:nvPr/>
          </p:nvSpPr>
          <p:spPr>
            <a:xfrm rot="16200000">
              <a:off x="4000303" y="5130551"/>
              <a:ext cx="4427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err="1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low</a:t>
              </a:r>
              <a:endParaRPr lang="de-DE" sz="12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" name="Textfeld 4"/>
            <p:cNvSpPr txBox="1"/>
            <p:nvPr/>
          </p:nvSpPr>
          <p:spPr>
            <a:xfrm rot="16200000">
              <a:off x="3663957" y="2892185"/>
              <a:ext cx="5910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grpSp>
          <p:nvGrpSpPr>
            <p:cNvPr id="6" name="Gruppierung 5"/>
            <p:cNvGrpSpPr/>
            <p:nvPr/>
          </p:nvGrpSpPr>
          <p:grpSpPr>
            <a:xfrm rot="5400000">
              <a:off x="7367714" y="2612482"/>
              <a:ext cx="545286" cy="6128309"/>
              <a:chOff x="4572795" y="238769"/>
              <a:chExt cx="545286" cy="6128309"/>
            </a:xfrm>
          </p:grpSpPr>
          <p:sp>
            <p:nvSpPr>
              <p:cNvPr id="58" name="Textfeld 57"/>
              <p:cNvSpPr txBox="1"/>
              <p:nvPr/>
            </p:nvSpPr>
            <p:spPr>
              <a:xfrm rot="16200000">
                <a:off x="4455459" y="356109"/>
                <a:ext cx="51167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>
                    <a:solidFill>
                      <a:srgbClr val="FFBC04"/>
                    </a:solidFill>
                    <a:latin typeface="Arial" charset="0"/>
                    <a:ea typeface="Arial" charset="0"/>
                    <a:cs typeface="Arial" charset="0"/>
                  </a:rPr>
                  <a:t>high</a:t>
                </a:r>
              </a:p>
            </p:txBody>
          </p:sp>
          <p:sp>
            <p:nvSpPr>
              <p:cNvPr id="61" name="Textfeld 60"/>
              <p:cNvSpPr txBox="1"/>
              <p:nvPr/>
            </p:nvSpPr>
            <p:spPr>
              <a:xfrm rot="16200000">
                <a:off x="4489920" y="6007203"/>
                <a:ext cx="44275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 err="1">
                    <a:solidFill>
                      <a:srgbClr val="00AAFF"/>
                    </a:solidFill>
                    <a:latin typeface="Arial" charset="0"/>
                    <a:ea typeface="Arial" charset="0"/>
                    <a:cs typeface="Arial" charset="0"/>
                  </a:rPr>
                  <a:t>low</a:t>
                </a:r>
                <a:endParaRPr lang="de-DE" sz="12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2" name="Textfeld 61"/>
              <p:cNvSpPr txBox="1"/>
              <p:nvPr/>
            </p:nvSpPr>
            <p:spPr>
              <a:xfrm rot="16200000">
                <a:off x="4653274" y="3270026"/>
                <a:ext cx="5910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600" b="1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 rot="16200000">
                <a:off x="4324013" y="3249002"/>
                <a:ext cx="77457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>
                    <a:solidFill>
                      <a:srgbClr val="2F52A0"/>
                    </a:solidFill>
                    <a:latin typeface="Arial" charset="0"/>
                    <a:ea typeface="Arial" charset="0"/>
                    <a:cs typeface="Arial" charset="0"/>
                  </a:rPr>
                  <a:t>medium</a:t>
                </a:r>
              </a:p>
            </p:txBody>
          </p:sp>
        </p:grpSp>
        <p:sp>
          <p:nvSpPr>
            <p:cNvPr id="45" name="Textfeld 44"/>
            <p:cNvSpPr txBox="1"/>
            <p:nvPr/>
          </p:nvSpPr>
          <p:spPr>
            <a:xfrm rot="16200000">
              <a:off x="3834393" y="2894032"/>
              <a:ext cx="7745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medium</a:t>
              </a:r>
            </a:p>
          </p:txBody>
        </p:sp>
        <p:grpSp>
          <p:nvGrpSpPr>
            <p:cNvPr id="13" name="Gruppierung 12"/>
            <p:cNvGrpSpPr/>
            <p:nvPr/>
          </p:nvGrpSpPr>
          <p:grpSpPr>
            <a:xfrm>
              <a:off x="4504194" y="507215"/>
              <a:ext cx="1972274" cy="1577506"/>
              <a:chOff x="4504194" y="507215"/>
              <a:chExt cx="1972274" cy="1577506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4504194" y="507447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2" name="Textfeld 81"/>
              <p:cNvSpPr txBox="1"/>
              <p:nvPr/>
            </p:nvSpPr>
            <p:spPr>
              <a:xfrm>
                <a:off x="4576203" y="50721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2" name="Gruppierung 21"/>
            <p:cNvGrpSpPr/>
            <p:nvPr/>
          </p:nvGrpSpPr>
          <p:grpSpPr>
            <a:xfrm>
              <a:off x="4504194" y="2166870"/>
              <a:ext cx="1972274" cy="1577274"/>
              <a:chOff x="4504194" y="2166870"/>
              <a:chExt cx="1972274" cy="1577274"/>
            </a:xfrm>
          </p:grpSpPr>
          <p:sp>
            <p:nvSpPr>
              <p:cNvPr id="78" name="Rechteck 77"/>
              <p:cNvSpPr/>
              <p:nvPr/>
            </p:nvSpPr>
            <p:spPr>
              <a:xfrm>
                <a:off x="4504194" y="2166870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3" name="Textfeld 82"/>
              <p:cNvSpPr txBox="1"/>
              <p:nvPr/>
            </p:nvSpPr>
            <p:spPr>
              <a:xfrm>
                <a:off x="4576203" y="2262221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7" name="Gruppierung 26"/>
            <p:cNvGrpSpPr/>
            <p:nvPr/>
          </p:nvGrpSpPr>
          <p:grpSpPr>
            <a:xfrm>
              <a:off x="4504194" y="3826494"/>
              <a:ext cx="1972274" cy="1577274"/>
              <a:chOff x="4504194" y="3826494"/>
              <a:chExt cx="1972274" cy="1577274"/>
            </a:xfrm>
          </p:grpSpPr>
          <p:sp>
            <p:nvSpPr>
              <p:cNvPr id="105" name="Rechteck 104"/>
              <p:cNvSpPr/>
              <p:nvPr/>
            </p:nvSpPr>
            <p:spPr>
              <a:xfrm>
                <a:off x="4504194" y="3826494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4" name="Textfeld 83"/>
              <p:cNvSpPr txBox="1"/>
              <p:nvPr/>
            </p:nvSpPr>
            <p:spPr>
              <a:xfrm>
                <a:off x="4576203" y="392184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19" name="Gruppierung 18"/>
            <p:cNvGrpSpPr/>
            <p:nvPr/>
          </p:nvGrpSpPr>
          <p:grpSpPr>
            <a:xfrm>
              <a:off x="6543086" y="507215"/>
              <a:ext cx="1972275" cy="1577502"/>
              <a:chOff x="6543086" y="507215"/>
              <a:chExt cx="1972275" cy="1577502"/>
            </a:xfrm>
          </p:grpSpPr>
          <p:sp>
            <p:nvSpPr>
              <p:cNvPr id="60" name="Rechteck 59"/>
              <p:cNvSpPr/>
              <p:nvPr/>
            </p:nvSpPr>
            <p:spPr>
              <a:xfrm>
                <a:off x="6543086" y="507445"/>
                <a:ext cx="1972275" cy="1577272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5" name="Textfeld 84"/>
              <p:cNvSpPr txBox="1"/>
              <p:nvPr/>
            </p:nvSpPr>
            <p:spPr>
              <a:xfrm>
                <a:off x="6600056" y="50721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5" name="Gruppierung 24"/>
            <p:cNvGrpSpPr/>
            <p:nvPr/>
          </p:nvGrpSpPr>
          <p:grpSpPr>
            <a:xfrm>
              <a:off x="6543082" y="2166870"/>
              <a:ext cx="1972274" cy="1577274"/>
              <a:chOff x="6543082" y="2166870"/>
              <a:chExt cx="1972274" cy="1577274"/>
            </a:xfrm>
          </p:grpSpPr>
          <p:sp>
            <p:nvSpPr>
              <p:cNvPr id="74" name="Rechteck 73"/>
              <p:cNvSpPr/>
              <p:nvPr/>
            </p:nvSpPr>
            <p:spPr>
              <a:xfrm>
                <a:off x="6543082" y="2166870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6" name="Textfeld 85"/>
              <p:cNvSpPr txBox="1"/>
              <p:nvPr/>
            </p:nvSpPr>
            <p:spPr>
              <a:xfrm>
                <a:off x="6600056" y="2262221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8" name="Gruppierung 27"/>
            <p:cNvGrpSpPr/>
            <p:nvPr/>
          </p:nvGrpSpPr>
          <p:grpSpPr>
            <a:xfrm>
              <a:off x="6543082" y="3826494"/>
              <a:ext cx="1972274" cy="1577274"/>
              <a:chOff x="6543082" y="3826494"/>
              <a:chExt cx="1972274" cy="1577274"/>
            </a:xfrm>
          </p:grpSpPr>
          <p:sp>
            <p:nvSpPr>
              <p:cNvPr id="101" name="Rechteck 100"/>
              <p:cNvSpPr/>
              <p:nvPr/>
            </p:nvSpPr>
            <p:spPr>
              <a:xfrm>
                <a:off x="6543082" y="3826494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8" name="Textfeld 87"/>
              <p:cNvSpPr txBox="1"/>
              <p:nvPr/>
            </p:nvSpPr>
            <p:spPr>
              <a:xfrm>
                <a:off x="6600056" y="392184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1" name="Gruppierung 20"/>
            <p:cNvGrpSpPr/>
            <p:nvPr/>
          </p:nvGrpSpPr>
          <p:grpSpPr>
            <a:xfrm>
              <a:off x="8581238" y="507215"/>
              <a:ext cx="1972274" cy="1577506"/>
              <a:chOff x="8581238" y="507215"/>
              <a:chExt cx="1972274" cy="1577506"/>
            </a:xfrm>
          </p:grpSpPr>
          <p:sp>
            <p:nvSpPr>
              <p:cNvPr id="87" name="Rechteck 86"/>
              <p:cNvSpPr/>
              <p:nvPr/>
            </p:nvSpPr>
            <p:spPr>
              <a:xfrm>
                <a:off x="8581238" y="507447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89" name="Textfeld 88"/>
              <p:cNvSpPr txBox="1"/>
              <p:nvPr/>
            </p:nvSpPr>
            <p:spPr>
              <a:xfrm>
                <a:off x="8680659" y="50721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6" name="Gruppierung 25"/>
            <p:cNvGrpSpPr/>
            <p:nvPr/>
          </p:nvGrpSpPr>
          <p:grpSpPr>
            <a:xfrm>
              <a:off x="8581238" y="2166870"/>
              <a:ext cx="1972274" cy="1577274"/>
              <a:chOff x="8581238" y="2166870"/>
              <a:chExt cx="1972274" cy="1577274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8581238" y="2166870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90" name="Textfeld 89"/>
              <p:cNvSpPr txBox="1"/>
              <p:nvPr/>
            </p:nvSpPr>
            <p:spPr>
              <a:xfrm>
                <a:off x="8680659" y="2262221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29" name="Gruppierung 28"/>
            <p:cNvGrpSpPr/>
            <p:nvPr/>
          </p:nvGrpSpPr>
          <p:grpSpPr>
            <a:xfrm>
              <a:off x="8581238" y="3826494"/>
              <a:ext cx="1972274" cy="1577274"/>
              <a:chOff x="8581238" y="3826494"/>
              <a:chExt cx="1972274" cy="1577274"/>
            </a:xfrm>
          </p:grpSpPr>
          <p:sp>
            <p:nvSpPr>
              <p:cNvPr id="96" name="Rechteck 95"/>
              <p:cNvSpPr/>
              <p:nvPr/>
            </p:nvSpPr>
            <p:spPr>
              <a:xfrm>
                <a:off x="8581238" y="3826494"/>
                <a:ext cx="1972274" cy="1577274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91" name="Textfeld 90"/>
              <p:cNvSpPr txBox="1"/>
              <p:nvPr/>
            </p:nvSpPr>
            <p:spPr>
              <a:xfrm>
                <a:off x="8680659" y="3921845"/>
                <a:ext cx="1807829" cy="1481923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342900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342900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05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5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47789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kreis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farbig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3819079" y="1340768"/>
            <a:ext cx="2015999" cy="2016000"/>
            <a:chOff x="3819079" y="1340768"/>
            <a:chExt cx="2015999" cy="2016000"/>
          </a:xfrm>
        </p:grpSpPr>
        <p:sp>
          <p:nvSpPr>
            <p:cNvPr id="4" name="Oval 3"/>
            <p:cNvSpPr/>
            <p:nvPr/>
          </p:nvSpPr>
          <p:spPr>
            <a:xfrm>
              <a:off x="4440838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9" name="Gruppieren 50"/>
            <p:cNvGrpSpPr>
              <a:grpSpLocks/>
            </p:cNvGrpSpPr>
            <p:nvPr/>
          </p:nvGrpSpPr>
          <p:grpSpPr bwMode="auto">
            <a:xfrm>
              <a:off x="3819079" y="1340768"/>
              <a:ext cx="2015999" cy="2016000"/>
              <a:chOff x="2528626" y="1618488"/>
              <a:chExt cx="1881571" cy="2038372"/>
            </a:xfrm>
            <a:solidFill>
              <a:srgbClr val="2F52A0"/>
            </a:solidFill>
          </p:grpSpPr>
          <p:sp>
            <p:nvSpPr>
              <p:cNvPr id="50" name="Freeform 6"/>
              <p:cNvSpPr>
                <a:spLocks noChangeAspect="1"/>
              </p:cNvSpPr>
              <p:nvPr/>
            </p:nvSpPr>
            <p:spPr bwMode="auto">
              <a:xfrm>
                <a:off x="2700435" y="2914155"/>
                <a:ext cx="1572981" cy="742705"/>
              </a:xfrm>
              <a:custGeom>
                <a:avLst/>
                <a:gdLst>
                  <a:gd name="T0" fmla="*/ 2147483647 w 2140"/>
                  <a:gd name="T1" fmla="*/ 2147483647 h 932"/>
                  <a:gd name="T2" fmla="*/ 2147483647 w 2140"/>
                  <a:gd name="T3" fmla="*/ 2147483647 h 932"/>
                  <a:gd name="T4" fmla="*/ 2147483647 w 2140"/>
                  <a:gd name="T5" fmla="*/ 2147483647 h 932"/>
                  <a:gd name="T6" fmla="*/ 2147483647 w 2140"/>
                  <a:gd name="T7" fmla="*/ 2147483647 h 932"/>
                  <a:gd name="T8" fmla="*/ 2147483647 w 2140"/>
                  <a:gd name="T9" fmla="*/ 2147483647 h 932"/>
                  <a:gd name="T10" fmla="*/ 2147483647 w 2140"/>
                  <a:gd name="T11" fmla="*/ 2147483647 h 932"/>
                  <a:gd name="T12" fmla="*/ 2147483647 w 2140"/>
                  <a:gd name="T13" fmla="*/ 2147483647 h 932"/>
                  <a:gd name="T14" fmla="*/ 2147483647 w 2140"/>
                  <a:gd name="T15" fmla="*/ 2147483647 h 932"/>
                  <a:gd name="T16" fmla="*/ 2147483647 w 2140"/>
                  <a:gd name="T17" fmla="*/ 2147483647 h 932"/>
                  <a:gd name="T18" fmla="*/ 2147483647 w 2140"/>
                  <a:gd name="T19" fmla="*/ 2147483647 h 932"/>
                  <a:gd name="T20" fmla="*/ 2147483647 w 2140"/>
                  <a:gd name="T21" fmla="*/ 2147483647 h 932"/>
                  <a:gd name="T22" fmla="*/ 2147483647 w 2140"/>
                  <a:gd name="T23" fmla="*/ 2147483647 h 932"/>
                  <a:gd name="T24" fmla="*/ 2147483647 w 2140"/>
                  <a:gd name="T25" fmla="*/ 2147483647 h 932"/>
                  <a:gd name="T26" fmla="*/ 2147483647 w 2140"/>
                  <a:gd name="T27" fmla="*/ 2147483647 h 932"/>
                  <a:gd name="T28" fmla="*/ 2147483647 w 2140"/>
                  <a:gd name="T29" fmla="*/ 2147483647 h 932"/>
                  <a:gd name="T30" fmla="*/ 2147483647 w 2140"/>
                  <a:gd name="T31" fmla="*/ 2147483647 h 932"/>
                  <a:gd name="T32" fmla="*/ 2147483647 w 2140"/>
                  <a:gd name="T33" fmla="*/ 2147483647 h 932"/>
                  <a:gd name="T34" fmla="*/ 2147483647 w 2140"/>
                  <a:gd name="T35" fmla="*/ 2147483647 h 932"/>
                  <a:gd name="T36" fmla="*/ 2147483647 w 2140"/>
                  <a:gd name="T37" fmla="*/ 2147483647 h 932"/>
                  <a:gd name="T38" fmla="*/ 2147483647 w 2140"/>
                  <a:gd name="T39" fmla="*/ 2147483647 h 932"/>
                  <a:gd name="T40" fmla="*/ 2147483647 w 2140"/>
                  <a:gd name="T41" fmla="*/ 2147483647 h 932"/>
                  <a:gd name="T42" fmla="*/ 2147483647 w 2140"/>
                  <a:gd name="T43" fmla="*/ 2147483647 h 932"/>
                  <a:gd name="T44" fmla="*/ 2147483647 w 2140"/>
                  <a:gd name="T45" fmla="*/ 2147483647 h 932"/>
                  <a:gd name="T46" fmla="*/ 2147483647 w 2140"/>
                  <a:gd name="T47" fmla="*/ 2147483647 h 932"/>
                  <a:gd name="T48" fmla="*/ 2147483647 w 2140"/>
                  <a:gd name="T49" fmla="*/ 2147483647 h 932"/>
                  <a:gd name="T50" fmla="*/ 2147483647 w 2140"/>
                  <a:gd name="T51" fmla="*/ 2147483647 h 932"/>
                  <a:gd name="T52" fmla="*/ 2147483647 w 2140"/>
                  <a:gd name="T53" fmla="*/ 2147483647 h 932"/>
                  <a:gd name="T54" fmla="*/ 2147483647 w 2140"/>
                  <a:gd name="T55" fmla="*/ 2147483647 h 932"/>
                  <a:gd name="T56" fmla="*/ 2147483647 w 2140"/>
                  <a:gd name="T57" fmla="*/ 2147483647 h 932"/>
                  <a:gd name="T58" fmla="*/ 2147483647 w 2140"/>
                  <a:gd name="T59" fmla="*/ 2147483647 h 932"/>
                  <a:gd name="T60" fmla="*/ 2147483647 w 2140"/>
                  <a:gd name="T61" fmla="*/ 2147483647 h 932"/>
                  <a:gd name="T62" fmla="*/ 2147483647 w 2140"/>
                  <a:gd name="T63" fmla="*/ 2147483647 h 932"/>
                  <a:gd name="T64" fmla="*/ 2147483647 w 2140"/>
                  <a:gd name="T65" fmla="*/ 2147483647 h 932"/>
                  <a:gd name="T66" fmla="*/ 2147483647 w 2140"/>
                  <a:gd name="T67" fmla="*/ 2147483647 h 932"/>
                  <a:gd name="T68" fmla="*/ 2147483647 w 2140"/>
                  <a:gd name="T69" fmla="*/ 2147483647 h 932"/>
                  <a:gd name="T70" fmla="*/ 2147483647 w 2140"/>
                  <a:gd name="T71" fmla="*/ 2147483647 h 932"/>
                  <a:gd name="T72" fmla="*/ 2147483647 w 2140"/>
                  <a:gd name="T73" fmla="*/ 2147483647 h 932"/>
                  <a:gd name="T74" fmla="*/ 2147483647 w 2140"/>
                  <a:gd name="T75" fmla="*/ 2147483647 h 932"/>
                  <a:gd name="T76" fmla="*/ 2147483647 w 2140"/>
                  <a:gd name="T77" fmla="*/ 2147483647 h 932"/>
                  <a:gd name="T78" fmla="*/ 2147483647 w 2140"/>
                  <a:gd name="T79" fmla="*/ 2147483647 h 932"/>
                  <a:gd name="T80" fmla="*/ 2147483647 w 2140"/>
                  <a:gd name="T81" fmla="*/ 2147483647 h 932"/>
                  <a:gd name="T82" fmla="*/ 2147483647 w 2140"/>
                  <a:gd name="T83" fmla="*/ 2147483647 h 932"/>
                  <a:gd name="T84" fmla="*/ 2147483647 w 2140"/>
                  <a:gd name="T85" fmla="*/ 2147483647 h 932"/>
                  <a:gd name="T86" fmla="*/ 2147483647 w 2140"/>
                  <a:gd name="T87" fmla="*/ 2147483647 h 932"/>
                  <a:gd name="T88" fmla="*/ 2147483647 w 2140"/>
                  <a:gd name="T89" fmla="*/ 2147483647 h 932"/>
                  <a:gd name="T90" fmla="*/ 2147483647 w 2140"/>
                  <a:gd name="T91" fmla="*/ 2147483647 h 932"/>
                  <a:gd name="T92" fmla="*/ 2147483647 w 2140"/>
                  <a:gd name="T93" fmla="*/ 2147483647 h 932"/>
                  <a:gd name="T94" fmla="*/ 2147483647 w 2140"/>
                  <a:gd name="T95" fmla="*/ 2147483647 h 932"/>
                  <a:gd name="T96" fmla="*/ 2147483647 w 2140"/>
                  <a:gd name="T97" fmla="*/ 2147483647 h 932"/>
                  <a:gd name="T98" fmla="*/ 2147483647 w 2140"/>
                  <a:gd name="T99" fmla="*/ 2147483647 h 932"/>
                  <a:gd name="T100" fmla="*/ 2147483647 w 2140"/>
                  <a:gd name="T101" fmla="*/ 2147483647 h 932"/>
                  <a:gd name="T102" fmla="*/ 2147483647 w 2140"/>
                  <a:gd name="T103" fmla="*/ 2147483647 h 93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140"/>
                  <a:gd name="T157" fmla="*/ 0 h 932"/>
                  <a:gd name="T158" fmla="*/ 2140 w 2140"/>
                  <a:gd name="T159" fmla="*/ 932 h 93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140" h="932">
                    <a:moveTo>
                      <a:pt x="1047" y="296"/>
                    </a:moveTo>
                    <a:lnTo>
                      <a:pt x="1068" y="295"/>
                    </a:lnTo>
                    <a:lnTo>
                      <a:pt x="1089" y="295"/>
                    </a:lnTo>
                    <a:lnTo>
                      <a:pt x="1109" y="293"/>
                    </a:lnTo>
                    <a:lnTo>
                      <a:pt x="1120" y="292"/>
                    </a:lnTo>
                    <a:lnTo>
                      <a:pt x="1131" y="291"/>
                    </a:lnTo>
                    <a:lnTo>
                      <a:pt x="1151" y="288"/>
                    </a:lnTo>
                    <a:lnTo>
                      <a:pt x="1171" y="285"/>
                    </a:lnTo>
                    <a:lnTo>
                      <a:pt x="1191" y="280"/>
                    </a:lnTo>
                    <a:lnTo>
                      <a:pt x="1211" y="276"/>
                    </a:lnTo>
                    <a:lnTo>
                      <a:pt x="1231" y="270"/>
                    </a:lnTo>
                    <a:lnTo>
                      <a:pt x="1250" y="264"/>
                    </a:lnTo>
                    <a:lnTo>
                      <a:pt x="1269" y="258"/>
                    </a:lnTo>
                    <a:lnTo>
                      <a:pt x="1288" y="250"/>
                    </a:lnTo>
                    <a:lnTo>
                      <a:pt x="1307" y="243"/>
                    </a:lnTo>
                    <a:lnTo>
                      <a:pt x="1325" y="234"/>
                    </a:lnTo>
                    <a:lnTo>
                      <a:pt x="1334" y="230"/>
                    </a:lnTo>
                    <a:lnTo>
                      <a:pt x="1342" y="225"/>
                    </a:lnTo>
                    <a:lnTo>
                      <a:pt x="1360" y="216"/>
                    </a:lnTo>
                    <a:lnTo>
                      <a:pt x="1377" y="205"/>
                    </a:lnTo>
                    <a:lnTo>
                      <a:pt x="1394" y="195"/>
                    </a:lnTo>
                    <a:lnTo>
                      <a:pt x="1410" y="184"/>
                    </a:lnTo>
                    <a:lnTo>
                      <a:pt x="1426" y="172"/>
                    </a:lnTo>
                    <a:lnTo>
                      <a:pt x="1442" y="160"/>
                    </a:lnTo>
                    <a:lnTo>
                      <a:pt x="1458" y="148"/>
                    </a:lnTo>
                    <a:lnTo>
                      <a:pt x="1473" y="135"/>
                    </a:lnTo>
                    <a:lnTo>
                      <a:pt x="1488" y="122"/>
                    </a:lnTo>
                    <a:lnTo>
                      <a:pt x="1502" y="108"/>
                    </a:lnTo>
                    <a:lnTo>
                      <a:pt x="1515" y="94"/>
                    </a:lnTo>
                    <a:lnTo>
                      <a:pt x="1529" y="79"/>
                    </a:lnTo>
                    <a:lnTo>
                      <a:pt x="1541" y="64"/>
                    </a:lnTo>
                    <a:lnTo>
                      <a:pt x="1554" y="48"/>
                    </a:lnTo>
                    <a:lnTo>
                      <a:pt x="1566" y="32"/>
                    </a:lnTo>
                    <a:lnTo>
                      <a:pt x="1577" y="16"/>
                    </a:lnTo>
                    <a:lnTo>
                      <a:pt x="1588" y="0"/>
                    </a:lnTo>
                    <a:lnTo>
                      <a:pt x="1730" y="322"/>
                    </a:lnTo>
                    <a:lnTo>
                      <a:pt x="2140" y="319"/>
                    </a:lnTo>
                    <a:lnTo>
                      <a:pt x="2119" y="353"/>
                    </a:lnTo>
                    <a:lnTo>
                      <a:pt x="2108" y="369"/>
                    </a:lnTo>
                    <a:lnTo>
                      <a:pt x="2096" y="387"/>
                    </a:lnTo>
                    <a:lnTo>
                      <a:pt x="2072" y="419"/>
                    </a:lnTo>
                    <a:lnTo>
                      <a:pt x="2047" y="451"/>
                    </a:lnTo>
                    <a:lnTo>
                      <a:pt x="2035" y="466"/>
                    </a:lnTo>
                    <a:lnTo>
                      <a:pt x="2022" y="482"/>
                    </a:lnTo>
                    <a:lnTo>
                      <a:pt x="2009" y="497"/>
                    </a:lnTo>
                    <a:lnTo>
                      <a:pt x="1995" y="512"/>
                    </a:lnTo>
                    <a:lnTo>
                      <a:pt x="1968" y="542"/>
                    </a:lnTo>
                    <a:lnTo>
                      <a:pt x="1940" y="570"/>
                    </a:lnTo>
                    <a:lnTo>
                      <a:pt x="1910" y="597"/>
                    </a:lnTo>
                    <a:lnTo>
                      <a:pt x="1895" y="611"/>
                    </a:lnTo>
                    <a:lnTo>
                      <a:pt x="1880" y="624"/>
                    </a:lnTo>
                    <a:lnTo>
                      <a:pt x="1864" y="637"/>
                    </a:lnTo>
                    <a:lnTo>
                      <a:pt x="1849" y="650"/>
                    </a:lnTo>
                    <a:lnTo>
                      <a:pt x="1817" y="674"/>
                    </a:lnTo>
                    <a:lnTo>
                      <a:pt x="1785" y="699"/>
                    </a:lnTo>
                    <a:lnTo>
                      <a:pt x="1751" y="721"/>
                    </a:lnTo>
                    <a:lnTo>
                      <a:pt x="1717" y="743"/>
                    </a:lnTo>
                    <a:lnTo>
                      <a:pt x="1683" y="763"/>
                    </a:lnTo>
                    <a:lnTo>
                      <a:pt x="1647" y="783"/>
                    </a:lnTo>
                    <a:lnTo>
                      <a:pt x="1629" y="792"/>
                    </a:lnTo>
                    <a:lnTo>
                      <a:pt x="1611" y="801"/>
                    </a:lnTo>
                    <a:lnTo>
                      <a:pt x="1592" y="810"/>
                    </a:lnTo>
                    <a:lnTo>
                      <a:pt x="1574" y="819"/>
                    </a:lnTo>
                    <a:lnTo>
                      <a:pt x="1555" y="827"/>
                    </a:lnTo>
                    <a:lnTo>
                      <a:pt x="1537" y="835"/>
                    </a:lnTo>
                    <a:lnTo>
                      <a:pt x="1518" y="842"/>
                    </a:lnTo>
                    <a:lnTo>
                      <a:pt x="1499" y="850"/>
                    </a:lnTo>
                    <a:lnTo>
                      <a:pt x="1480" y="858"/>
                    </a:lnTo>
                    <a:lnTo>
                      <a:pt x="1460" y="864"/>
                    </a:lnTo>
                    <a:lnTo>
                      <a:pt x="1440" y="871"/>
                    </a:lnTo>
                    <a:lnTo>
                      <a:pt x="1421" y="877"/>
                    </a:lnTo>
                    <a:lnTo>
                      <a:pt x="1401" y="883"/>
                    </a:lnTo>
                    <a:lnTo>
                      <a:pt x="1381" y="888"/>
                    </a:lnTo>
                    <a:lnTo>
                      <a:pt x="1361" y="893"/>
                    </a:lnTo>
                    <a:lnTo>
                      <a:pt x="1341" y="898"/>
                    </a:lnTo>
                    <a:lnTo>
                      <a:pt x="1321" y="903"/>
                    </a:lnTo>
                    <a:lnTo>
                      <a:pt x="1301" y="907"/>
                    </a:lnTo>
                    <a:lnTo>
                      <a:pt x="1279" y="911"/>
                    </a:lnTo>
                    <a:lnTo>
                      <a:pt x="1259" y="915"/>
                    </a:lnTo>
                    <a:lnTo>
                      <a:pt x="1217" y="921"/>
                    </a:lnTo>
                    <a:lnTo>
                      <a:pt x="1196" y="924"/>
                    </a:lnTo>
                    <a:lnTo>
                      <a:pt x="1175" y="926"/>
                    </a:lnTo>
                    <a:lnTo>
                      <a:pt x="1154" y="928"/>
                    </a:lnTo>
                    <a:lnTo>
                      <a:pt x="1133" y="929"/>
                    </a:lnTo>
                    <a:lnTo>
                      <a:pt x="1111" y="931"/>
                    </a:lnTo>
                    <a:lnTo>
                      <a:pt x="1090" y="931"/>
                    </a:lnTo>
                    <a:lnTo>
                      <a:pt x="1047" y="932"/>
                    </a:lnTo>
                    <a:lnTo>
                      <a:pt x="1007" y="932"/>
                    </a:lnTo>
                    <a:lnTo>
                      <a:pt x="967" y="930"/>
                    </a:lnTo>
                    <a:lnTo>
                      <a:pt x="946" y="928"/>
                    </a:lnTo>
                    <a:lnTo>
                      <a:pt x="926" y="927"/>
                    </a:lnTo>
                    <a:lnTo>
                      <a:pt x="887" y="922"/>
                    </a:lnTo>
                    <a:lnTo>
                      <a:pt x="867" y="920"/>
                    </a:lnTo>
                    <a:lnTo>
                      <a:pt x="848" y="917"/>
                    </a:lnTo>
                    <a:lnTo>
                      <a:pt x="810" y="910"/>
                    </a:lnTo>
                    <a:lnTo>
                      <a:pt x="771" y="903"/>
                    </a:lnTo>
                    <a:lnTo>
                      <a:pt x="733" y="894"/>
                    </a:lnTo>
                    <a:lnTo>
                      <a:pt x="714" y="889"/>
                    </a:lnTo>
                    <a:lnTo>
                      <a:pt x="696" y="884"/>
                    </a:lnTo>
                    <a:lnTo>
                      <a:pt x="659" y="873"/>
                    </a:lnTo>
                    <a:lnTo>
                      <a:pt x="640" y="867"/>
                    </a:lnTo>
                    <a:lnTo>
                      <a:pt x="622" y="861"/>
                    </a:lnTo>
                    <a:lnTo>
                      <a:pt x="586" y="847"/>
                    </a:lnTo>
                    <a:lnTo>
                      <a:pt x="551" y="833"/>
                    </a:lnTo>
                    <a:lnTo>
                      <a:pt x="516" y="818"/>
                    </a:lnTo>
                    <a:lnTo>
                      <a:pt x="481" y="801"/>
                    </a:lnTo>
                    <a:lnTo>
                      <a:pt x="448" y="784"/>
                    </a:lnTo>
                    <a:lnTo>
                      <a:pt x="415" y="766"/>
                    </a:lnTo>
                    <a:lnTo>
                      <a:pt x="382" y="747"/>
                    </a:lnTo>
                    <a:lnTo>
                      <a:pt x="351" y="727"/>
                    </a:lnTo>
                    <a:lnTo>
                      <a:pt x="318" y="706"/>
                    </a:lnTo>
                    <a:lnTo>
                      <a:pt x="303" y="696"/>
                    </a:lnTo>
                    <a:lnTo>
                      <a:pt x="288" y="684"/>
                    </a:lnTo>
                    <a:lnTo>
                      <a:pt x="258" y="661"/>
                    </a:lnTo>
                    <a:lnTo>
                      <a:pt x="229" y="638"/>
                    </a:lnTo>
                    <a:lnTo>
                      <a:pt x="201" y="613"/>
                    </a:lnTo>
                    <a:lnTo>
                      <a:pt x="173" y="588"/>
                    </a:lnTo>
                    <a:lnTo>
                      <a:pt x="145" y="562"/>
                    </a:lnTo>
                    <a:lnTo>
                      <a:pt x="119" y="536"/>
                    </a:lnTo>
                    <a:lnTo>
                      <a:pt x="94" y="507"/>
                    </a:lnTo>
                    <a:lnTo>
                      <a:pt x="69" y="479"/>
                    </a:lnTo>
                    <a:lnTo>
                      <a:pt x="46" y="450"/>
                    </a:lnTo>
                    <a:lnTo>
                      <a:pt x="23" y="421"/>
                    </a:lnTo>
                    <a:lnTo>
                      <a:pt x="0" y="390"/>
                    </a:lnTo>
                    <a:lnTo>
                      <a:pt x="177" y="51"/>
                    </a:lnTo>
                    <a:lnTo>
                      <a:pt x="365" y="62"/>
                    </a:lnTo>
                    <a:lnTo>
                      <a:pt x="495" y="69"/>
                    </a:lnTo>
                    <a:lnTo>
                      <a:pt x="537" y="72"/>
                    </a:lnTo>
                    <a:lnTo>
                      <a:pt x="554" y="73"/>
                    </a:lnTo>
                    <a:lnTo>
                      <a:pt x="578" y="97"/>
                    </a:lnTo>
                    <a:lnTo>
                      <a:pt x="603" y="120"/>
                    </a:lnTo>
                    <a:lnTo>
                      <a:pt x="627" y="142"/>
                    </a:lnTo>
                    <a:lnTo>
                      <a:pt x="640" y="152"/>
                    </a:lnTo>
                    <a:lnTo>
                      <a:pt x="654" y="162"/>
                    </a:lnTo>
                    <a:lnTo>
                      <a:pt x="666" y="172"/>
                    </a:lnTo>
                    <a:lnTo>
                      <a:pt x="679" y="182"/>
                    </a:lnTo>
                    <a:lnTo>
                      <a:pt x="693" y="191"/>
                    </a:lnTo>
                    <a:lnTo>
                      <a:pt x="706" y="200"/>
                    </a:lnTo>
                    <a:lnTo>
                      <a:pt x="734" y="217"/>
                    </a:lnTo>
                    <a:lnTo>
                      <a:pt x="748" y="225"/>
                    </a:lnTo>
                    <a:lnTo>
                      <a:pt x="762" y="233"/>
                    </a:lnTo>
                    <a:lnTo>
                      <a:pt x="777" y="240"/>
                    </a:lnTo>
                    <a:lnTo>
                      <a:pt x="792" y="246"/>
                    </a:lnTo>
                    <a:lnTo>
                      <a:pt x="809" y="253"/>
                    </a:lnTo>
                    <a:lnTo>
                      <a:pt x="824" y="259"/>
                    </a:lnTo>
                    <a:lnTo>
                      <a:pt x="840" y="264"/>
                    </a:lnTo>
                    <a:lnTo>
                      <a:pt x="857" y="269"/>
                    </a:lnTo>
                    <a:lnTo>
                      <a:pt x="874" y="274"/>
                    </a:lnTo>
                    <a:lnTo>
                      <a:pt x="891" y="278"/>
                    </a:lnTo>
                    <a:lnTo>
                      <a:pt x="909" y="282"/>
                    </a:lnTo>
                    <a:lnTo>
                      <a:pt x="927" y="285"/>
                    </a:lnTo>
                    <a:lnTo>
                      <a:pt x="945" y="288"/>
                    </a:lnTo>
                    <a:lnTo>
                      <a:pt x="964" y="291"/>
                    </a:lnTo>
                    <a:lnTo>
                      <a:pt x="985" y="293"/>
                    </a:lnTo>
                    <a:lnTo>
                      <a:pt x="1005" y="294"/>
                    </a:lnTo>
                    <a:lnTo>
                      <a:pt x="1026" y="295"/>
                    </a:lnTo>
                    <a:lnTo>
                      <a:pt x="1047" y="2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1" name="Freeform 7"/>
              <p:cNvSpPr>
                <a:spLocks noChangeAspect="1"/>
              </p:cNvSpPr>
              <p:nvPr/>
            </p:nvSpPr>
            <p:spPr bwMode="auto">
              <a:xfrm>
                <a:off x="2528626" y="1618488"/>
                <a:ext cx="1050878" cy="1561305"/>
              </a:xfrm>
              <a:custGeom>
                <a:avLst/>
                <a:gdLst>
                  <a:gd name="T0" fmla="*/ 2147483647 w 1431"/>
                  <a:gd name="T1" fmla="*/ 2147483647 h 1961"/>
                  <a:gd name="T2" fmla="*/ 2147483647 w 1431"/>
                  <a:gd name="T3" fmla="*/ 2147483647 h 1961"/>
                  <a:gd name="T4" fmla="*/ 2147483647 w 1431"/>
                  <a:gd name="T5" fmla="*/ 2147483647 h 1961"/>
                  <a:gd name="T6" fmla="*/ 2147483647 w 1431"/>
                  <a:gd name="T7" fmla="*/ 2147483647 h 1961"/>
                  <a:gd name="T8" fmla="*/ 2147483647 w 1431"/>
                  <a:gd name="T9" fmla="*/ 2147483647 h 1961"/>
                  <a:gd name="T10" fmla="*/ 2147483647 w 1431"/>
                  <a:gd name="T11" fmla="*/ 2147483647 h 1961"/>
                  <a:gd name="T12" fmla="*/ 2147483647 w 1431"/>
                  <a:gd name="T13" fmla="*/ 2147483647 h 1961"/>
                  <a:gd name="T14" fmla="*/ 2147483647 w 1431"/>
                  <a:gd name="T15" fmla="*/ 2147483647 h 1961"/>
                  <a:gd name="T16" fmla="*/ 2147483647 w 1431"/>
                  <a:gd name="T17" fmla="*/ 2147483647 h 1961"/>
                  <a:gd name="T18" fmla="*/ 2147483647 w 1431"/>
                  <a:gd name="T19" fmla="*/ 2147483647 h 1961"/>
                  <a:gd name="T20" fmla="*/ 2147483647 w 1431"/>
                  <a:gd name="T21" fmla="*/ 2147483647 h 1961"/>
                  <a:gd name="T22" fmla="*/ 2147483647 w 1431"/>
                  <a:gd name="T23" fmla="*/ 2147483647 h 1961"/>
                  <a:gd name="T24" fmla="*/ 2147483647 w 1431"/>
                  <a:gd name="T25" fmla="*/ 2147483647 h 1961"/>
                  <a:gd name="T26" fmla="*/ 2147483647 w 1431"/>
                  <a:gd name="T27" fmla="*/ 2147483647 h 1961"/>
                  <a:gd name="T28" fmla="*/ 2147483647 w 1431"/>
                  <a:gd name="T29" fmla="*/ 2147483647 h 1961"/>
                  <a:gd name="T30" fmla="*/ 2147483647 w 1431"/>
                  <a:gd name="T31" fmla="*/ 2147483647 h 1961"/>
                  <a:gd name="T32" fmla="*/ 2147483647 w 1431"/>
                  <a:gd name="T33" fmla="*/ 2147483647 h 1961"/>
                  <a:gd name="T34" fmla="*/ 2147483647 w 1431"/>
                  <a:gd name="T35" fmla="*/ 2147483647 h 1961"/>
                  <a:gd name="T36" fmla="*/ 2147483647 w 1431"/>
                  <a:gd name="T37" fmla="*/ 2147483647 h 1961"/>
                  <a:gd name="T38" fmla="*/ 2147483647 w 1431"/>
                  <a:gd name="T39" fmla="*/ 2147483647 h 1961"/>
                  <a:gd name="T40" fmla="*/ 2147483647 w 1431"/>
                  <a:gd name="T41" fmla="*/ 2147483647 h 1961"/>
                  <a:gd name="T42" fmla="*/ 2147483647 w 1431"/>
                  <a:gd name="T43" fmla="*/ 2147483647 h 1961"/>
                  <a:gd name="T44" fmla="*/ 2147483647 w 1431"/>
                  <a:gd name="T45" fmla="*/ 2147483647 h 1961"/>
                  <a:gd name="T46" fmla="*/ 2147483647 w 1431"/>
                  <a:gd name="T47" fmla="*/ 2147483647 h 1961"/>
                  <a:gd name="T48" fmla="*/ 2147483647 w 1431"/>
                  <a:gd name="T49" fmla="*/ 2147483647 h 1961"/>
                  <a:gd name="T50" fmla="*/ 2147483647 w 1431"/>
                  <a:gd name="T51" fmla="*/ 2147483647 h 1961"/>
                  <a:gd name="T52" fmla="*/ 2147483647 w 1431"/>
                  <a:gd name="T53" fmla="*/ 2147483647 h 1961"/>
                  <a:gd name="T54" fmla="*/ 2147483647 w 1431"/>
                  <a:gd name="T55" fmla="*/ 2147483647 h 1961"/>
                  <a:gd name="T56" fmla="*/ 2147483647 w 1431"/>
                  <a:gd name="T57" fmla="*/ 2147483647 h 1961"/>
                  <a:gd name="T58" fmla="*/ 2147483647 w 1431"/>
                  <a:gd name="T59" fmla="*/ 2147483647 h 1961"/>
                  <a:gd name="T60" fmla="*/ 2147483647 w 1431"/>
                  <a:gd name="T61" fmla="*/ 2147483647 h 1961"/>
                  <a:gd name="T62" fmla="*/ 2147483647 w 1431"/>
                  <a:gd name="T63" fmla="*/ 2147483647 h 1961"/>
                  <a:gd name="T64" fmla="*/ 2147483647 w 1431"/>
                  <a:gd name="T65" fmla="*/ 2147483647 h 1961"/>
                  <a:gd name="T66" fmla="*/ 2147483647 w 1431"/>
                  <a:gd name="T67" fmla="*/ 2147483647 h 1961"/>
                  <a:gd name="T68" fmla="*/ 2147483647 w 1431"/>
                  <a:gd name="T69" fmla="*/ 2147483647 h 1961"/>
                  <a:gd name="T70" fmla="*/ 2147483647 w 1431"/>
                  <a:gd name="T71" fmla="*/ 2147483647 h 1961"/>
                  <a:gd name="T72" fmla="*/ 2147483647 w 1431"/>
                  <a:gd name="T73" fmla="*/ 2147483647 h 1961"/>
                  <a:gd name="T74" fmla="*/ 2147483647 w 1431"/>
                  <a:gd name="T75" fmla="*/ 2147483647 h 1961"/>
                  <a:gd name="T76" fmla="*/ 2147483647 w 1431"/>
                  <a:gd name="T77" fmla="*/ 2147483647 h 1961"/>
                  <a:gd name="T78" fmla="*/ 2147483647 w 1431"/>
                  <a:gd name="T79" fmla="*/ 2147483647 h 1961"/>
                  <a:gd name="T80" fmla="*/ 2147483647 w 1431"/>
                  <a:gd name="T81" fmla="*/ 2147483647 h 1961"/>
                  <a:gd name="T82" fmla="*/ 2147483647 w 1431"/>
                  <a:gd name="T83" fmla="*/ 2147483647 h 1961"/>
                  <a:gd name="T84" fmla="*/ 2147483647 w 1431"/>
                  <a:gd name="T85" fmla="*/ 2147483647 h 1961"/>
                  <a:gd name="T86" fmla="*/ 2147483647 w 1431"/>
                  <a:gd name="T87" fmla="*/ 2147483647 h 1961"/>
                  <a:gd name="T88" fmla="*/ 2147483647 w 1431"/>
                  <a:gd name="T89" fmla="*/ 2147483647 h 1961"/>
                  <a:gd name="T90" fmla="*/ 2147483647 w 1431"/>
                  <a:gd name="T91" fmla="*/ 2147483647 h 1961"/>
                  <a:gd name="T92" fmla="*/ 2147483647 w 1431"/>
                  <a:gd name="T93" fmla="*/ 2147483647 h 1961"/>
                  <a:gd name="T94" fmla="*/ 2147483647 w 1431"/>
                  <a:gd name="T95" fmla="*/ 2147483647 h 1961"/>
                  <a:gd name="T96" fmla="*/ 2147483647 w 1431"/>
                  <a:gd name="T97" fmla="*/ 2147483647 h 1961"/>
                  <a:gd name="T98" fmla="*/ 2147483647 w 1431"/>
                  <a:gd name="T99" fmla="*/ 2147483647 h 1961"/>
                  <a:gd name="T100" fmla="*/ 2147483647 w 1431"/>
                  <a:gd name="T101" fmla="*/ 2147483647 h 1961"/>
                  <a:gd name="T102" fmla="*/ 2147483647 w 1431"/>
                  <a:gd name="T103" fmla="*/ 2147483647 h 1961"/>
                  <a:gd name="T104" fmla="*/ 2147483647 w 1431"/>
                  <a:gd name="T105" fmla="*/ 2147483647 h 1961"/>
                  <a:gd name="T106" fmla="*/ 2147483647 w 1431"/>
                  <a:gd name="T107" fmla="*/ 2147483647 h 1961"/>
                  <a:gd name="T108" fmla="*/ 2147483647 w 1431"/>
                  <a:gd name="T109" fmla="*/ 2147483647 h 196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31"/>
                  <a:gd name="T166" fmla="*/ 0 h 1961"/>
                  <a:gd name="T167" fmla="*/ 1431 w 1431"/>
                  <a:gd name="T168" fmla="*/ 1961 h 196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31" h="1961">
                    <a:moveTo>
                      <a:pt x="196" y="1961"/>
                    </a:moveTo>
                    <a:lnTo>
                      <a:pt x="384" y="1617"/>
                    </a:lnTo>
                    <a:lnTo>
                      <a:pt x="750" y="1645"/>
                    </a:lnTo>
                    <a:lnTo>
                      <a:pt x="737" y="1625"/>
                    </a:lnTo>
                    <a:lnTo>
                      <a:pt x="725" y="1605"/>
                    </a:lnTo>
                    <a:lnTo>
                      <a:pt x="713" y="1584"/>
                    </a:lnTo>
                    <a:lnTo>
                      <a:pt x="702" y="1563"/>
                    </a:lnTo>
                    <a:lnTo>
                      <a:pt x="692" y="1542"/>
                    </a:lnTo>
                    <a:lnTo>
                      <a:pt x="683" y="1519"/>
                    </a:lnTo>
                    <a:lnTo>
                      <a:pt x="674" y="1497"/>
                    </a:lnTo>
                    <a:lnTo>
                      <a:pt x="666" y="1474"/>
                    </a:lnTo>
                    <a:lnTo>
                      <a:pt x="660" y="1451"/>
                    </a:lnTo>
                    <a:lnTo>
                      <a:pt x="654" y="1427"/>
                    </a:lnTo>
                    <a:lnTo>
                      <a:pt x="649" y="1404"/>
                    </a:lnTo>
                    <a:lnTo>
                      <a:pt x="644" y="1380"/>
                    </a:lnTo>
                    <a:lnTo>
                      <a:pt x="641" y="1354"/>
                    </a:lnTo>
                    <a:lnTo>
                      <a:pt x="639" y="1330"/>
                    </a:lnTo>
                    <a:lnTo>
                      <a:pt x="637" y="1305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5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3"/>
                    </a:lnTo>
                    <a:lnTo>
                      <a:pt x="683" y="1038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3" y="957"/>
                    </a:lnTo>
                    <a:lnTo>
                      <a:pt x="731" y="945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8"/>
                    </a:lnTo>
                    <a:lnTo>
                      <a:pt x="764" y="896"/>
                    </a:lnTo>
                    <a:lnTo>
                      <a:pt x="773" y="884"/>
                    </a:lnTo>
                    <a:lnTo>
                      <a:pt x="782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65" y="78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0" y="727"/>
                    </a:lnTo>
                    <a:lnTo>
                      <a:pt x="976" y="712"/>
                    </a:lnTo>
                    <a:lnTo>
                      <a:pt x="989" y="705"/>
                    </a:lnTo>
                    <a:lnTo>
                      <a:pt x="1003" y="698"/>
                    </a:lnTo>
                    <a:lnTo>
                      <a:pt x="1016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7" y="665"/>
                    </a:lnTo>
                    <a:lnTo>
                      <a:pt x="1116" y="657"/>
                    </a:lnTo>
                    <a:lnTo>
                      <a:pt x="1131" y="653"/>
                    </a:lnTo>
                    <a:lnTo>
                      <a:pt x="1146" y="650"/>
                    </a:lnTo>
                    <a:lnTo>
                      <a:pt x="1176" y="644"/>
                    </a:lnTo>
                    <a:lnTo>
                      <a:pt x="1191" y="642"/>
                    </a:lnTo>
                    <a:lnTo>
                      <a:pt x="1208" y="640"/>
                    </a:lnTo>
                    <a:lnTo>
                      <a:pt x="1223" y="638"/>
                    </a:lnTo>
                    <a:lnTo>
                      <a:pt x="1239" y="637"/>
                    </a:lnTo>
                    <a:lnTo>
                      <a:pt x="1431" y="334"/>
                    </a:lnTo>
                    <a:lnTo>
                      <a:pt x="1238" y="0"/>
                    </a:lnTo>
                    <a:lnTo>
                      <a:pt x="1206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7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6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0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3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26"/>
                    </a:lnTo>
                    <a:lnTo>
                      <a:pt x="2" y="1349"/>
                    </a:lnTo>
                    <a:lnTo>
                      <a:pt x="3" y="1373"/>
                    </a:lnTo>
                    <a:lnTo>
                      <a:pt x="5" y="1396"/>
                    </a:lnTo>
                    <a:lnTo>
                      <a:pt x="8" y="1419"/>
                    </a:lnTo>
                    <a:lnTo>
                      <a:pt x="10" y="1441"/>
                    </a:lnTo>
                    <a:lnTo>
                      <a:pt x="13" y="1464"/>
                    </a:lnTo>
                    <a:lnTo>
                      <a:pt x="17" y="1486"/>
                    </a:lnTo>
                    <a:lnTo>
                      <a:pt x="20" y="1509"/>
                    </a:lnTo>
                    <a:lnTo>
                      <a:pt x="25" y="1532"/>
                    </a:lnTo>
                    <a:lnTo>
                      <a:pt x="29" y="1554"/>
                    </a:lnTo>
                    <a:lnTo>
                      <a:pt x="34" y="1575"/>
                    </a:lnTo>
                    <a:lnTo>
                      <a:pt x="39" y="1597"/>
                    </a:lnTo>
                    <a:lnTo>
                      <a:pt x="45" y="1619"/>
                    </a:lnTo>
                    <a:lnTo>
                      <a:pt x="51" y="1640"/>
                    </a:lnTo>
                    <a:lnTo>
                      <a:pt x="58" y="1661"/>
                    </a:lnTo>
                    <a:lnTo>
                      <a:pt x="64" y="1683"/>
                    </a:lnTo>
                    <a:lnTo>
                      <a:pt x="72" y="1704"/>
                    </a:lnTo>
                    <a:lnTo>
                      <a:pt x="79" y="1725"/>
                    </a:lnTo>
                    <a:lnTo>
                      <a:pt x="88" y="1745"/>
                    </a:lnTo>
                    <a:lnTo>
                      <a:pt x="96" y="1766"/>
                    </a:lnTo>
                    <a:lnTo>
                      <a:pt x="105" y="1786"/>
                    </a:lnTo>
                    <a:lnTo>
                      <a:pt x="114" y="1806"/>
                    </a:lnTo>
                    <a:lnTo>
                      <a:pt x="123" y="1826"/>
                    </a:lnTo>
                    <a:lnTo>
                      <a:pt x="132" y="1847"/>
                    </a:lnTo>
                    <a:lnTo>
                      <a:pt x="152" y="1885"/>
                    </a:lnTo>
                    <a:lnTo>
                      <a:pt x="174" y="1923"/>
                    </a:lnTo>
                    <a:lnTo>
                      <a:pt x="185" y="1942"/>
                    </a:lnTo>
                    <a:lnTo>
                      <a:pt x="196" y="19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3" name="Freeform 8"/>
              <p:cNvSpPr>
                <a:spLocks noChangeAspect="1"/>
              </p:cNvSpPr>
              <p:nvPr/>
            </p:nvSpPr>
            <p:spPr bwMode="auto">
              <a:xfrm>
                <a:off x="3484424" y="1618488"/>
                <a:ext cx="925773" cy="1510707"/>
              </a:xfrm>
              <a:custGeom>
                <a:avLst/>
                <a:gdLst>
                  <a:gd name="T0" fmla="*/ 2147483647 w 1261"/>
                  <a:gd name="T1" fmla="*/ 2147483647 h 1899"/>
                  <a:gd name="T2" fmla="*/ 2147483647 w 1261"/>
                  <a:gd name="T3" fmla="*/ 2147483647 h 1899"/>
                  <a:gd name="T4" fmla="*/ 2147483647 w 1261"/>
                  <a:gd name="T5" fmla="*/ 2147483647 h 1899"/>
                  <a:gd name="T6" fmla="*/ 2147483647 w 1261"/>
                  <a:gd name="T7" fmla="*/ 2147483647 h 1899"/>
                  <a:gd name="T8" fmla="*/ 2147483647 w 1261"/>
                  <a:gd name="T9" fmla="*/ 2147483647 h 1899"/>
                  <a:gd name="T10" fmla="*/ 2147483647 w 1261"/>
                  <a:gd name="T11" fmla="*/ 2147483647 h 1899"/>
                  <a:gd name="T12" fmla="*/ 2147483647 w 1261"/>
                  <a:gd name="T13" fmla="*/ 2147483647 h 1899"/>
                  <a:gd name="T14" fmla="*/ 2147483647 w 1261"/>
                  <a:gd name="T15" fmla="*/ 2147483647 h 1899"/>
                  <a:gd name="T16" fmla="*/ 2147483647 w 1261"/>
                  <a:gd name="T17" fmla="*/ 2147483647 h 1899"/>
                  <a:gd name="T18" fmla="*/ 2147483647 w 1261"/>
                  <a:gd name="T19" fmla="*/ 2147483647 h 1899"/>
                  <a:gd name="T20" fmla="*/ 2147483647 w 1261"/>
                  <a:gd name="T21" fmla="*/ 2147483647 h 1899"/>
                  <a:gd name="T22" fmla="*/ 2147483647 w 1261"/>
                  <a:gd name="T23" fmla="*/ 2147483647 h 1899"/>
                  <a:gd name="T24" fmla="*/ 2147483647 w 1261"/>
                  <a:gd name="T25" fmla="*/ 2147483647 h 1899"/>
                  <a:gd name="T26" fmla="*/ 2147483647 w 1261"/>
                  <a:gd name="T27" fmla="*/ 2147483647 h 1899"/>
                  <a:gd name="T28" fmla="*/ 2147483647 w 1261"/>
                  <a:gd name="T29" fmla="*/ 2147483647 h 1899"/>
                  <a:gd name="T30" fmla="*/ 2147483647 w 1261"/>
                  <a:gd name="T31" fmla="*/ 2147483647 h 1899"/>
                  <a:gd name="T32" fmla="*/ 2147483647 w 1261"/>
                  <a:gd name="T33" fmla="*/ 2147483647 h 1899"/>
                  <a:gd name="T34" fmla="*/ 2147483647 w 1261"/>
                  <a:gd name="T35" fmla="*/ 2147483647 h 1899"/>
                  <a:gd name="T36" fmla="*/ 2147483647 w 1261"/>
                  <a:gd name="T37" fmla="*/ 2147483647 h 1899"/>
                  <a:gd name="T38" fmla="*/ 2147483647 w 1261"/>
                  <a:gd name="T39" fmla="*/ 2147483647 h 1899"/>
                  <a:gd name="T40" fmla="*/ 2147483647 w 1261"/>
                  <a:gd name="T41" fmla="*/ 2147483647 h 1899"/>
                  <a:gd name="T42" fmla="*/ 2147483647 w 1261"/>
                  <a:gd name="T43" fmla="*/ 2147483647 h 1899"/>
                  <a:gd name="T44" fmla="*/ 2147483647 w 1261"/>
                  <a:gd name="T45" fmla="*/ 2147483647 h 1899"/>
                  <a:gd name="T46" fmla="*/ 2147483647 w 1261"/>
                  <a:gd name="T47" fmla="*/ 2147483647 h 1899"/>
                  <a:gd name="T48" fmla="*/ 2147483647 w 1261"/>
                  <a:gd name="T49" fmla="*/ 2147483647 h 1899"/>
                  <a:gd name="T50" fmla="*/ 2147483647 w 1261"/>
                  <a:gd name="T51" fmla="*/ 2147483647 h 1899"/>
                  <a:gd name="T52" fmla="*/ 2147483647 w 1261"/>
                  <a:gd name="T53" fmla="*/ 2147483647 h 1899"/>
                  <a:gd name="T54" fmla="*/ 2147483647 w 1261"/>
                  <a:gd name="T55" fmla="*/ 2147483647 h 1899"/>
                  <a:gd name="T56" fmla="*/ 2147483647 w 1261"/>
                  <a:gd name="T57" fmla="*/ 2147483647 h 1899"/>
                  <a:gd name="T58" fmla="*/ 2147483647 w 1261"/>
                  <a:gd name="T59" fmla="*/ 2147483647 h 1899"/>
                  <a:gd name="T60" fmla="*/ 2147483647 w 1261"/>
                  <a:gd name="T61" fmla="*/ 2147483647 h 1899"/>
                  <a:gd name="T62" fmla="*/ 2147483647 w 1261"/>
                  <a:gd name="T63" fmla="*/ 2147483647 h 1899"/>
                  <a:gd name="T64" fmla="*/ 2147483647 w 1261"/>
                  <a:gd name="T65" fmla="*/ 2147483647 h 1899"/>
                  <a:gd name="T66" fmla="*/ 2147483647 w 1261"/>
                  <a:gd name="T67" fmla="*/ 2147483647 h 1899"/>
                  <a:gd name="T68" fmla="*/ 2147483647 w 1261"/>
                  <a:gd name="T69" fmla="*/ 2147483647 h 1899"/>
                  <a:gd name="T70" fmla="*/ 2147483647 w 1261"/>
                  <a:gd name="T71" fmla="*/ 2147483647 h 1899"/>
                  <a:gd name="T72" fmla="*/ 2147483647 w 1261"/>
                  <a:gd name="T73" fmla="*/ 2147483647 h 1899"/>
                  <a:gd name="T74" fmla="*/ 2147483647 w 1261"/>
                  <a:gd name="T75" fmla="*/ 2147483647 h 1899"/>
                  <a:gd name="T76" fmla="*/ 2147483647 w 1261"/>
                  <a:gd name="T77" fmla="*/ 2147483647 h 1899"/>
                  <a:gd name="T78" fmla="*/ 2147483647 w 1261"/>
                  <a:gd name="T79" fmla="*/ 2147483647 h 1899"/>
                  <a:gd name="T80" fmla="*/ 2147483647 w 1261"/>
                  <a:gd name="T81" fmla="*/ 2147483647 h 1899"/>
                  <a:gd name="T82" fmla="*/ 2147483647 w 1261"/>
                  <a:gd name="T83" fmla="*/ 2147483647 h 1899"/>
                  <a:gd name="T84" fmla="*/ 2147483647 w 1261"/>
                  <a:gd name="T85" fmla="*/ 2147483647 h 1899"/>
                  <a:gd name="T86" fmla="*/ 2147483647 w 1261"/>
                  <a:gd name="T87" fmla="*/ 2147483647 h 1899"/>
                  <a:gd name="T88" fmla="*/ 2147483647 w 1261"/>
                  <a:gd name="T89" fmla="*/ 2147483647 h 1899"/>
                  <a:gd name="T90" fmla="*/ 2147483647 w 1261"/>
                  <a:gd name="T91" fmla="*/ 2147483647 h 1899"/>
                  <a:gd name="T92" fmla="*/ 2147483647 w 1261"/>
                  <a:gd name="T93" fmla="*/ 2147483647 h 1899"/>
                  <a:gd name="T94" fmla="*/ 2147483647 w 1261"/>
                  <a:gd name="T95" fmla="*/ 2147483647 h 1899"/>
                  <a:gd name="T96" fmla="*/ 2147483647 w 1261"/>
                  <a:gd name="T97" fmla="*/ 2147483647 h 1899"/>
                  <a:gd name="T98" fmla="*/ 2147483647 w 1261"/>
                  <a:gd name="T99" fmla="*/ 2147483647 h 1899"/>
                  <a:gd name="T100" fmla="*/ 2147483647 w 1261"/>
                  <a:gd name="T101" fmla="*/ 2147483647 h 1899"/>
                  <a:gd name="T102" fmla="*/ 2147483647 w 1261"/>
                  <a:gd name="T103" fmla="*/ 2147483647 h 18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61"/>
                  <a:gd name="T157" fmla="*/ 0 h 1899"/>
                  <a:gd name="T158" fmla="*/ 1261 w 1261"/>
                  <a:gd name="T159" fmla="*/ 1899 h 189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61" h="1899">
                    <a:moveTo>
                      <a:pt x="0" y="0"/>
                    </a:moveTo>
                    <a:lnTo>
                      <a:pt x="33" y="1"/>
                    </a:lnTo>
                    <a:lnTo>
                      <a:pt x="66" y="3"/>
                    </a:lnTo>
                    <a:lnTo>
                      <a:pt x="98" y="5"/>
                    </a:lnTo>
                    <a:lnTo>
                      <a:pt x="130" y="8"/>
                    </a:lnTo>
                    <a:lnTo>
                      <a:pt x="161" y="13"/>
                    </a:lnTo>
                    <a:lnTo>
                      <a:pt x="193" y="17"/>
                    </a:lnTo>
                    <a:lnTo>
                      <a:pt x="225" y="23"/>
                    </a:lnTo>
                    <a:lnTo>
                      <a:pt x="255" y="29"/>
                    </a:lnTo>
                    <a:lnTo>
                      <a:pt x="286" y="36"/>
                    </a:lnTo>
                    <a:lnTo>
                      <a:pt x="316" y="44"/>
                    </a:lnTo>
                    <a:lnTo>
                      <a:pt x="346" y="53"/>
                    </a:lnTo>
                    <a:lnTo>
                      <a:pt x="376" y="62"/>
                    </a:lnTo>
                    <a:lnTo>
                      <a:pt x="406" y="72"/>
                    </a:lnTo>
                    <a:lnTo>
                      <a:pt x="435" y="83"/>
                    </a:lnTo>
                    <a:lnTo>
                      <a:pt x="463" y="94"/>
                    </a:lnTo>
                    <a:lnTo>
                      <a:pt x="492" y="106"/>
                    </a:lnTo>
                    <a:lnTo>
                      <a:pt x="520" y="119"/>
                    </a:lnTo>
                    <a:lnTo>
                      <a:pt x="548" y="132"/>
                    </a:lnTo>
                    <a:lnTo>
                      <a:pt x="576" y="146"/>
                    </a:lnTo>
                    <a:lnTo>
                      <a:pt x="602" y="161"/>
                    </a:lnTo>
                    <a:lnTo>
                      <a:pt x="629" y="176"/>
                    </a:lnTo>
                    <a:lnTo>
                      <a:pt x="655" y="191"/>
                    </a:lnTo>
                    <a:lnTo>
                      <a:pt x="680" y="208"/>
                    </a:lnTo>
                    <a:lnTo>
                      <a:pt x="707" y="225"/>
                    </a:lnTo>
                    <a:lnTo>
                      <a:pt x="731" y="243"/>
                    </a:lnTo>
                    <a:lnTo>
                      <a:pt x="756" y="261"/>
                    </a:lnTo>
                    <a:lnTo>
                      <a:pt x="780" y="280"/>
                    </a:lnTo>
                    <a:lnTo>
                      <a:pt x="803" y="299"/>
                    </a:lnTo>
                    <a:lnTo>
                      <a:pt x="826" y="319"/>
                    </a:lnTo>
                    <a:lnTo>
                      <a:pt x="848" y="339"/>
                    </a:lnTo>
                    <a:lnTo>
                      <a:pt x="871" y="360"/>
                    </a:lnTo>
                    <a:lnTo>
                      <a:pt x="893" y="381"/>
                    </a:lnTo>
                    <a:lnTo>
                      <a:pt x="914" y="404"/>
                    </a:lnTo>
                    <a:lnTo>
                      <a:pt x="934" y="426"/>
                    </a:lnTo>
                    <a:lnTo>
                      <a:pt x="954" y="449"/>
                    </a:lnTo>
                    <a:lnTo>
                      <a:pt x="974" y="472"/>
                    </a:lnTo>
                    <a:lnTo>
                      <a:pt x="993" y="496"/>
                    </a:lnTo>
                    <a:lnTo>
                      <a:pt x="1011" y="520"/>
                    </a:lnTo>
                    <a:lnTo>
                      <a:pt x="1030" y="545"/>
                    </a:lnTo>
                    <a:lnTo>
                      <a:pt x="1047" y="571"/>
                    </a:lnTo>
                    <a:lnTo>
                      <a:pt x="1063" y="596"/>
                    </a:lnTo>
                    <a:lnTo>
                      <a:pt x="1079" y="622"/>
                    </a:lnTo>
                    <a:lnTo>
                      <a:pt x="1095" y="648"/>
                    </a:lnTo>
                    <a:lnTo>
                      <a:pt x="1109" y="675"/>
                    </a:lnTo>
                    <a:lnTo>
                      <a:pt x="1124" y="702"/>
                    </a:lnTo>
                    <a:lnTo>
                      <a:pt x="1137" y="730"/>
                    </a:lnTo>
                    <a:lnTo>
                      <a:pt x="1150" y="758"/>
                    </a:lnTo>
                    <a:lnTo>
                      <a:pt x="1162" y="786"/>
                    </a:lnTo>
                    <a:lnTo>
                      <a:pt x="1174" y="815"/>
                    </a:lnTo>
                    <a:lnTo>
                      <a:pt x="1185" y="844"/>
                    </a:lnTo>
                    <a:lnTo>
                      <a:pt x="1196" y="873"/>
                    </a:lnTo>
                    <a:lnTo>
                      <a:pt x="1205" y="903"/>
                    </a:lnTo>
                    <a:lnTo>
                      <a:pt x="1214" y="933"/>
                    </a:lnTo>
                    <a:lnTo>
                      <a:pt x="1222" y="963"/>
                    </a:lnTo>
                    <a:lnTo>
                      <a:pt x="1229" y="994"/>
                    </a:lnTo>
                    <a:lnTo>
                      <a:pt x="1236" y="1024"/>
                    </a:lnTo>
                    <a:lnTo>
                      <a:pt x="1242" y="1056"/>
                    </a:lnTo>
                    <a:lnTo>
                      <a:pt x="1247" y="1088"/>
                    </a:lnTo>
                    <a:lnTo>
                      <a:pt x="1251" y="1119"/>
                    </a:lnTo>
                    <a:lnTo>
                      <a:pt x="1255" y="1151"/>
                    </a:lnTo>
                    <a:lnTo>
                      <a:pt x="1258" y="1183"/>
                    </a:lnTo>
                    <a:lnTo>
                      <a:pt x="1260" y="1216"/>
                    </a:lnTo>
                    <a:lnTo>
                      <a:pt x="1261" y="1248"/>
                    </a:lnTo>
                    <a:lnTo>
                      <a:pt x="1261" y="1281"/>
                    </a:lnTo>
                    <a:lnTo>
                      <a:pt x="1261" y="1321"/>
                    </a:lnTo>
                    <a:lnTo>
                      <a:pt x="1260" y="1342"/>
                    </a:lnTo>
                    <a:lnTo>
                      <a:pt x="1259" y="1363"/>
                    </a:lnTo>
                    <a:lnTo>
                      <a:pt x="1257" y="1383"/>
                    </a:lnTo>
                    <a:lnTo>
                      <a:pt x="1255" y="1403"/>
                    </a:lnTo>
                    <a:lnTo>
                      <a:pt x="1251" y="1443"/>
                    </a:lnTo>
                    <a:lnTo>
                      <a:pt x="1248" y="1463"/>
                    </a:lnTo>
                    <a:lnTo>
                      <a:pt x="1245" y="1483"/>
                    </a:lnTo>
                    <a:lnTo>
                      <a:pt x="1242" y="1502"/>
                    </a:lnTo>
                    <a:lnTo>
                      <a:pt x="1238" y="1523"/>
                    </a:lnTo>
                    <a:lnTo>
                      <a:pt x="1230" y="1562"/>
                    </a:lnTo>
                    <a:lnTo>
                      <a:pt x="1221" y="1600"/>
                    </a:lnTo>
                    <a:lnTo>
                      <a:pt x="1216" y="1619"/>
                    </a:lnTo>
                    <a:lnTo>
                      <a:pt x="1211" y="1638"/>
                    </a:lnTo>
                    <a:lnTo>
                      <a:pt x="1199" y="1675"/>
                    </a:lnTo>
                    <a:lnTo>
                      <a:pt x="1186" y="1713"/>
                    </a:lnTo>
                    <a:lnTo>
                      <a:pt x="1172" y="1749"/>
                    </a:lnTo>
                    <a:lnTo>
                      <a:pt x="1157" y="1785"/>
                    </a:lnTo>
                    <a:lnTo>
                      <a:pt x="1141" y="1820"/>
                    </a:lnTo>
                    <a:lnTo>
                      <a:pt x="1124" y="1856"/>
                    </a:lnTo>
                    <a:lnTo>
                      <a:pt x="1106" y="1890"/>
                    </a:lnTo>
                    <a:lnTo>
                      <a:pt x="709" y="1899"/>
                    </a:lnTo>
                    <a:lnTo>
                      <a:pt x="554" y="1574"/>
                    </a:lnTo>
                    <a:lnTo>
                      <a:pt x="562" y="1557"/>
                    </a:lnTo>
                    <a:lnTo>
                      <a:pt x="570" y="1541"/>
                    </a:lnTo>
                    <a:lnTo>
                      <a:pt x="577" y="1524"/>
                    </a:lnTo>
                    <a:lnTo>
                      <a:pt x="584" y="1505"/>
                    </a:lnTo>
                    <a:lnTo>
                      <a:pt x="590" y="1488"/>
                    </a:lnTo>
                    <a:lnTo>
                      <a:pt x="596" y="1470"/>
                    </a:lnTo>
                    <a:lnTo>
                      <a:pt x="601" y="1452"/>
                    </a:lnTo>
                    <a:lnTo>
                      <a:pt x="606" y="1434"/>
                    </a:lnTo>
                    <a:lnTo>
                      <a:pt x="610" y="1416"/>
                    </a:lnTo>
                    <a:lnTo>
                      <a:pt x="614" y="1397"/>
                    </a:lnTo>
                    <a:lnTo>
                      <a:pt x="617" y="1378"/>
                    </a:lnTo>
                    <a:lnTo>
                      <a:pt x="620" y="1358"/>
                    </a:lnTo>
                    <a:lnTo>
                      <a:pt x="622" y="1339"/>
                    </a:lnTo>
                    <a:lnTo>
                      <a:pt x="624" y="1320"/>
                    </a:lnTo>
                    <a:lnTo>
                      <a:pt x="624" y="1300"/>
                    </a:lnTo>
                    <a:lnTo>
                      <a:pt x="625" y="1281"/>
                    </a:lnTo>
                    <a:lnTo>
                      <a:pt x="624" y="1248"/>
                    </a:lnTo>
                    <a:lnTo>
                      <a:pt x="623" y="1232"/>
                    </a:lnTo>
                    <a:lnTo>
                      <a:pt x="622" y="1216"/>
                    </a:lnTo>
                    <a:lnTo>
                      <a:pt x="620" y="1200"/>
                    </a:lnTo>
                    <a:lnTo>
                      <a:pt x="618" y="1184"/>
                    </a:lnTo>
                    <a:lnTo>
                      <a:pt x="615" y="1169"/>
                    </a:lnTo>
                    <a:lnTo>
                      <a:pt x="612" y="1153"/>
                    </a:lnTo>
                    <a:lnTo>
                      <a:pt x="609" y="1138"/>
                    </a:lnTo>
                    <a:lnTo>
                      <a:pt x="605" y="1123"/>
                    </a:lnTo>
                    <a:lnTo>
                      <a:pt x="601" y="1108"/>
                    </a:lnTo>
                    <a:lnTo>
                      <a:pt x="597" y="1093"/>
                    </a:lnTo>
                    <a:lnTo>
                      <a:pt x="587" y="1064"/>
                    </a:lnTo>
                    <a:lnTo>
                      <a:pt x="576" y="1034"/>
                    </a:lnTo>
                    <a:lnTo>
                      <a:pt x="564" y="1006"/>
                    </a:lnTo>
                    <a:lnTo>
                      <a:pt x="557" y="993"/>
                    </a:lnTo>
                    <a:lnTo>
                      <a:pt x="550" y="979"/>
                    </a:lnTo>
                    <a:lnTo>
                      <a:pt x="534" y="953"/>
                    </a:lnTo>
                    <a:lnTo>
                      <a:pt x="518" y="927"/>
                    </a:lnTo>
                    <a:lnTo>
                      <a:pt x="510" y="915"/>
                    </a:lnTo>
                    <a:lnTo>
                      <a:pt x="501" y="902"/>
                    </a:lnTo>
                    <a:lnTo>
                      <a:pt x="483" y="877"/>
                    </a:lnTo>
                    <a:lnTo>
                      <a:pt x="473" y="866"/>
                    </a:lnTo>
                    <a:lnTo>
                      <a:pt x="463" y="854"/>
                    </a:lnTo>
                    <a:lnTo>
                      <a:pt x="453" y="843"/>
                    </a:lnTo>
                    <a:lnTo>
                      <a:pt x="443" y="832"/>
                    </a:lnTo>
                    <a:lnTo>
                      <a:pt x="432" y="822"/>
                    </a:lnTo>
                    <a:lnTo>
                      <a:pt x="421" y="81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75" y="772"/>
                    </a:lnTo>
                    <a:lnTo>
                      <a:pt x="363" y="763"/>
                    </a:lnTo>
                    <a:lnTo>
                      <a:pt x="350" y="754"/>
                    </a:lnTo>
                    <a:lnTo>
                      <a:pt x="338" y="746"/>
                    </a:lnTo>
                    <a:lnTo>
                      <a:pt x="325" y="737"/>
                    </a:lnTo>
                    <a:lnTo>
                      <a:pt x="312" y="729"/>
                    </a:lnTo>
                    <a:lnTo>
                      <a:pt x="299" y="722"/>
                    </a:lnTo>
                    <a:lnTo>
                      <a:pt x="273" y="706"/>
                    </a:lnTo>
                    <a:lnTo>
                      <a:pt x="245" y="693"/>
                    </a:lnTo>
                    <a:lnTo>
                      <a:pt x="231" y="687"/>
                    </a:lnTo>
                    <a:lnTo>
                      <a:pt x="216" y="681"/>
                    </a:lnTo>
                    <a:lnTo>
                      <a:pt x="202" y="676"/>
                    </a:lnTo>
                    <a:lnTo>
                      <a:pt x="187" y="671"/>
                    </a:lnTo>
                    <a:lnTo>
                      <a:pt x="158" y="662"/>
                    </a:lnTo>
                    <a:lnTo>
                      <a:pt x="143" y="657"/>
                    </a:lnTo>
                    <a:lnTo>
                      <a:pt x="128" y="654"/>
                    </a:lnTo>
                    <a:lnTo>
                      <a:pt x="97" y="647"/>
                    </a:lnTo>
                    <a:lnTo>
                      <a:pt x="82" y="645"/>
                    </a:lnTo>
                    <a:lnTo>
                      <a:pt x="66" y="642"/>
                    </a:lnTo>
                    <a:lnTo>
                      <a:pt x="49" y="641"/>
                    </a:lnTo>
                    <a:lnTo>
                      <a:pt x="34" y="639"/>
                    </a:lnTo>
                    <a:lnTo>
                      <a:pt x="18" y="638"/>
                    </a:lnTo>
                    <a:lnTo>
                      <a:pt x="2" y="637"/>
                    </a:lnTo>
                    <a:lnTo>
                      <a:pt x="199" y="34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</p:grpSp>
      <p:grpSp>
        <p:nvGrpSpPr>
          <p:cNvPr id="2" name="Gruppierung 1"/>
          <p:cNvGrpSpPr/>
          <p:nvPr/>
        </p:nvGrpSpPr>
        <p:grpSpPr>
          <a:xfrm>
            <a:off x="1559496" y="1340769"/>
            <a:ext cx="2016224" cy="2016224"/>
            <a:chOff x="1559496" y="1340769"/>
            <a:chExt cx="2016224" cy="2016224"/>
          </a:xfrm>
        </p:grpSpPr>
        <p:grpSp>
          <p:nvGrpSpPr>
            <p:cNvPr id="44" name="Group 3"/>
            <p:cNvGrpSpPr>
              <a:grpSpLocks noChangeAspect="1"/>
            </p:cNvGrpSpPr>
            <p:nvPr/>
          </p:nvGrpSpPr>
          <p:grpSpPr bwMode="auto">
            <a:xfrm>
              <a:off x="1559496" y="1340769"/>
              <a:ext cx="2016224" cy="2016224"/>
              <a:chOff x="1862" y="1377"/>
              <a:chExt cx="2562" cy="2543"/>
            </a:xfrm>
            <a:solidFill>
              <a:srgbClr val="2F52A0"/>
            </a:solidFill>
          </p:grpSpPr>
          <p:sp>
            <p:nvSpPr>
              <p:cNvPr id="45" name="Freeform 4"/>
              <p:cNvSpPr>
                <a:spLocks noChangeAspect="1"/>
              </p:cNvSpPr>
              <p:nvPr/>
            </p:nvSpPr>
            <p:spPr bwMode="auto">
              <a:xfrm>
                <a:off x="3040" y="1377"/>
                <a:ext cx="1384" cy="2543"/>
              </a:xfrm>
              <a:custGeom>
                <a:avLst/>
                <a:gdLst>
                  <a:gd name="T0" fmla="*/ 165 w 1384"/>
                  <a:gd name="T1" fmla="*/ 636 h 2543"/>
                  <a:gd name="T2" fmla="*/ 230 w 1384"/>
                  <a:gd name="T3" fmla="*/ 645 h 2543"/>
                  <a:gd name="T4" fmla="*/ 291 w 1384"/>
                  <a:gd name="T5" fmla="*/ 659 h 2543"/>
                  <a:gd name="T6" fmla="*/ 351 w 1384"/>
                  <a:gd name="T7" fmla="*/ 679 h 2543"/>
                  <a:gd name="T8" fmla="*/ 421 w 1384"/>
                  <a:gd name="T9" fmla="*/ 711 h 2543"/>
                  <a:gd name="T10" fmla="*/ 486 w 1384"/>
                  <a:gd name="T11" fmla="*/ 753 h 2543"/>
                  <a:gd name="T12" fmla="*/ 547 w 1384"/>
                  <a:gd name="T13" fmla="*/ 801 h 2543"/>
                  <a:gd name="T14" fmla="*/ 590 w 1384"/>
                  <a:gd name="T15" fmla="*/ 844 h 2543"/>
                  <a:gd name="T16" fmla="*/ 646 w 1384"/>
                  <a:gd name="T17" fmla="*/ 917 h 2543"/>
                  <a:gd name="T18" fmla="*/ 679 w 1384"/>
                  <a:gd name="T19" fmla="*/ 969 h 2543"/>
                  <a:gd name="T20" fmla="*/ 706 w 1384"/>
                  <a:gd name="T21" fmla="*/ 1024 h 2543"/>
                  <a:gd name="T22" fmla="*/ 727 w 1384"/>
                  <a:gd name="T23" fmla="*/ 1084 h 2543"/>
                  <a:gd name="T24" fmla="*/ 743 w 1384"/>
                  <a:gd name="T25" fmla="*/ 1145 h 2543"/>
                  <a:gd name="T26" fmla="*/ 752 w 1384"/>
                  <a:gd name="T27" fmla="*/ 1209 h 2543"/>
                  <a:gd name="T28" fmla="*/ 756 w 1384"/>
                  <a:gd name="T29" fmla="*/ 1274 h 2543"/>
                  <a:gd name="T30" fmla="*/ 753 w 1384"/>
                  <a:gd name="T31" fmla="*/ 1331 h 2543"/>
                  <a:gd name="T32" fmla="*/ 740 w 1384"/>
                  <a:gd name="T33" fmla="*/ 1415 h 2543"/>
                  <a:gd name="T34" fmla="*/ 716 w 1384"/>
                  <a:gd name="T35" fmla="*/ 1494 h 2543"/>
                  <a:gd name="T36" fmla="*/ 683 w 1384"/>
                  <a:gd name="T37" fmla="*/ 1570 h 2543"/>
                  <a:gd name="T38" fmla="*/ 624 w 1384"/>
                  <a:gd name="T39" fmla="*/ 1661 h 2543"/>
                  <a:gd name="T40" fmla="*/ 590 w 1384"/>
                  <a:gd name="T41" fmla="*/ 1703 h 2543"/>
                  <a:gd name="T42" fmla="*/ 532 w 1384"/>
                  <a:gd name="T43" fmla="*/ 1759 h 2543"/>
                  <a:gd name="T44" fmla="*/ 456 w 1384"/>
                  <a:gd name="T45" fmla="*/ 1815 h 2543"/>
                  <a:gd name="T46" fmla="*/ 372 w 1384"/>
                  <a:gd name="T47" fmla="*/ 1860 h 2543"/>
                  <a:gd name="T48" fmla="*/ 280 w 1384"/>
                  <a:gd name="T49" fmla="*/ 1892 h 2543"/>
                  <a:gd name="T50" fmla="*/ 0 w 1384"/>
                  <a:gd name="T51" fmla="*/ 2230 h 2543"/>
                  <a:gd name="T52" fmla="*/ 333 w 1384"/>
                  <a:gd name="T53" fmla="*/ 2531 h 2543"/>
                  <a:gd name="T54" fmla="*/ 449 w 1384"/>
                  <a:gd name="T55" fmla="*/ 2505 h 2543"/>
                  <a:gd name="T56" fmla="*/ 560 w 1384"/>
                  <a:gd name="T57" fmla="*/ 2468 h 2543"/>
                  <a:gd name="T58" fmla="*/ 666 w 1384"/>
                  <a:gd name="T59" fmla="*/ 2422 h 2543"/>
                  <a:gd name="T60" fmla="*/ 768 w 1384"/>
                  <a:gd name="T61" fmla="*/ 2367 h 2543"/>
                  <a:gd name="T62" fmla="*/ 864 w 1384"/>
                  <a:gd name="T63" fmla="*/ 2302 h 2543"/>
                  <a:gd name="T64" fmla="*/ 952 w 1384"/>
                  <a:gd name="T65" fmla="*/ 2231 h 2543"/>
                  <a:gd name="T66" fmla="*/ 1035 w 1384"/>
                  <a:gd name="T67" fmla="*/ 2151 h 2543"/>
                  <a:gd name="T68" fmla="*/ 1110 w 1384"/>
                  <a:gd name="T69" fmla="*/ 2065 h 2543"/>
                  <a:gd name="T70" fmla="*/ 1177 w 1384"/>
                  <a:gd name="T71" fmla="*/ 1971 h 2543"/>
                  <a:gd name="T72" fmla="*/ 1235 w 1384"/>
                  <a:gd name="T73" fmla="*/ 1872 h 2543"/>
                  <a:gd name="T74" fmla="*/ 1285 w 1384"/>
                  <a:gd name="T75" fmla="*/ 1767 h 2543"/>
                  <a:gd name="T76" fmla="*/ 1326 w 1384"/>
                  <a:gd name="T77" fmla="*/ 1657 h 2543"/>
                  <a:gd name="T78" fmla="*/ 1356 w 1384"/>
                  <a:gd name="T79" fmla="*/ 1544 h 2543"/>
                  <a:gd name="T80" fmla="*/ 1375 w 1384"/>
                  <a:gd name="T81" fmla="*/ 1426 h 2543"/>
                  <a:gd name="T82" fmla="*/ 1384 w 1384"/>
                  <a:gd name="T83" fmla="*/ 1304 h 2543"/>
                  <a:gd name="T84" fmla="*/ 1380 w 1384"/>
                  <a:gd name="T85" fmla="*/ 1175 h 2543"/>
                  <a:gd name="T86" fmla="*/ 1364 w 1384"/>
                  <a:gd name="T87" fmla="*/ 1048 h 2543"/>
                  <a:gd name="T88" fmla="*/ 1336 w 1384"/>
                  <a:gd name="T89" fmla="*/ 925 h 2543"/>
                  <a:gd name="T90" fmla="*/ 1295 w 1384"/>
                  <a:gd name="T91" fmla="*/ 806 h 2543"/>
                  <a:gd name="T92" fmla="*/ 1244 w 1384"/>
                  <a:gd name="T93" fmla="*/ 693 h 2543"/>
                  <a:gd name="T94" fmla="*/ 1182 w 1384"/>
                  <a:gd name="T95" fmla="*/ 587 h 2543"/>
                  <a:gd name="T96" fmla="*/ 1110 w 1384"/>
                  <a:gd name="T97" fmla="*/ 487 h 2543"/>
                  <a:gd name="T98" fmla="*/ 1030 w 1384"/>
                  <a:gd name="T99" fmla="*/ 394 h 2543"/>
                  <a:gd name="T100" fmla="*/ 941 w 1384"/>
                  <a:gd name="T101" fmla="*/ 310 h 2543"/>
                  <a:gd name="T102" fmla="*/ 845 w 1384"/>
                  <a:gd name="T103" fmla="*/ 234 h 2543"/>
                  <a:gd name="T104" fmla="*/ 741 w 1384"/>
                  <a:gd name="T105" fmla="*/ 168 h 2543"/>
                  <a:gd name="T106" fmla="*/ 630 w 1384"/>
                  <a:gd name="T107" fmla="*/ 112 h 2543"/>
                  <a:gd name="T108" fmla="*/ 515 w 1384"/>
                  <a:gd name="T109" fmla="*/ 66 h 2543"/>
                  <a:gd name="T110" fmla="*/ 394 w 1384"/>
                  <a:gd name="T111" fmla="*/ 32 h 2543"/>
                  <a:gd name="T112" fmla="*/ 268 w 1384"/>
                  <a:gd name="T113" fmla="*/ 10 h 2543"/>
                  <a:gd name="T114" fmla="*/ 138 w 1384"/>
                  <a:gd name="T115" fmla="*/ 0 h 254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84"/>
                  <a:gd name="T175" fmla="*/ 0 h 2543"/>
                  <a:gd name="T176" fmla="*/ 1384 w 1384"/>
                  <a:gd name="T177" fmla="*/ 2543 h 254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84" h="2543">
                    <a:moveTo>
                      <a:pt x="114" y="635"/>
                    </a:moveTo>
                    <a:lnTo>
                      <a:pt x="117" y="635"/>
                    </a:lnTo>
                    <a:lnTo>
                      <a:pt x="149" y="635"/>
                    </a:lnTo>
                    <a:lnTo>
                      <a:pt x="165" y="636"/>
                    </a:lnTo>
                    <a:lnTo>
                      <a:pt x="181" y="638"/>
                    </a:lnTo>
                    <a:lnTo>
                      <a:pt x="198" y="640"/>
                    </a:lnTo>
                    <a:lnTo>
                      <a:pt x="214" y="642"/>
                    </a:lnTo>
                    <a:lnTo>
                      <a:pt x="230" y="645"/>
                    </a:lnTo>
                    <a:lnTo>
                      <a:pt x="246" y="648"/>
                    </a:lnTo>
                    <a:lnTo>
                      <a:pt x="261" y="651"/>
                    </a:lnTo>
                    <a:lnTo>
                      <a:pt x="276" y="655"/>
                    </a:lnTo>
                    <a:lnTo>
                      <a:pt x="291" y="659"/>
                    </a:lnTo>
                    <a:lnTo>
                      <a:pt x="306" y="663"/>
                    </a:lnTo>
                    <a:lnTo>
                      <a:pt x="321" y="668"/>
                    </a:lnTo>
                    <a:lnTo>
                      <a:pt x="336" y="673"/>
                    </a:lnTo>
                    <a:lnTo>
                      <a:pt x="351" y="679"/>
                    </a:lnTo>
                    <a:lnTo>
                      <a:pt x="366" y="685"/>
                    </a:lnTo>
                    <a:lnTo>
                      <a:pt x="380" y="691"/>
                    </a:lnTo>
                    <a:lnTo>
                      <a:pt x="394" y="697"/>
                    </a:lnTo>
                    <a:lnTo>
                      <a:pt x="421" y="711"/>
                    </a:lnTo>
                    <a:lnTo>
                      <a:pt x="448" y="728"/>
                    </a:lnTo>
                    <a:lnTo>
                      <a:pt x="461" y="736"/>
                    </a:lnTo>
                    <a:lnTo>
                      <a:pt x="474" y="744"/>
                    </a:lnTo>
                    <a:lnTo>
                      <a:pt x="486" y="753"/>
                    </a:lnTo>
                    <a:lnTo>
                      <a:pt x="498" y="762"/>
                    </a:lnTo>
                    <a:lnTo>
                      <a:pt x="512" y="771"/>
                    </a:lnTo>
                    <a:lnTo>
                      <a:pt x="523" y="781"/>
                    </a:lnTo>
                    <a:lnTo>
                      <a:pt x="547" y="801"/>
                    </a:lnTo>
                    <a:lnTo>
                      <a:pt x="558" y="811"/>
                    </a:lnTo>
                    <a:lnTo>
                      <a:pt x="569" y="822"/>
                    </a:lnTo>
                    <a:lnTo>
                      <a:pt x="579" y="833"/>
                    </a:lnTo>
                    <a:lnTo>
                      <a:pt x="590" y="844"/>
                    </a:lnTo>
                    <a:lnTo>
                      <a:pt x="610" y="867"/>
                    </a:lnTo>
                    <a:lnTo>
                      <a:pt x="619" y="880"/>
                    </a:lnTo>
                    <a:lnTo>
                      <a:pt x="628" y="892"/>
                    </a:lnTo>
                    <a:lnTo>
                      <a:pt x="646" y="917"/>
                    </a:lnTo>
                    <a:lnTo>
                      <a:pt x="655" y="929"/>
                    </a:lnTo>
                    <a:lnTo>
                      <a:pt x="663" y="942"/>
                    </a:lnTo>
                    <a:lnTo>
                      <a:pt x="671" y="956"/>
                    </a:lnTo>
                    <a:lnTo>
                      <a:pt x="679" y="969"/>
                    </a:lnTo>
                    <a:lnTo>
                      <a:pt x="686" y="983"/>
                    </a:lnTo>
                    <a:lnTo>
                      <a:pt x="693" y="996"/>
                    </a:lnTo>
                    <a:lnTo>
                      <a:pt x="699" y="1010"/>
                    </a:lnTo>
                    <a:lnTo>
                      <a:pt x="706" y="1024"/>
                    </a:lnTo>
                    <a:lnTo>
                      <a:pt x="712" y="1040"/>
                    </a:lnTo>
                    <a:lnTo>
                      <a:pt x="717" y="1054"/>
                    </a:lnTo>
                    <a:lnTo>
                      <a:pt x="722" y="1069"/>
                    </a:lnTo>
                    <a:lnTo>
                      <a:pt x="727" y="1084"/>
                    </a:lnTo>
                    <a:lnTo>
                      <a:pt x="731" y="1099"/>
                    </a:lnTo>
                    <a:lnTo>
                      <a:pt x="736" y="1114"/>
                    </a:lnTo>
                    <a:lnTo>
                      <a:pt x="739" y="1129"/>
                    </a:lnTo>
                    <a:lnTo>
                      <a:pt x="743" y="1145"/>
                    </a:lnTo>
                    <a:lnTo>
                      <a:pt x="746" y="1160"/>
                    </a:lnTo>
                    <a:lnTo>
                      <a:pt x="748" y="1176"/>
                    </a:lnTo>
                    <a:lnTo>
                      <a:pt x="750" y="1192"/>
                    </a:lnTo>
                    <a:lnTo>
                      <a:pt x="752" y="1209"/>
                    </a:lnTo>
                    <a:lnTo>
                      <a:pt x="754" y="1225"/>
                    </a:lnTo>
                    <a:lnTo>
                      <a:pt x="755" y="1241"/>
                    </a:lnTo>
                    <a:lnTo>
                      <a:pt x="755" y="1257"/>
                    </a:lnTo>
                    <a:lnTo>
                      <a:pt x="756" y="1274"/>
                    </a:lnTo>
                    <a:lnTo>
                      <a:pt x="755" y="1288"/>
                    </a:lnTo>
                    <a:lnTo>
                      <a:pt x="755" y="1302"/>
                    </a:lnTo>
                    <a:lnTo>
                      <a:pt x="754" y="1317"/>
                    </a:lnTo>
                    <a:lnTo>
                      <a:pt x="753" y="1331"/>
                    </a:lnTo>
                    <a:lnTo>
                      <a:pt x="752" y="1345"/>
                    </a:lnTo>
                    <a:lnTo>
                      <a:pt x="750" y="1360"/>
                    </a:lnTo>
                    <a:lnTo>
                      <a:pt x="746" y="1388"/>
                    </a:lnTo>
                    <a:lnTo>
                      <a:pt x="740" y="1415"/>
                    </a:lnTo>
                    <a:lnTo>
                      <a:pt x="733" y="1442"/>
                    </a:lnTo>
                    <a:lnTo>
                      <a:pt x="725" y="1469"/>
                    </a:lnTo>
                    <a:lnTo>
                      <a:pt x="721" y="1482"/>
                    </a:lnTo>
                    <a:lnTo>
                      <a:pt x="716" y="1494"/>
                    </a:lnTo>
                    <a:lnTo>
                      <a:pt x="706" y="1521"/>
                    </a:lnTo>
                    <a:lnTo>
                      <a:pt x="695" y="1546"/>
                    </a:lnTo>
                    <a:lnTo>
                      <a:pt x="690" y="1558"/>
                    </a:lnTo>
                    <a:lnTo>
                      <a:pt x="683" y="1570"/>
                    </a:lnTo>
                    <a:lnTo>
                      <a:pt x="670" y="1594"/>
                    </a:lnTo>
                    <a:lnTo>
                      <a:pt x="655" y="1617"/>
                    </a:lnTo>
                    <a:lnTo>
                      <a:pt x="640" y="1639"/>
                    </a:lnTo>
                    <a:lnTo>
                      <a:pt x="624" y="1661"/>
                    </a:lnTo>
                    <a:lnTo>
                      <a:pt x="616" y="1672"/>
                    </a:lnTo>
                    <a:lnTo>
                      <a:pt x="608" y="1683"/>
                    </a:lnTo>
                    <a:lnTo>
                      <a:pt x="599" y="1693"/>
                    </a:lnTo>
                    <a:lnTo>
                      <a:pt x="590" y="1703"/>
                    </a:lnTo>
                    <a:lnTo>
                      <a:pt x="581" y="1713"/>
                    </a:lnTo>
                    <a:lnTo>
                      <a:pt x="572" y="1723"/>
                    </a:lnTo>
                    <a:lnTo>
                      <a:pt x="552" y="1741"/>
                    </a:lnTo>
                    <a:lnTo>
                      <a:pt x="532" y="1759"/>
                    </a:lnTo>
                    <a:lnTo>
                      <a:pt x="512" y="1776"/>
                    </a:lnTo>
                    <a:lnTo>
                      <a:pt x="489" y="1793"/>
                    </a:lnTo>
                    <a:lnTo>
                      <a:pt x="467" y="1808"/>
                    </a:lnTo>
                    <a:lnTo>
                      <a:pt x="456" y="1815"/>
                    </a:lnTo>
                    <a:lnTo>
                      <a:pt x="444" y="1822"/>
                    </a:lnTo>
                    <a:lnTo>
                      <a:pt x="421" y="1837"/>
                    </a:lnTo>
                    <a:lnTo>
                      <a:pt x="396" y="1849"/>
                    </a:lnTo>
                    <a:lnTo>
                      <a:pt x="372" y="1860"/>
                    </a:lnTo>
                    <a:lnTo>
                      <a:pt x="346" y="1871"/>
                    </a:lnTo>
                    <a:lnTo>
                      <a:pt x="320" y="1880"/>
                    </a:lnTo>
                    <a:lnTo>
                      <a:pt x="294" y="1888"/>
                    </a:lnTo>
                    <a:lnTo>
                      <a:pt x="280" y="1892"/>
                    </a:lnTo>
                    <a:lnTo>
                      <a:pt x="267" y="1895"/>
                    </a:lnTo>
                    <a:lnTo>
                      <a:pt x="253" y="1898"/>
                    </a:lnTo>
                    <a:lnTo>
                      <a:pt x="240" y="1901"/>
                    </a:lnTo>
                    <a:lnTo>
                      <a:pt x="0" y="2230"/>
                    </a:lnTo>
                    <a:lnTo>
                      <a:pt x="244" y="2543"/>
                    </a:lnTo>
                    <a:lnTo>
                      <a:pt x="274" y="2540"/>
                    </a:lnTo>
                    <a:lnTo>
                      <a:pt x="304" y="2535"/>
                    </a:lnTo>
                    <a:lnTo>
                      <a:pt x="333" y="2531"/>
                    </a:lnTo>
                    <a:lnTo>
                      <a:pt x="363" y="2525"/>
                    </a:lnTo>
                    <a:lnTo>
                      <a:pt x="392" y="2519"/>
                    </a:lnTo>
                    <a:lnTo>
                      <a:pt x="420" y="2512"/>
                    </a:lnTo>
                    <a:lnTo>
                      <a:pt x="449" y="2505"/>
                    </a:lnTo>
                    <a:lnTo>
                      <a:pt x="477" y="2497"/>
                    </a:lnTo>
                    <a:lnTo>
                      <a:pt x="505" y="2488"/>
                    </a:lnTo>
                    <a:lnTo>
                      <a:pt x="533" y="2479"/>
                    </a:lnTo>
                    <a:lnTo>
                      <a:pt x="560" y="2468"/>
                    </a:lnTo>
                    <a:lnTo>
                      <a:pt x="587" y="2457"/>
                    </a:lnTo>
                    <a:lnTo>
                      <a:pt x="614" y="2446"/>
                    </a:lnTo>
                    <a:lnTo>
                      <a:pt x="640" y="2434"/>
                    </a:lnTo>
                    <a:lnTo>
                      <a:pt x="666" y="2422"/>
                    </a:lnTo>
                    <a:lnTo>
                      <a:pt x="693" y="2409"/>
                    </a:lnTo>
                    <a:lnTo>
                      <a:pt x="718" y="2395"/>
                    </a:lnTo>
                    <a:lnTo>
                      <a:pt x="743" y="2381"/>
                    </a:lnTo>
                    <a:lnTo>
                      <a:pt x="768" y="2367"/>
                    </a:lnTo>
                    <a:lnTo>
                      <a:pt x="792" y="2352"/>
                    </a:lnTo>
                    <a:lnTo>
                      <a:pt x="816" y="2336"/>
                    </a:lnTo>
                    <a:lnTo>
                      <a:pt x="841" y="2320"/>
                    </a:lnTo>
                    <a:lnTo>
                      <a:pt x="864" y="2302"/>
                    </a:lnTo>
                    <a:lnTo>
                      <a:pt x="887" y="2285"/>
                    </a:lnTo>
                    <a:lnTo>
                      <a:pt x="909" y="2268"/>
                    </a:lnTo>
                    <a:lnTo>
                      <a:pt x="931" y="2250"/>
                    </a:lnTo>
                    <a:lnTo>
                      <a:pt x="952" y="2231"/>
                    </a:lnTo>
                    <a:lnTo>
                      <a:pt x="973" y="2212"/>
                    </a:lnTo>
                    <a:lnTo>
                      <a:pt x="995" y="2192"/>
                    </a:lnTo>
                    <a:lnTo>
                      <a:pt x="1015" y="2172"/>
                    </a:lnTo>
                    <a:lnTo>
                      <a:pt x="1035" y="2151"/>
                    </a:lnTo>
                    <a:lnTo>
                      <a:pt x="1054" y="2130"/>
                    </a:lnTo>
                    <a:lnTo>
                      <a:pt x="1073" y="2109"/>
                    </a:lnTo>
                    <a:lnTo>
                      <a:pt x="1092" y="2087"/>
                    </a:lnTo>
                    <a:lnTo>
                      <a:pt x="1110" y="2065"/>
                    </a:lnTo>
                    <a:lnTo>
                      <a:pt x="1127" y="2042"/>
                    </a:lnTo>
                    <a:lnTo>
                      <a:pt x="1144" y="2019"/>
                    </a:lnTo>
                    <a:lnTo>
                      <a:pt x="1161" y="1996"/>
                    </a:lnTo>
                    <a:lnTo>
                      <a:pt x="1177" y="1971"/>
                    </a:lnTo>
                    <a:lnTo>
                      <a:pt x="1192" y="1947"/>
                    </a:lnTo>
                    <a:lnTo>
                      <a:pt x="1207" y="1922"/>
                    </a:lnTo>
                    <a:lnTo>
                      <a:pt x="1222" y="1898"/>
                    </a:lnTo>
                    <a:lnTo>
                      <a:pt x="1235" y="1872"/>
                    </a:lnTo>
                    <a:lnTo>
                      <a:pt x="1249" y="1847"/>
                    </a:lnTo>
                    <a:lnTo>
                      <a:pt x="1261" y="1820"/>
                    </a:lnTo>
                    <a:lnTo>
                      <a:pt x="1273" y="1794"/>
                    </a:lnTo>
                    <a:lnTo>
                      <a:pt x="1285" y="1767"/>
                    </a:lnTo>
                    <a:lnTo>
                      <a:pt x="1296" y="1741"/>
                    </a:lnTo>
                    <a:lnTo>
                      <a:pt x="1307" y="1714"/>
                    </a:lnTo>
                    <a:lnTo>
                      <a:pt x="1316" y="1686"/>
                    </a:lnTo>
                    <a:lnTo>
                      <a:pt x="1326" y="1657"/>
                    </a:lnTo>
                    <a:lnTo>
                      <a:pt x="1334" y="1630"/>
                    </a:lnTo>
                    <a:lnTo>
                      <a:pt x="1342" y="1601"/>
                    </a:lnTo>
                    <a:lnTo>
                      <a:pt x="1349" y="1573"/>
                    </a:lnTo>
                    <a:lnTo>
                      <a:pt x="1356" y="1544"/>
                    </a:lnTo>
                    <a:lnTo>
                      <a:pt x="1361" y="1515"/>
                    </a:lnTo>
                    <a:lnTo>
                      <a:pt x="1367" y="1485"/>
                    </a:lnTo>
                    <a:lnTo>
                      <a:pt x="1371" y="1456"/>
                    </a:lnTo>
                    <a:lnTo>
                      <a:pt x="1375" y="1426"/>
                    </a:lnTo>
                    <a:lnTo>
                      <a:pt x="1378" y="1396"/>
                    </a:lnTo>
                    <a:lnTo>
                      <a:pt x="1381" y="1366"/>
                    </a:lnTo>
                    <a:lnTo>
                      <a:pt x="1383" y="1335"/>
                    </a:lnTo>
                    <a:lnTo>
                      <a:pt x="1384" y="1304"/>
                    </a:lnTo>
                    <a:lnTo>
                      <a:pt x="1384" y="1274"/>
                    </a:lnTo>
                    <a:lnTo>
                      <a:pt x="1384" y="1241"/>
                    </a:lnTo>
                    <a:lnTo>
                      <a:pt x="1382" y="1208"/>
                    </a:lnTo>
                    <a:lnTo>
                      <a:pt x="1380" y="1175"/>
                    </a:lnTo>
                    <a:lnTo>
                      <a:pt x="1377" y="1143"/>
                    </a:lnTo>
                    <a:lnTo>
                      <a:pt x="1374" y="1111"/>
                    </a:lnTo>
                    <a:lnTo>
                      <a:pt x="1369" y="1080"/>
                    </a:lnTo>
                    <a:lnTo>
                      <a:pt x="1364" y="1048"/>
                    </a:lnTo>
                    <a:lnTo>
                      <a:pt x="1358" y="1016"/>
                    </a:lnTo>
                    <a:lnTo>
                      <a:pt x="1351" y="986"/>
                    </a:lnTo>
                    <a:lnTo>
                      <a:pt x="1344" y="955"/>
                    </a:lnTo>
                    <a:lnTo>
                      <a:pt x="1336" y="925"/>
                    </a:lnTo>
                    <a:lnTo>
                      <a:pt x="1327" y="895"/>
                    </a:lnTo>
                    <a:lnTo>
                      <a:pt x="1317" y="864"/>
                    </a:lnTo>
                    <a:lnTo>
                      <a:pt x="1307" y="835"/>
                    </a:lnTo>
                    <a:lnTo>
                      <a:pt x="1295" y="806"/>
                    </a:lnTo>
                    <a:lnTo>
                      <a:pt x="1283" y="778"/>
                    </a:lnTo>
                    <a:lnTo>
                      <a:pt x="1270" y="749"/>
                    </a:lnTo>
                    <a:lnTo>
                      <a:pt x="1257" y="721"/>
                    </a:lnTo>
                    <a:lnTo>
                      <a:pt x="1244" y="693"/>
                    </a:lnTo>
                    <a:lnTo>
                      <a:pt x="1229" y="666"/>
                    </a:lnTo>
                    <a:lnTo>
                      <a:pt x="1214" y="639"/>
                    </a:lnTo>
                    <a:lnTo>
                      <a:pt x="1199" y="613"/>
                    </a:lnTo>
                    <a:lnTo>
                      <a:pt x="1182" y="587"/>
                    </a:lnTo>
                    <a:lnTo>
                      <a:pt x="1165" y="561"/>
                    </a:lnTo>
                    <a:lnTo>
                      <a:pt x="1148" y="535"/>
                    </a:lnTo>
                    <a:lnTo>
                      <a:pt x="1129" y="511"/>
                    </a:lnTo>
                    <a:lnTo>
                      <a:pt x="1110" y="487"/>
                    </a:lnTo>
                    <a:lnTo>
                      <a:pt x="1091" y="463"/>
                    </a:lnTo>
                    <a:lnTo>
                      <a:pt x="1071" y="440"/>
                    </a:lnTo>
                    <a:lnTo>
                      <a:pt x="1051" y="417"/>
                    </a:lnTo>
                    <a:lnTo>
                      <a:pt x="1030" y="394"/>
                    </a:lnTo>
                    <a:lnTo>
                      <a:pt x="1009" y="372"/>
                    </a:lnTo>
                    <a:lnTo>
                      <a:pt x="987" y="351"/>
                    </a:lnTo>
                    <a:lnTo>
                      <a:pt x="964" y="330"/>
                    </a:lnTo>
                    <a:lnTo>
                      <a:pt x="941" y="310"/>
                    </a:lnTo>
                    <a:lnTo>
                      <a:pt x="918" y="290"/>
                    </a:lnTo>
                    <a:lnTo>
                      <a:pt x="894" y="271"/>
                    </a:lnTo>
                    <a:lnTo>
                      <a:pt x="870" y="253"/>
                    </a:lnTo>
                    <a:lnTo>
                      <a:pt x="845" y="234"/>
                    </a:lnTo>
                    <a:lnTo>
                      <a:pt x="819" y="217"/>
                    </a:lnTo>
                    <a:lnTo>
                      <a:pt x="793" y="200"/>
                    </a:lnTo>
                    <a:lnTo>
                      <a:pt x="767" y="184"/>
                    </a:lnTo>
                    <a:lnTo>
                      <a:pt x="741" y="168"/>
                    </a:lnTo>
                    <a:lnTo>
                      <a:pt x="714" y="153"/>
                    </a:lnTo>
                    <a:lnTo>
                      <a:pt x="687" y="139"/>
                    </a:lnTo>
                    <a:lnTo>
                      <a:pt x="658" y="125"/>
                    </a:lnTo>
                    <a:lnTo>
                      <a:pt x="630" y="112"/>
                    </a:lnTo>
                    <a:lnTo>
                      <a:pt x="602" y="100"/>
                    </a:lnTo>
                    <a:lnTo>
                      <a:pt x="573" y="88"/>
                    </a:lnTo>
                    <a:lnTo>
                      <a:pt x="544" y="76"/>
                    </a:lnTo>
                    <a:lnTo>
                      <a:pt x="515" y="66"/>
                    </a:lnTo>
                    <a:lnTo>
                      <a:pt x="484" y="56"/>
                    </a:lnTo>
                    <a:lnTo>
                      <a:pt x="454" y="48"/>
                    </a:lnTo>
                    <a:lnTo>
                      <a:pt x="424" y="39"/>
                    </a:lnTo>
                    <a:lnTo>
                      <a:pt x="394" y="32"/>
                    </a:lnTo>
                    <a:lnTo>
                      <a:pt x="363" y="25"/>
                    </a:lnTo>
                    <a:lnTo>
                      <a:pt x="331" y="19"/>
                    </a:lnTo>
                    <a:lnTo>
                      <a:pt x="299" y="14"/>
                    </a:lnTo>
                    <a:lnTo>
                      <a:pt x="268" y="10"/>
                    </a:lnTo>
                    <a:lnTo>
                      <a:pt x="236" y="6"/>
                    </a:lnTo>
                    <a:lnTo>
                      <a:pt x="204" y="3"/>
                    </a:lnTo>
                    <a:lnTo>
                      <a:pt x="170" y="1"/>
                    </a:lnTo>
                    <a:lnTo>
                      <a:pt x="138" y="0"/>
                    </a:lnTo>
                    <a:lnTo>
                      <a:pt x="105" y="0"/>
                    </a:lnTo>
                    <a:lnTo>
                      <a:pt x="340" y="337"/>
                    </a:lnTo>
                    <a:lnTo>
                      <a:pt x="114" y="6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48" name="Freeform 5"/>
              <p:cNvSpPr>
                <a:spLocks noChangeAspect="1"/>
              </p:cNvSpPr>
              <p:nvPr/>
            </p:nvSpPr>
            <p:spPr bwMode="auto">
              <a:xfrm>
                <a:off x="1862" y="1377"/>
                <a:ext cx="1379" cy="2543"/>
              </a:xfrm>
              <a:custGeom>
                <a:avLst/>
                <a:gdLst>
                  <a:gd name="T0" fmla="*/ 1218 w 1379"/>
                  <a:gd name="T1" fmla="*/ 1901 h 2543"/>
                  <a:gd name="T2" fmla="*/ 1155 w 1379"/>
                  <a:gd name="T3" fmla="*/ 1892 h 2543"/>
                  <a:gd name="T4" fmla="*/ 1095 w 1379"/>
                  <a:gd name="T5" fmla="*/ 1877 h 2543"/>
                  <a:gd name="T6" fmla="*/ 1038 w 1379"/>
                  <a:gd name="T7" fmla="*/ 1856 h 2543"/>
                  <a:gd name="T8" fmla="*/ 969 w 1379"/>
                  <a:gd name="T9" fmla="*/ 1821 h 2543"/>
                  <a:gd name="T10" fmla="*/ 918 w 1379"/>
                  <a:gd name="T11" fmla="*/ 1789 h 2543"/>
                  <a:gd name="T12" fmla="*/ 858 w 1379"/>
                  <a:gd name="T13" fmla="*/ 1743 h 2543"/>
                  <a:gd name="T14" fmla="*/ 805 w 1379"/>
                  <a:gd name="T15" fmla="*/ 1690 h 2543"/>
                  <a:gd name="T16" fmla="*/ 759 w 1379"/>
                  <a:gd name="T17" fmla="*/ 1630 h 2543"/>
                  <a:gd name="T18" fmla="*/ 720 w 1379"/>
                  <a:gd name="T19" fmla="*/ 1566 h 2543"/>
                  <a:gd name="T20" fmla="*/ 687 w 1379"/>
                  <a:gd name="T21" fmla="*/ 1496 h 2543"/>
                  <a:gd name="T22" fmla="*/ 668 w 1379"/>
                  <a:gd name="T23" fmla="*/ 1438 h 2543"/>
                  <a:gd name="T24" fmla="*/ 652 w 1379"/>
                  <a:gd name="T25" fmla="*/ 1362 h 2543"/>
                  <a:gd name="T26" fmla="*/ 645 w 1379"/>
                  <a:gd name="T27" fmla="*/ 1282 h 2543"/>
                  <a:gd name="T28" fmla="*/ 648 w 1379"/>
                  <a:gd name="T29" fmla="*/ 1197 h 2543"/>
                  <a:gd name="T30" fmla="*/ 659 w 1379"/>
                  <a:gd name="T31" fmla="*/ 1129 h 2543"/>
                  <a:gd name="T32" fmla="*/ 686 w 1379"/>
                  <a:gd name="T33" fmla="*/ 1039 h 2543"/>
                  <a:gd name="T34" fmla="*/ 725 w 1379"/>
                  <a:gd name="T35" fmla="*/ 955 h 2543"/>
                  <a:gd name="T36" fmla="*/ 768 w 1379"/>
                  <a:gd name="T37" fmla="*/ 889 h 2543"/>
                  <a:gd name="T38" fmla="*/ 836 w 1379"/>
                  <a:gd name="T39" fmla="*/ 810 h 2543"/>
                  <a:gd name="T40" fmla="*/ 906 w 1379"/>
                  <a:gd name="T41" fmla="*/ 751 h 2543"/>
                  <a:gd name="T42" fmla="*/ 971 w 1379"/>
                  <a:gd name="T43" fmla="*/ 707 h 2543"/>
                  <a:gd name="T44" fmla="*/ 1056 w 1379"/>
                  <a:gd name="T45" fmla="*/ 668 h 2543"/>
                  <a:gd name="T46" fmla="*/ 1132 w 1379"/>
                  <a:gd name="T47" fmla="*/ 645 h 2543"/>
                  <a:gd name="T48" fmla="*/ 1076 w 1379"/>
                  <a:gd name="T49" fmla="*/ 7 h 2543"/>
                  <a:gd name="T50" fmla="*/ 959 w 1379"/>
                  <a:gd name="T51" fmla="*/ 31 h 2543"/>
                  <a:gd name="T52" fmla="*/ 847 w 1379"/>
                  <a:gd name="T53" fmla="*/ 65 h 2543"/>
                  <a:gd name="T54" fmla="*/ 740 w 1379"/>
                  <a:gd name="T55" fmla="*/ 109 h 2543"/>
                  <a:gd name="T56" fmla="*/ 638 w 1379"/>
                  <a:gd name="T57" fmla="*/ 162 h 2543"/>
                  <a:gd name="T58" fmla="*/ 541 w 1379"/>
                  <a:gd name="T59" fmla="*/ 223 h 2543"/>
                  <a:gd name="T60" fmla="*/ 451 w 1379"/>
                  <a:gd name="T61" fmla="*/ 294 h 2543"/>
                  <a:gd name="T62" fmla="*/ 367 w 1379"/>
                  <a:gd name="T63" fmla="*/ 371 h 2543"/>
                  <a:gd name="T64" fmla="*/ 291 w 1379"/>
                  <a:gd name="T65" fmla="*/ 456 h 2543"/>
                  <a:gd name="T66" fmla="*/ 222 w 1379"/>
                  <a:gd name="T67" fmla="*/ 546 h 2543"/>
                  <a:gd name="T68" fmla="*/ 162 w 1379"/>
                  <a:gd name="T69" fmla="*/ 644 h 2543"/>
                  <a:gd name="T70" fmla="*/ 110 w 1379"/>
                  <a:gd name="T71" fmla="*/ 747 h 2543"/>
                  <a:gd name="T72" fmla="*/ 67 w 1379"/>
                  <a:gd name="T73" fmla="*/ 855 h 2543"/>
                  <a:gd name="T74" fmla="*/ 35 w 1379"/>
                  <a:gd name="T75" fmla="*/ 968 h 2543"/>
                  <a:gd name="T76" fmla="*/ 13 w 1379"/>
                  <a:gd name="T77" fmla="*/ 1084 h 2543"/>
                  <a:gd name="T78" fmla="*/ 2 w 1379"/>
                  <a:gd name="T79" fmla="*/ 1205 h 2543"/>
                  <a:gd name="T80" fmla="*/ 2 w 1379"/>
                  <a:gd name="T81" fmla="*/ 1331 h 2543"/>
                  <a:gd name="T82" fmla="*/ 15 w 1379"/>
                  <a:gd name="T83" fmla="*/ 1459 h 2543"/>
                  <a:gd name="T84" fmla="*/ 40 w 1379"/>
                  <a:gd name="T85" fmla="*/ 1584 h 2543"/>
                  <a:gd name="T86" fmla="*/ 77 w 1379"/>
                  <a:gd name="T87" fmla="*/ 1704 h 2543"/>
                  <a:gd name="T88" fmla="*/ 126 w 1379"/>
                  <a:gd name="T89" fmla="*/ 1817 h 2543"/>
                  <a:gd name="T90" fmla="*/ 185 w 1379"/>
                  <a:gd name="T91" fmla="*/ 1926 h 2543"/>
                  <a:gd name="T92" fmla="*/ 254 w 1379"/>
                  <a:gd name="T93" fmla="*/ 2028 h 2543"/>
                  <a:gd name="T94" fmla="*/ 332 w 1379"/>
                  <a:gd name="T95" fmla="*/ 2122 h 2543"/>
                  <a:gd name="T96" fmla="*/ 419 w 1379"/>
                  <a:gd name="T97" fmla="*/ 2209 h 2543"/>
                  <a:gd name="T98" fmla="*/ 512 w 1379"/>
                  <a:gd name="T99" fmla="*/ 2287 h 2543"/>
                  <a:gd name="T100" fmla="*/ 614 w 1379"/>
                  <a:gd name="T101" fmla="*/ 2356 h 2543"/>
                  <a:gd name="T102" fmla="*/ 723 w 1379"/>
                  <a:gd name="T103" fmla="*/ 2415 h 2543"/>
                  <a:gd name="T104" fmla="*/ 836 w 1379"/>
                  <a:gd name="T105" fmla="*/ 2465 h 2543"/>
                  <a:gd name="T106" fmla="*/ 956 w 1379"/>
                  <a:gd name="T107" fmla="*/ 2502 h 2543"/>
                  <a:gd name="T108" fmla="*/ 1081 w 1379"/>
                  <a:gd name="T109" fmla="*/ 2528 h 2543"/>
                  <a:gd name="T110" fmla="*/ 1209 w 1379"/>
                  <a:gd name="T111" fmla="*/ 2541 h 2543"/>
                  <a:gd name="T112" fmla="*/ 1266 w 1379"/>
                  <a:gd name="T113" fmla="*/ 1904 h 254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79"/>
                  <a:gd name="T172" fmla="*/ 0 h 2543"/>
                  <a:gd name="T173" fmla="*/ 1379 w 1379"/>
                  <a:gd name="T174" fmla="*/ 2543 h 254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79" h="2543">
                    <a:moveTo>
                      <a:pt x="1266" y="1904"/>
                    </a:moveTo>
                    <a:lnTo>
                      <a:pt x="1250" y="1904"/>
                    </a:lnTo>
                    <a:lnTo>
                      <a:pt x="1234" y="1903"/>
                    </a:lnTo>
                    <a:lnTo>
                      <a:pt x="1218" y="1901"/>
                    </a:lnTo>
                    <a:lnTo>
                      <a:pt x="1202" y="1900"/>
                    </a:lnTo>
                    <a:lnTo>
                      <a:pt x="1186" y="1897"/>
                    </a:lnTo>
                    <a:lnTo>
                      <a:pt x="1170" y="1895"/>
                    </a:lnTo>
                    <a:lnTo>
                      <a:pt x="1155" y="1892"/>
                    </a:lnTo>
                    <a:lnTo>
                      <a:pt x="1140" y="1889"/>
                    </a:lnTo>
                    <a:lnTo>
                      <a:pt x="1125" y="1885"/>
                    </a:lnTo>
                    <a:lnTo>
                      <a:pt x="1110" y="1881"/>
                    </a:lnTo>
                    <a:lnTo>
                      <a:pt x="1095" y="1877"/>
                    </a:lnTo>
                    <a:lnTo>
                      <a:pt x="1081" y="1872"/>
                    </a:lnTo>
                    <a:lnTo>
                      <a:pt x="1066" y="1867"/>
                    </a:lnTo>
                    <a:lnTo>
                      <a:pt x="1052" y="1861"/>
                    </a:lnTo>
                    <a:lnTo>
                      <a:pt x="1038" y="1856"/>
                    </a:lnTo>
                    <a:lnTo>
                      <a:pt x="1023" y="1850"/>
                    </a:lnTo>
                    <a:lnTo>
                      <a:pt x="995" y="1837"/>
                    </a:lnTo>
                    <a:lnTo>
                      <a:pt x="982" y="1830"/>
                    </a:lnTo>
                    <a:lnTo>
                      <a:pt x="969" y="1821"/>
                    </a:lnTo>
                    <a:lnTo>
                      <a:pt x="956" y="1814"/>
                    </a:lnTo>
                    <a:lnTo>
                      <a:pt x="943" y="1806"/>
                    </a:lnTo>
                    <a:lnTo>
                      <a:pt x="930" y="1798"/>
                    </a:lnTo>
                    <a:lnTo>
                      <a:pt x="918" y="1789"/>
                    </a:lnTo>
                    <a:lnTo>
                      <a:pt x="894" y="1772"/>
                    </a:lnTo>
                    <a:lnTo>
                      <a:pt x="882" y="1762"/>
                    </a:lnTo>
                    <a:lnTo>
                      <a:pt x="869" y="1753"/>
                    </a:lnTo>
                    <a:lnTo>
                      <a:pt x="858" y="1743"/>
                    </a:lnTo>
                    <a:lnTo>
                      <a:pt x="847" y="1733"/>
                    </a:lnTo>
                    <a:lnTo>
                      <a:pt x="836" y="1722"/>
                    </a:lnTo>
                    <a:lnTo>
                      <a:pt x="826" y="1712"/>
                    </a:lnTo>
                    <a:lnTo>
                      <a:pt x="805" y="1690"/>
                    </a:lnTo>
                    <a:lnTo>
                      <a:pt x="795" y="1679"/>
                    </a:lnTo>
                    <a:lnTo>
                      <a:pt x="786" y="1667"/>
                    </a:lnTo>
                    <a:lnTo>
                      <a:pt x="768" y="1642"/>
                    </a:lnTo>
                    <a:lnTo>
                      <a:pt x="759" y="1630"/>
                    </a:lnTo>
                    <a:lnTo>
                      <a:pt x="750" y="1618"/>
                    </a:lnTo>
                    <a:lnTo>
                      <a:pt x="734" y="1592"/>
                    </a:lnTo>
                    <a:lnTo>
                      <a:pt x="727" y="1579"/>
                    </a:lnTo>
                    <a:lnTo>
                      <a:pt x="720" y="1566"/>
                    </a:lnTo>
                    <a:lnTo>
                      <a:pt x="705" y="1539"/>
                    </a:lnTo>
                    <a:lnTo>
                      <a:pt x="699" y="1525"/>
                    </a:lnTo>
                    <a:lnTo>
                      <a:pt x="693" y="1511"/>
                    </a:lnTo>
                    <a:lnTo>
                      <a:pt x="687" y="1496"/>
                    </a:lnTo>
                    <a:lnTo>
                      <a:pt x="682" y="1482"/>
                    </a:lnTo>
                    <a:lnTo>
                      <a:pt x="677" y="1467"/>
                    </a:lnTo>
                    <a:lnTo>
                      <a:pt x="672" y="1452"/>
                    </a:lnTo>
                    <a:lnTo>
                      <a:pt x="668" y="1438"/>
                    </a:lnTo>
                    <a:lnTo>
                      <a:pt x="664" y="1423"/>
                    </a:lnTo>
                    <a:lnTo>
                      <a:pt x="660" y="1408"/>
                    </a:lnTo>
                    <a:lnTo>
                      <a:pt x="657" y="1393"/>
                    </a:lnTo>
                    <a:lnTo>
                      <a:pt x="652" y="1362"/>
                    </a:lnTo>
                    <a:lnTo>
                      <a:pt x="648" y="1329"/>
                    </a:lnTo>
                    <a:lnTo>
                      <a:pt x="646" y="1314"/>
                    </a:lnTo>
                    <a:lnTo>
                      <a:pt x="645" y="1298"/>
                    </a:lnTo>
                    <a:lnTo>
                      <a:pt x="645" y="1282"/>
                    </a:lnTo>
                    <a:lnTo>
                      <a:pt x="645" y="1266"/>
                    </a:lnTo>
                    <a:lnTo>
                      <a:pt x="645" y="1238"/>
                    </a:lnTo>
                    <a:lnTo>
                      <a:pt x="647" y="1210"/>
                    </a:lnTo>
                    <a:lnTo>
                      <a:pt x="648" y="1197"/>
                    </a:lnTo>
                    <a:lnTo>
                      <a:pt x="650" y="1182"/>
                    </a:lnTo>
                    <a:lnTo>
                      <a:pt x="654" y="1155"/>
                    </a:lnTo>
                    <a:lnTo>
                      <a:pt x="656" y="1142"/>
                    </a:lnTo>
                    <a:lnTo>
                      <a:pt x="659" y="1129"/>
                    </a:lnTo>
                    <a:lnTo>
                      <a:pt x="665" y="1103"/>
                    </a:lnTo>
                    <a:lnTo>
                      <a:pt x="673" y="1077"/>
                    </a:lnTo>
                    <a:lnTo>
                      <a:pt x="681" y="1052"/>
                    </a:lnTo>
                    <a:lnTo>
                      <a:pt x="686" y="1039"/>
                    </a:lnTo>
                    <a:lnTo>
                      <a:pt x="690" y="1026"/>
                    </a:lnTo>
                    <a:lnTo>
                      <a:pt x="701" y="1002"/>
                    </a:lnTo>
                    <a:lnTo>
                      <a:pt x="712" y="978"/>
                    </a:lnTo>
                    <a:lnTo>
                      <a:pt x="725" y="955"/>
                    </a:lnTo>
                    <a:lnTo>
                      <a:pt x="739" y="932"/>
                    </a:lnTo>
                    <a:lnTo>
                      <a:pt x="753" y="910"/>
                    </a:lnTo>
                    <a:lnTo>
                      <a:pt x="760" y="900"/>
                    </a:lnTo>
                    <a:lnTo>
                      <a:pt x="768" y="889"/>
                    </a:lnTo>
                    <a:lnTo>
                      <a:pt x="783" y="867"/>
                    </a:lnTo>
                    <a:lnTo>
                      <a:pt x="800" y="847"/>
                    </a:lnTo>
                    <a:lnTo>
                      <a:pt x="817" y="828"/>
                    </a:lnTo>
                    <a:lnTo>
                      <a:pt x="836" y="810"/>
                    </a:lnTo>
                    <a:lnTo>
                      <a:pt x="854" y="792"/>
                    </a:lnTo>
                    <a:lnTo>
                      <a:pt x="874" y="775"/>
                    </a:lnTo>
                    <a:lnTo>
                      <a:pt x="895" y="759"/>
                    </a:lnTo>
                    <a:lnTo>
                      <a:pt x="906" y="751"/>
                    </a:lnTo>
                    <a:lnTo>
                      <a:pt x="916" y="743"/>
                    </a:lnTo>
                    <a:lnTo>
                      <a:pt x="938" y="729"/>
                    </a:lnTo>
                    <a:lnTo>
                      <a:pt x="960" y="715"/>
                    </a:lnTo>
                    <a:lnTo>
                      <a:pt x="971" y="707"/>
                    </a:lnTo>
                    <a:lnTo>
                      <a:pt x="983" y="701"/>
                    </a:lnTo>
                    <a:lnTo>
                      <a:pt x="1006" y="689"/>
                    </a:lnTo>
                    <a:lnTo>
                      <a:pt x="1030" y="678"/>
                    </a:lnTo>
                    <a:lnTo>
                      <a:pt x="1056" y="668"/>
                    </a:lnTo>
                    <a:lnTo>
                      <a:pt x="1068" y="664"/>
                    </a:lnTo>
                    <a:lnTo>
                      <a:pt x="1081" y="659"/>
                    </a:lnTo>
                    <a:lnTo>
                      <a:pt x="1106" y="651"/>
                    </a:lnTo>
                    <a:lnTo>
                      <a:pt x="1132" y="645"/>
                    </a:lnTo>
                    <a:lnTo>
                      <a:pt x="1379" y="313"/>
                    </a:lnTo>
                    <a:lnTo>
                      <a:pt x="1135" y="0"/>
                    </a:lnTo>
                    <a:lnTo>
                      <a:pt x="1105" y="3"/>
                    </a:lnTo>
                    <a:lnTo>
                      <a:pt x="1076" y="7"/>
                    </a:lnTo>
                    <a:lnTo>
                      <a:pt x="1046" y="12"/>
                    </a:lnTo>
                    <a:lnTo>
                      <a:pt x="1016" y="18"/>
                    </a:lnTo>
                    <a:lnTo>
                      <a:pt x="988" y="24"/>
                    </a:lnTo>
                    <a:lnTo>
                      <a:pt x="959" y="31"/>
                    </a:lnTo>
                    <a:lnTo>
                      <a:pt x="931" y="39"/>
                    </a:lnTo>
                    <a:lnTo>
                      <a:pt x="903" y="47"/>
                    </a:lnTo>
                    <a:lnTo>
                      <a:pt x="874" y="56"/>
                    </a:lnTo>
                    <a:lnTo>
                      <a:pt x="847" y="65"/>
                    </a:lnTo>
                    <a:lnTo>
                      <a:pt x="820" y="76"/>
                    </a:lnTo>
                    <a:lnTo>
                      <a:pt x="793" y="87"/>
                    </a:lnTo>
                    <a:lnTo>
                      <a:pt x="766" y="98"/>
                    </a:lnTo>
                    <a:lnTo>
                      <a:pt x="740" y="109"/>
                    </a:lnTo>
                    <a:lnTo>
                      <a:pt x="713" y="122"/>
                    </a:lnTo>
                    <a:lnTo>
                      <a:pt x="688" y="135"/>
                    </a:lnTo>
                    <a:lnTo>
                      <a:pt x="663" y="148"/>
                    </a:lnTo>
                    <a:lnTo>
                      <a:pt x="638" y="162"/>
                    </a:lnTo>
                    <a:lnTo>
                      <a:pt x="613" y="177"/>
                    </a:lnTo>
                    <a:lnTo>
                      <a:pt x="589" y="192"/>
                    </a:lnTo>
                    <a:lnTo>
                      <a:pt x="565" y="207"/>
                    </a:lnTo>
                    <a:lnTo>
                      <a:pt x="541" y="223"/>
                    </a:lnTo>
                    <a:lnTo>
                      <a:pt x="518" y="241"/>
                    </a:lnTo>
                    <a:lnTo>
                      <a:pt x="495" y="258"/>
                    </a:lnTo>
                    <a:lnTo>
                      <a:pt x="473" y="276"/>
                    </a:lnTo>
                    <a:lnTo>
                      <a:pt x="451" y="294"/>
                    </a:lnTo>
                    <a:lnTo>
                      <a:pt x="430" y="312"/>
                    </a:lnTo>
                    <a:lnTo>
                      <a:pt x="409" y="331"/>
                    </a:lnTo>
                    <a:lnTo>
                      <a:pt x="387" y="351"/>
                    </a:lnTo>
                    <a:lnTo>
                      <a:pt x="367" y="371"/>
                    </a:lnTo>
                    <a:lnTo>
                      <a:pt x="347" y="392"/>
                    </a:lnTo>
                    <a:lnTo>
                      <a:pt x="328" y="413"/>
                    </a:lnTo>
                    <a:lnTo>
                      <a:pt x="309" y="434"/>
                    </a:lnTo>
                    <a:lnTo>
                      <a:pt x="291" y="456"/>
                    </a:lnTo>
                    <a:lnTo>
                      <a:pt x="273" y="478"/>
                    </a:lnTo>
                    <a:lnTo>
                      <a:pt x="256" y="500"/>
                    </a:lnTo>
                    <a:lnTo>
                      <a:pt x="238" y="523"/>
                    </a:lnTo>
                    <a:lnTo>
                      <a:pt x="222" y="546"/>
                    </a:lnTo>
                    <a:lnTo>
                      <a:pt x="206" y="571"/>
                    </a:lnTo>
                    <a:lnTo>
                      <a:pt x="191" y="595"/>
                    </a:lnTo>
                    <a:lnTo>
                      <a:pt x="176" y="619"/>
                    </a:lnTo>
                    <a:lnTo>
                      <a:pt x="162" y="644"/>
                    </a:lnTo>
                    <a:lnTo>
                      <a:pt x="148" y="669"/>
                    </a:lnTo>
                    <a:lnTo>
                      <a:pt x="135" y="695"/>
                    </a:lnTo>
                    <a:lnTo>
                      <a:pt x="122" y="721"/>
                    </a:lnTo>
                    <a:lnTo>
                      <a:pt x="110" y="747"/>
                    </a:lnTo>
                    <a:lnTo>
                      <a:pt x="99" y="774"/>
                    </a:lnTo>
                    <a:lnTo>
                      <a:pt x="88" y="800"/>
                    </a:lnTo>
                    <a:lnTo>
                      <a:pt x="77" y="827"/>
                    </a:lnTo>
                    <a:lnTo>
                      <a:pt x="67" y="855"/>
                    </a:lnTo>
                    <a:lnTo>
                      <a:pt x="58" y="883"/>
                    </a:lnTo>
                    <a:lnTo>
                      <a:pt x="50" y="911"/>
                    </a:lnTo>
                    <a:lnTo>
                      <a:pt x="42" y="939"/>
                    </a:lnTo>
                    <a:lnTo>
                      <a:pt x="35" y="968"/>
                    </a:lnTo>
                    <a:lnTo>
                      <a:pt x="28" y="996"/>
                    </a:lnTo>
                    <a:lnTo>
                      <a:pt x="23" y="1025"/>
                    </a:lnTo>
                    <a:lnTo>
                      <a:pt x="17" y="1055"/>
                    </a:lnTo>
                    <a:lnTo>
                      <a:pt x="13" y="1084"/>
                    </a:lnTo>
                    <a:lnTo>
                      <a:pt x="9" y="1114"/>
                    </a:lnTo>
                    <a:lnTo>
                      <a:pt x="6" y="1144"/>
                    </a:lnTo>
                    <a:lnTo>
                      <a:pt x="3" y="1174"/>
                    </a:lnTo>
                    <a:lnTo>
                      <a:pt x="2" y="1205"/>
                    </a:lnTo>
                    <a:lnTo>
                      <a:pt x="0" y="1235"/>
                    </a:lnTo>
                    <a:lnTo>
                      <a:pt x="0" y="1266"/>
                    </a:lnTo>
                    <a:lnTo>
                      <a:pt x="1" y="1298"/>
                    </a:lnTo>
                    <a:lnTo>
                      <a:pt x="2" y="1331"/>
                    </a:lnTo>
                    <a:lnTo>
                      <a:pt x="4" y="1364"/>
                    </a:lnTo>
                    <a:lnTo>
                      <a:pt x="7" y="1396"/>
                    </a:lnTo>
                    <a:lnTo>
                      <a:pt x="10" y="1428"/>
                    </a:lnTo>
                    <a:lnTo>
                      <a:pt x="15" y="1459"/>
                    </a:lnTo>
                    <a:lnTo>
                      <a:pt x="20" y="1491"/>
                    </a:lnTo>
                    <a:lnTo>
                      <a:pt x="26" y="1523"/>
                    </a:lnTo>
                    <a:lnTo>
                      <a:pt x="33" y="1553"/>
                    </a:lnTo>
                    <a:lnTo>
                      <a:pt x="40" y="1584"/>
                    </a:lnTo>
                    <a:lnTo>
                      <a:pt x="48" y="1614"/>
                    </a:lnTo>
                    <a:lnTo>
                      <a:pt x="57" y="1644"/>
                    </a:lnTo>
                    <a:lnTo>
                      <a:pt x="67" y="1674"/>
                    </a:lnTo>
                    <a:lnTo>
                      <a:pt x="77" y="1704"/>
                    </a:lnTo>
                    <a:lnTo>
                      <a:pt x="89" y="1733"/>
                    </a:lnTo>
                    <a:lnTo>
                      <a:pt x="101" y="1761"/>
                    </a:lnTo>
                    <a:lnTo>
                      <a:pt x="113" y="1789"/>
                    </a:lnTo>
                    <a:lnTo>
                      <a:pt x="126" y="1817"/>
                    </a:lnTo>
                    <a:lnTo>
                      <a:pt x="140" y="1846"/>
                    </a:lnTo>
                    <a:lnTo>
                      <a:pt x="154" y="1873"/>
                    </a:lnTo>
                    <a:lnTo>
                      <a:pt x="169" y="1900"/>
                    </a:lnTo>
                    <a:lnTo>
                      <a:pt x="185" y="1926"/>
                    </a:lnTo>
                    <a:lnTo>
                      <a:pt x="201" y="1952"/>
                    </a:lnTo>
                    <a:lnTo>
                      <a:pt x="218" y="1977"/>
                    </a:lnTo>
                    <a:lnTo>
                      <a:pt x="235" y="2003"/>
                    </a:lnTo>
                    <a:lnTo>
                      <a:pt x="254" y="2028"/>
                    </a:lnTo>
                    <a:lnTo>
                      <a:pt x="273" y="2052"/>
                    </a:lnTo>
                    <a:lnTo>
                      <a:pt x="292" y="2076"/>
                    </a:lnTo>
                    <a:lnTo>
                      <a:pt x="311" y="2099"/>
                    </a:lnTo>
                    <a:lnTo>
                      <a:pt x="332" y="2122"/>
                    </a:lnTo>
                    <a:lnTo>
                      <a:pt x="352" y="2145"/>
                    </a:lnTo>
                    <a:lnTo>
                      <a:pt x="374" y="2167"/>
                    </a:lnTo>
                    <a:lnTo>
                      <a:pt x="395" y="2188"/>
                    </a:lnTo>
                    <a:lnTo>
                      <a:pt x="419" y="2209"/>
                    </a:lnTo>
                    <a:lnTo>
                      <a:pt x="441" y="2229"/>
                    </a:lnTo>
                    <a:lnTo>
                      <a:pt x="464" y="2249"/>
                    </a:lnTo>
                    <a:lnTo>
                      <a:pt x="488" y="2268"/>
                    </a:lnTo>
                    <a:lnTo>
                      <a:pt x="512" y="2287"/>
                    </a:lnTo>
                    <a:lnTo>
                      <a:pt x="537" y="2306"/>
                    </a:lnTo>
                    <a:lnTo>
                      <a:pt x="563" y="2323"/>
                    </a:lnTo>
                    <a:lnTo>
                      <a:pt x="588" y="2340"/>
                    </a:lnTo>
                    <a:lnTo>
                      <a:pt x="614" y="2356"/>
                    </a:lnTo>
                    <a:lnTo>
                      <a:pt x="641" y="2372"/>
                    </a:lnTo>
                    <a:lnTo>
                      <a:pt x="667" y="2387"/>
                    </a:lnTo>
                    <a:lnTo>
                      <a:pt x="694" y="2401"/>
                    </a:lnTo>
                    <a:lnTo>
                      <a:pt x="723" y="2415"/>
                    </a:lnTo>
                    <a:lnTo>
                      <a:pt x="751" y="2428"/>
                    </a:lnTo>
                    <a:lnTo>
                      <a:pt x="779" y="2441"/>
                    </a:lnTo>
                    <a:lnTo>
                      <a:pt x="808" y="2452"/>
                    </a:lnTo>
                    <a:lnTo>
                      <a:pt x="836" y="2465"/>
                    </a:lnTo>
                    <a:lnTo>
                      <a:pt x="866" y="2475"/>
                    </a:lnTo>
                    <a:lnTo>
                      <a:pt x="896" y="2485"/>
                    </a:lnTo>
                    <a:lnTo>
                      <a:pt x="926" y="2494"/>
                    </a:lnTo>
                    <a:lnTo>
                      <a:pt x="956" y="2502"/>
                    </a:lnTo>
                    <a:lnTo>
                      <a:pt x="987" y="2510"/>
                    </a:lnTo>
                    <a:lnTo>
                      <a:pt x="1017" y="2516"/>
                    </a:lnTo>
                    <a:lnTo>
                      <a:pt x="1049" y="2522"/>
                    </a:lnTo>
                    <a:lnTo>
                      <a:pt x="1081" y="2528"/>
                    </a:lnTo>
                    <a:lnTo>
                      <a:pt x="1112" y="2532"/>
                    </a:lnTo>
                    <a:lnTo>
                      <a:pt x="1144" y="2536"/>
                    </a:lnTo>
                    <a:lnTo>
                      <a:pt x="1176" y="2539"/>
                    </a:lnTo>
                    <a:lnTo>
                      <a:pt x="1209" y="2541"/>
                    </a:lnTo>
                    <a:lnTo>
                      <a:pt x="1241" y="2543"/>
                    </a:lnTo>
                    <a:lnTo>
                      <a:pt x="1274" y="2543"/>
                    </a:lnTo>
                    <a:lnTo>
                      <a:pt x="1039" y="2206"/>
                    </a:lnTo>
                    <a:lnTo>
                      <a:pt x="1266" y="19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" name="Oval 8"/>
            <p:cNvSpPr/>
            <p:nvPr/>
          </p:nvSpPr>
          <p:spPr>
            <a:xfrm>
              <a:off x="2167086" y="1948359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ung 4"/>
          <p:cNvGrpSpPr/>
          <p:nvPr/>
        </p:nvGrpSpPr>
        <p:grpSpPr>
          <a:xfrm>
            <a:off x="6014591" y="1340768"/>
            <a:ext cx="2015999" cy="2016000"/>
            <a:chOff x="6014591" y="1340768"/>
            <a:chExt cx="2015999" cy="2016000"/>
          </a:xfrm>
        </p:grpSpPr>
        <p:grpSp>
          <p:nvGrpSpPr>
            <p:cNvPr id="54" name="Group 9"/>
            <p:cNvGrpSpPr>
              <a:grpSpLocks/>
            </p:cNvGrpSpPr>
            <p:nvPr/>
          </p:nvGrpSpPr>
          <p:grpSpPr bwMode="auto">
            <a:xfrm>
              <a:off x="6014591" y="1340768"/>
              <a:ext cx="2015999" cy="2016000"/>
              <a:chOff x="1840" y="1448"/>
              <a:chExt cx="2562" cy="2561"/>
            </a:xfrm>
            <a:solidFill>
              <a:srgbClr val="2F52A0"/>
            </a:solidFill>
          </p:grpSpPr>
          <p:sp>
            <p:nvSpPr>
              <p:cNvPr id="55" name="Freeform 10"/>
              <p:cNvSpPr>
                <a:spLocks noChangeAspect="1"/>
              </p:cNvSpPr>
              <p:nvPr/>
            </p:nvSpPr>
            <p:spPr bwMode="auto">
              <a:xfrm>
                <a:off x="3142" y="1448"/>
                <a:ext cx="1260" cy="1451"/>
              </a:xfrm>
              <a:custGeom>
                <a:avLst/>
                <a:gdLst>
                  <a:gd name="T0" fmla="*/ 35 w 1260"/>
                  <a:gd name="T1" fmla="*/ 1 h 1451"/>
                  <a:gd name="T2" fmla="*/ 100 w 1260"/>
                  <a:gd name="T3" fmla="*/ 6 h 1451"/>
                  <a:gd name="T4" fmla="*/ 162 w 1260"/>
                  <a:gd name="T5" fmla="*/ 13 h 1451"/>
                  <a:gd name="T6" fmla="*/ 225 w 1260"/>
                  <a:gd name="T7" fmla="*/ 23 h 1451"/>
                  <a:gd name="T8" fmla="*/ 285 w 1260"/>
                  <a:gd name="T9" fmla="*/ 37 h 1451"/>
                  <a:gd name="T10" fmla="*/ 345 w 1260"/>
                  <a:gd name="T11" fmla="*/ 53 h 1451"/>
                  <a:gd name="T12" fmla="*/ 404 w 1260"/>
                  <a:gd name="T13" fmla="*/ 72 h 1451"/>
                  <a:gd name="T14" fmla="*/ 461 w 1260"/>
                  <a:gd name="T15" fmla="*/ 94 h 1451"/>
                  <a:gd name="T16" fmla="*/ 517 w 1260"/>
                  <a:gd name="T17" fmla="*/ 119 h 1451"/>
                  <a:gd name="T18" fmla="*/ 572 w 1260"/>
                  <a:gd name="T19" fmla="*/ 145 h 1451"/>
                  <a:gd name="T20" fmla="*/ 625 w 1260"/>
                  <a:gd name="T21" fmla="*/ 175 h 1451"/>
                  <a:gd name="T22" fmla="*/ 676 w 1260"/>
                  <a:gd name="T23" fmla="*/ 206 h 1451"/>
                  <a:gd name="T24" fmla="*/ 726 w 1260"/>
                  <a:gd name="T25" fmla="*/ 240 h 1451"/>
                  <a:gd name="T26" fmla="*/ 774 w 1260"/>
                  <a:gd name="T27" fmla="*/ 277 h 1451"/>
                  <a:gd name="T28" fmla="*/ 820 w 1260"/>
                  <a:gd name="T29" fmla="*/ 316 h 1451"/>
                  <a:gd name="T30" fmla="*/ 866 w 1260"/>
                  <a:gd name="T31" fmla="*/ 356 h 1451"/>
                  <a:gd name="T32" fmla="*/ 908 w 1260"/>
                  <a:gd name="T33" fmla="*/ 398 h 1451"/>
                  <a:gd name="T34" fmla="*/ 948 w 1260"/>
                  <a:gd name="T35" fmla="*/ 444 h 1451"/>
                  <a:gd name="T36" fmla="*/ 986 w 1260"/>
                  <a:gd name="T37" fmla="*/ 490 h 1451"/>
                  <a:gd name="T38" fmla="*/ 1023 w 1260"/>
                  <a:gd name="T39" fmla="*/ 538 h 1451"/>
                  <a:gd name="T40" fmla="*/ 1057 w 1260"/>
                  <a:gd name="T41" fmla="*/ 589 h 1451"/>
                  <a:gd name="T42" fmla="*/ 1088 w 1260"/>
                  <a:gd name="T43" fmla="*/ 640 h 1451"/>
                  <a:gd name="T44" fmla="*/ 1117 w 1260"/>
                  <a:gd name="T45" fmla="*/ 693 h 1451"/>
                  <a:gd name="T46" fmla="*/ 1144 w 1260"/>
                  <a:gd name="T47" fmla="*/ 748 h 1451"/>
                  <a:gd name="T48" fmla="*/ 1168 w 1260"/>
                  <a:gd name="T49" fmla="*/ 804 h 1451"/>
                  <a:gd name="T50" fmla="*/ 1190 w 1260"/>
                  <a:gd name="T51" fmla="*/ 861 h 1451"/>
                  <a:gd name="T52" fmla="*/ 1209 w 1260"/>
                  <a:gd name="T53" fmla="*/ 921 h 1451"/>
                  <a:gd name="T54" fmla="*/ 1224 w 1260"/>
                  <a:gd name="T55" fmla="*/ 980 h 1451"/>
                  <a:gd name="T56" fmla="*/ 1237 w 1260"/>
                  <a:gd name="T57" fmla="*/ 1042 h 1451"/>
                  <a:gd name="T58" fmla="*/ 1248 w 1260"/>
                  <a:gd name="T59" fmla="*/ 1104 h 1451"/>
                  <a:gd name="T60" fmla="*/ 1255 w 1260"/>
                  <a:gd name="T61" fmla="*/ 1166 h 1451"/>
                  <a:gd name="T62" fmla="*/ 1259 w 1260"/>
                  <a:gd name="T63" fmla="*/ 1231 h 1451"/>
                  <a:gd name="T64" fmla="*/ 921 w 1260"/>
                  <a:gd name="T65" fmla="*/ 1451 h 1451"/>
                  <a:gd name="T66" fmla="*/ 622 w 1260"/>
                  <a:gd name="T67" fmla="*/ 1231 h 1451"/>
                  <a:gd name="T68" fmla="*/ 616 w 1260"/>
                  <a:gd name="T69" fmla="*/ 1184 h 1451"/>
                  <a:gd name="T70" fmla="*/ 608 w 1260"/>
                  <a:gd name="T71" fmla="*/ 1139 h 1451"/>
                  <a:gd name="T72" fmla="*/ 597 w 1260"/>
                  <a:gd name="T73" fmla="*/ 1096 h 1451"/>
                  <a:gd name="T74" fmla="*/ 588 w 1260"/>
                  <a:gd name="T75" fmla="*/ 1067 h 1451"/>
                  <a:gd name="T76" fmla="*/ 572 w 1260"/>
                  <a:gd name="T77" fmla="*/ 1025 h 1451"/>
                  <a:gd name="T78" fmla="*/ 559 w 1260"/>
                  <a:gd name="T79" fmla="*/ 998 h 1451"/>
                  <a:gd name="T80" fmla="*/ 539 w 1260"/>
                  <a:gd name="T81" fmla="*/ 959 h 1451"/>
                  <a:gd name="T82" fmla="*/ 523 w 1260"/>
                  <a:gd name="T83" fmla="*/ 934 h 1451"/>
                  <a:gd name="T84" fmla="*/ 498 w 1260"/>
                  <a:gd name="T85" fmla="*/ 898 h 1451"/>
                  <a:gd name="T86" fmla="*/ 480 w 1260"/>
                  <a:gd name="T87" fmla="*/ 874 h 1451"/>
                  <a:gd name="T88" fmla="*/ 461 w 1260"/>
                  <a:gd name="T89" fmla="*/ 852 h 1451"/>
                  <a:gd name="T90" fmla="*/ 431 w 1260"/>
                  <a:gd name="T91" fmla="*/ 821 h 1451"/>
                  <a:gd name="T92" fmla="*/ 399 w 1260"/>
                  <a:gd name="T93" fmla="*/ 791 h 1451"/>
                  <a:gd name="T94" fmla="*/ 375 w 1260"/>
                  <a:gd name="T95" fmla="*/ 773 h 1451"/>
                  <a:gd name="T96" fmla="*/ 352 w 1260"/>
                  <a:gd name="T97" fmla="*/ 755 h 1451"/>
                  <a:gd name="T98" fmla="*/ 328 w 1260"/>
                  <a:gd name="T99" fmla="*/ 739 h 1451"/>
                  <a:gd name="T100" fmla="*/ 290 w 1260"/>
                  <a:gd name="T101" fmla="*/ 716 h 1451"/>
                  <a:gd name="T102" fmla="*/ 264 w 1260"/>
                  <a:gd name="T103" fmla="*/ 702 h 1451"/>
                  <a:gd name="T104" fmla="*/ 223 w 1260"/>
                  <a:gd name="T105" fmla="*/ 684 h 1451"/>
                  <a:gd name="T106" fmla="*/ 181 w 1260"/>
                  <a:gd name="T107" fmla="*/ 669 h 1451"/>
                  <a:gd name="T108" fmla="*/ 137 w 1260"/>
                  <a:gd name="T109" fmla="*/ 656 h 1451"/>
                  <a:gd name="T110" fmla="*/ 108 w 1260"/>
                  <a:gd name="T111" fmla="*/ 649 h 1451"/>
                  <a:gd name="T112" fmla="*/ 63 w 1260"/>
                  <a:gd name="T113" fmla="*/ 642 h 1451"/>
                  <a:gd name="T114" fmla="*/ 31 w 1260"/>
                  <a:gd name="T115" fmla="*/ 639 h 1451"/>
                  <a:gd name="T116" fmla="*/ 0 w 1260"/>
                  <a:gd name="T117" fmla="*/ 637 h 1451"/>
                  <a:gd name="T118" fmla="*/ 3 w 1260"/>
                  <a:gd name="T119" fmla="*/ 0 h 14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60"/>
                  <a:gd name="T181" fmla="*/ 0 h 1451"/>
                  <a:gd name="T182" fmla="*/ 1260 w 1260"/>
                  <a:gd name="T183" fmla="*/ 1451 h 14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60" h="1451">
                    <a:moveTo>
                      <a:pt x="3" y="0"/>
                    </a:moveTo>
                    <a:lnTo>
                      <a:pt x="35" y="1"/>
                    </a:lnTo>
                    <a:lnTo>
                      <a:pt x="68" y="3"/>
                    </a:lnTo>
                    <a:lnTo>
                      <a:pt x="100" y="6"/>
                    </a:lnTo>
                    <a:lnTo>
                      <a:pt x="131" y="9"/>
                    </a:lnTo>
                    <a:lnTo>
                      <a:pt x="162" y="13"/>
                    </a:lnTo>
                    <a:lnTo>
                      <a:pt x="193" y="18"/>
                    </a:lnTo>
                    <a:lnTo>
                      <a:pt x="225" y="23"/>
                    </a:lnTo>
                    <a:lnTo>
                      <a:pt x="255" y="30"/>
                    </a:lnTo>
                    <a:lnTo>
                      <a:pt x="285" y="37"/>
                    </a:lnTo>
                    <a:lnTo>
                      <a:pt x="315" y="44"/>
                    </a:lnTo>
                    <a:lnTo>
                      <a:pt x="345" y="53"/>
                    </a:lnTo>
                    <a:lnTo>
                      <a:pt x="374" y="62"/>
                    </a:lnTo>
                    <a:lnTo>
                      <a:pt x="404" y="72"/>
                    </a:lnTo>
                    <a:lnTo>
                      <a:pt x="433" y="83"/>
                    </a:lnTo>
                    <a:lnTo>
                      <a:pt x="461" y="94"/>
                    </a:lnTo>
                    <a:lnTo>
                      <a:pt x="489" y="106"/>
                    </a:lnTo>
                    <a:lnTo>
                      <a:pt x="517" y="119"/>
                    </a:lnTo>
                    <a:lnTo>
                      <a:pt x="545" y="132"/>
                    </a:lnTo>
                    <a:lnTo>
                      <a:pt x="572" y="145"/>
                    </a:lnTo>
                    <a:lnTo>
                      <a:pt x="599" y="160"/>
                    </a:lnTo>
                    <a:lnTo>
                      <a:pt x="625" y="175"/>
                    </a:lnTo>
                    <a:lnTo>
                      <a:pt x="651" y="190"/>
                    </a:lnTo>
                    <a:lnTo>
                      <a:pt x="676" y="206"/>
                    </a:lnTo>
                    <a:lnTo>
                      <a:pt x="702" y="223"/>
                    </a:lnTo>
                    <a:lnTo>
                      <a:pt x="726" y="240"/>
                    </a:lnTo>
                    <a:lnTo>
                      <a:pt x="751" y="259"/>
                    </a:lnTo>
                    <a:lnTo>
                      <a:pt x="774" y="277"/>
                    </a:lnTo>
                    <a:lnTo>
                      <a:pt x="798" y="296"/>
                    </a:lnTo>
                    <a:lnTo>
                      <a:pt x="820" y="316"/>
                    </a:lnTo>
                    <a:lnTo>
                      <a:pt x="843" y="336"/>
                    </a:lnTo>
                    <a:lnTo>
                      <a:pt x="866" y="356"/>
                    </a:lnTo>
                    <a:lnTo>
                      <a:pt x="887" y="377"/>
                    </a:lnTo>
                    <a:lnTo>
                      <a:pt x="908" y="398"/>
                    </a:lnTo>
                    <a:lnTo>
                      <a:pt x="928" y="421"/>
                    </a:lnTo>
                    <a:lnTo>
                      <a:pt x="948" y="444"/>
                    </a:lnTo>
                    <a:lnTo>
                      <a:pt x="967" y="467"/>
                    </a:lnTo>
                    <a:lnTo>
                      <a:pt x="986" y="490"/>
                    </a:lnTo>
                    <a:lnTo>
                      <a:pt x="1004" y="514"/>
                    </a:lnTo>
                    <a:lnTo>
                      <a:pt x="1023" y="538"/>
                    </a:lnTo>
                    <a:lnTo>
                      <a:pt x="1040" y="564"/>
                    </a:lnTo>
                    <a:lnTo>
                      <a:pt x="1057" y="589"/>
                    </a:lnTo>
                    <a:lnTo>
                      <a:pt x="1073" y="614"/>
                    </a:lnTo>
                    <a:lnTo>
                      <a:pt x="1088" y="640"/>
                    </a:lnTo>
                    <a:lnTo>
                      <a:pt x="1103" y="666"/>
                    </a:lnTo>
                    <a:lnTo>
                      <a:pt x="1117" y="693"/>
                    </a:lnTo>
                    <a:lnTo>
                      <a:pt x="1131" y="720"/>
                    </a:lnTo>
                    <a:lnTo>
                      <a:pt x="1144" y="748"/>
                    </a:lnTo>
                    <a:lnTo>
                      <a:pt x="1156" y="776"/>
                    </a:lnTo>
                    <a:lnTo>
                      <a:pt x="1168" y="804"/>
                    </a:lnTo>
                    <a:lnTo>
                      <a:pt x="1180" y="833"/>
                    </a:lnTo>
                    <a:lnTo>
                      <a:pt x="1190" y="861"/>
                    </a:lnTo>
                    <a:lnTo>
                      <a:pt x="1200" y="891"/>
                    </a:lnTo>
                    <a:lnTo>
                      <a:pt x="1209" y="921"/>
                    </a:lnTo>
                    <a:lnTo>
                      <a:pt x="1217" y="950"/>
                    </a:lnTo>
                    <a:lnTo>
                      <a:pt x="1224" y="980"/>
                    </a:lnTo>
                    <a:lnTo>
                      <a:pt x="1231" y="1010"/>
                    </a:lnTo>
                    <a:lnTo>
                      <a:pt x="1237" y="1042"/>
                    </a:lnTo>
                    <a:lnTo>
                      <a:pt x="1243" y="1073"/>
                    </a:lnTo>
                    <a:lnTo>
                      <a:pt x="1248" y="1104"/>
                    </a:lnTo>
                    <a:lnTo>
                      <a:pt x="1252" y="1135"/>
                    </a:lnTo>
                    <a:lnTo>
                      <a:pt x="1255" y="1166"/>
                    </a:lnTo>
                    <a:lnTo>
                      <a:pt x="1257" y="1198"/>
                    </a:lnTo>
                    <a:lnTo>
                      <a:pt x="1259" y="1231"/>
                    </a:lnTo>
                    <a:lnTo>
                      <a:pt x="1260" y="1263"/>
                    </a:lnTo>
                    <a:lnTo>
                      <a:pt x="921" y="1451"/>
                    </a:lnTo>
                    <a:lnTo>
                      <a:pt x="622" y="1246"/>
                    </a:lnTo>
                    <a:lnTo>
                      <a:pt x="622" y="1231"/>
                    </a:lnTo>
                    <a:lnTo>
                      <a:pt x="620" y="1215"/>
                    </a:lnTo>
                    <a:lnTo>
                      <a:pt x="616" y="1184"/>
                    </a:lnTo>
                    <a:lnTo>
                      <a:pt x="611" y="1154"/>
                    </a:lnTo>
                    <a:lnTo>
                      <a:pt x="608" y="1139"/>
                    </a:lnTo>
                    <a:lnTo>
                      <a:pt x="605" y="1125"/>
                    </a:lnTo>
                    <a:lnTo>
                      <a:pt x="597" y="1096"/>
                    </a:lnTo>
                    <a:lnTo>
                      <a:pt x="593" y="1082"/>
                    </a:lnTo>
                    <a:lnTo>
                      <a:pt x="588" y="1067"/>
                    </a:lnTo>
                    <a:lnTo>
                      <a:pt x="577" y="1039"/>
                    </a:lnTo>
                    <a:lnTo>
                      <a:pt x="572" y="1025"/>
                    </a:lnTo>
                    <a:lnTo>
                      <a:pt x="566" y="1012"/>
                    </a:lnTo>
                    <a:lnTo>
                      <a:pt x="559" y="998"/>
                    </a:lnTo>
                    <a:lnTo>
                      <a:pt x="553" y="985"/>
                    </a:lnTo>
                    <a:lnTo>
                      <a:pt x="539" y="959"/>
                    </a:lnTo>
                    <a:lnTo>
                      <a:pt x="530" y="947"/>
                    </a:lnTo>
                    <a:lnTo>
                      <a:pt x="523" y="934"/>
                    </a:lnTo>
                    <a:lnTo>
                      <a:pt x="506" y="910"/>
                    </a:lnTo>
                    <a:lnTo>
                      <a:pt x="498" y="898"/>
                    </a:lnTo>
                    <a:lnTo>
                      <a:pt x="489" y="887"/>
                    </a:lnTo>
                    <a:lnTo>
                      <a:pt x="480" y="874"/>
                    </a:lnTo>
                    <a:lnTo>
                      <a:pt x="471" y="863"/>
                    </a:lnTo>
                    <a:lnTo>
                      <a:pt x="461" y="852"/>
                    </a:lnTo>
                    <a:lnTo>
                      <a:pt x="451" y="841"/>
                    </a:lnTo>
                    <a:lnTo>
                      <a:pt x="431" y="82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88" y="782"/>
                    </a:lnTo>
                    <a:lnTo>
                      <a:pt x="375" y="773"/>
                    </a:lnTo>
                    <a:lnTo>
                      <a:pt x="364" y="764"/>
                    </a:lnTo>
                    <a:lnTo>
                      <a:pt x="352" y="755"/>
                    </a:lnTo>
                    <a:lnTo>
                      <a:pt x="340" y="747"/>
                    </a:lnTo>
                    <a:lnTo>
                      <a:pt x="328" y="739"/>
                    </a:lnTo>
                    <a:lnTo>
                      <a:pt x="315" y="731"/>
                    </a:lnTo>
                    <a:lnTo>
                      <a:pt x="290" y="716"/>
                    </a:lnTo>
                    <a:lnTo>
                      <a:pt x="277" y="709"/>
                    </a:lnTo>
                    <a:lnTo>
                      <a:pt x="264" y="702"/>
                    </a:lnTo>
                    <a:lnTo>
                      <a:pt x="237" y="690"/>
                    </a:lnTo>
                    <a:lnTo>
                      <a:pt x="223" y="684"/>
                    </a:lnTo>
                    <a:lnTo>
                      <a:pt x="209" y="678"/>
                    </a:lnTo>
                    <a:lnTo>
                      <a:pt x="181" y="669"/>
                    </a:lnTo>
                    <a:lnTo>
                      <a:pt x="152" y="660"/>
                    </a:lnTo>
                    <a:lnTo>
                      <a:pt x="137" y="656"/>
                    </a:lnTo>
                    <a:lnTo>
                      <a:pt x="123" y="653"/>
                    </a:lnTo>
                    <a:lnTo>
                      <a:pt x="108" y="649"/>
                    </a:lnTo>
                    <a:lnTo>
                      <a:pt x="93" y="647"/>
                    </a:lnTo>
                    <a:lnTo>
                      <a:pt x="63" y="642"/>
                    </a:lnTo>
                    <a:lnTo>
                      <a:pt x="47" y="640"/>
                    </a:lnTo>
                    <a:lnTo>
                      <a:pt x="31" y="639"/>
                    </a:lnTo>
                    <a:lnTo>
                      <a:pt x="16" y="638"/>
                    </a:lnTo>
                    <a:lnTo>
                      <a:pt x="0" y="637"/>
                    </a:lnTo>
                    <a:lnTo>
                      <a:pt x="197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6" name="Freeform 11"/>
              <p:cNvSpPr>
                <a:spLocks noChangeAspect="1"/>
              </p:cNvSpPr>
              <p:nvPr/>
            </p:nvSpPr>
            <p:spPr bwMode="auto">
              <a:xfrm>
                <a:off x="1840" y="1449"/>
                <a:ext cx="1431" cy="1325"/>
              </a:xfrm>
              <a:custGeom>
                <a:avLst/>
                <a:gdLst>
                  <a:gd name="T0" fmla="*/ 637 w 1431"/>
                  <a:gd name="T1" fmla="*/ 1302 h 1325"/>
                  <a:gd name="T2" fmla="*/ 637 w 1431"/>
                  <a:gd name="T3" fmla="*/ 1248 h 1325"/>
                  <a:gd name="T4" fmla="*/ 640 w 1431"/>
                  <a:gd name="T5" fmla="*/ 1217 h 1325"/>
                  <a:gd name="T6" fmla="*/ 646 w 1431"/>
                  <a:gd name="T7" fmla="*/ 1170 h 1325"/>
                  <a:gd name="T8" fmla="*/ 655 w 1431"/>
                  <a:gd name="T9" fmla="*/ 1125 h 1325"/>
                  <a:gd name="T10" fmla="*/ 663 w 1431"/>
                  <a:gd name="T11" fmla="*/ 1095 h 1325"/>
                  <a:gd name="T12" fmla="*/ 678 w 1431"/>
                  <a:gd name="T13" fmla="*/ 1052 h 1325"/>
                  <a:gd name="T14" fmla="*/ 689 w 1431"/>
                  <a:gd name="T15" fmla="*/ 1024 h 1325"/>
                  <a:gd name="T16" fmla="*/ 708 w 1431"/>
                  <a:gd name="T17" fmla="*/ 983 h 1325"/>
                  <a:gd name="T18" fmla="*/ 724 w 1431"/>
                  <a:gd name="T19" fmla="*/ 957 h 1325"/>
                  <a:gd name="T20" fmla="*/ 739 w 1431"/>
                  <a:gd name="T21" fmla="*/ 932 h 1325"/>
                  <a:gd name="T22" fmla="*/ 756 w 1431"/>
                  <a:gd name="T23" fmla="*/ 907 h 1325"/>
                  <a:gd name="T24" fmla="*/ 773 w 1431"/>
                  <a:gd name="T25" fmla="*/ 884 h 1325"/>
                  <a:gd name="T26" fmla="*/ 792 w 1431"/>
                  <a:gd name="T27" fmla="*/ 860 h 1325"/>
                  <a:gd name="T28" fmla="*/ 822 w 1431"/>
                  <a:gd name="T29" fmla="*/ 827 h 1325"/>
                  <a:gd name="T30" fmla="*/ 843 w 1431"/>
                  <a:gd name="T31" fmla="*/ 807 h 1325"/>
                  <a:gd name="T32" fmla="*/ 877 w 1431"/>
                  <a:gd name="T33" fmla="*/ 778 h 1325"/>
                  <a:gd name="T34" fmla="*/ 901 w 1431"/>
                  <a:gd name="T35" fmla="*/ 760 h 1325"/>
                  <a:gd name="T36" fmla="*/ 938 w 1431"/>
                  <a:gd name="T37" fmla="*/ 735 h 1325"/>
                  <a:gd name="T38" fmla="*/ 976 w 1431"/>
                  <a:gd name="T39" fmla="*/ 711 h 1325"/>
                  <a:gd name="T40" fmla="*/ 1003 w 1431"/>
                  <a:gd name="T41" fmla="*/ 698 h 1325"/>
                  <a:gd name="T42" fmla="*/ 1030 w 1431"/>
                  <a:gd name="T43" fmla="*/ 686 h 1325"/>
                  <a:gd name="T44" fmla="*/ 1059 w 1431"/>
                  <a:gd name="T45" fmla="*/ 675 h 1325"/>
                  <a:gd name="T46" fmla="*/ 1117 w 1431"/>
                  <a:gd name="T47" fmla="*/ 657 h 1325"/>
                  <a:gd name="T48" fmla="*/ 1147 w 1431"/>
                  <a:gd name="T49" fmla="*/ 649 h 1325"/>
                  <a:gd name="T50" fmla="*/ 1192 w 1431"/>
                  <a:gd name="T51" fmla="*/ 642 h 1325"/>
                  <a:gd name="T52" fmla="*/ 1224 w 1431"/>
                  <a:gd name="T53" fmla="*/ 638 h 1325"/>
                  <a:gd name="T54" fmla="*/ 1431 w 1431"/>
                  <a:gd name="T55" fmla="*/ 334 h 1325"/>
                  <a:gd name="T56" fmla="*/ 1207 w 1431"/>
                  <a:gd name="T57" fmla="*/ 1 h 1325"/>
                  <a:gd name="T58" fmla="*/ 1142 w 1431"/>
                  <a:gd name="T59" fmla="*/ 6 h 1325"/>
                  <a:gd name="T60" fmla="*/ 1080 w 1431"/>
                  <a:gd name="T61" fmla="*/ 15 h 1325"/>
                  <a:gd name="T62" fmla="*/ 1018 w 1431"/>
                  <a:gd name="T63" fmla="*/ 26 h 1325"/>
                  <a:gd name="T64" fmla="*/ 957 w 1431"/>
                  <a:gd name="T65" fmla="*/ 40 h 1325"/>
                  <a:gd name="T66" fmla="*/ 898 w 1431"/>
                  <a:gd name="T67" fmla="*/ 57 h 1325"/>
                  <a:gd name="T68" fmla="*/ 839 w 1431"/>
                  <a:gd name="T69" fmla="*/ 76 h 1325"/>
                  <a:gd name="T70" fmla="*/ 783 w 1431"/>
                  <a:gd name="T71" fmla="*/ 100 h 1325"/>
                  <a:gd name="T72" fmla="*/ 728 w 1431"/>
                  <a:gd name="T73" fmla="*/ 125 h 1325"/>
                  <a:gd name="T74" fmla="*/ 673 w 1431"/>
                  <a:gd name="T75" fmla="*/ 152 h 1325"/>
                  <a:gd name="T76" fmla="*/ 620 w 1431"/>
                  <a:gd name="T77" fmla="*/ 182 h 1325"/>
                  <a:gd name="T78" fmla="*/ 570 w 1431"/>
                  <a:gd name="T79" fmla="*/ 214 h 1325"/>
                  <a:gd name="T80" fmla="*/ 520 w 1431"/>
                  <a:gd name="T81" fmla="*/ 250 h 1325"/>
                  <a:gd name="T82" fmla="*/ 472 w 1431"/>
                  <a:gd name="T83" fmla="*/ 287 h 1325"/>
                  <a:gd name="T84" fmla="*/ 427 w 1431"/>
                  <a:gd name="T85" fmla="*/ 325 h 1325"/>
                  <a:gd name="T86" fmla="*/ 382 w 1431"/>
                  <a:gd name="T87" fmla="*/ 366 h 1325"/>
                  <a:gd name="T88" fmla="*/ 341 w 1431"/>
                  <a:gd name="T89" fmla="*/ 410 h 1325"/>
                  <a:gd name="T90" fmla="*/ 301 w 1431"/>
                  <a:gd name="T91" fmla="*/ 455 h 1325"/>
                  <a:gd name="T92" fmla="*/ 263 w 1431"/>
                  <a:gd name="T93" fmla="*/ 502 h 1325"/>
                  <a:gd name="T94" fmla="*/ 227 w 1431"/>
                  <a:gd name="T95" fmla="*/ 550 h 1325"/>
                  <a:gd name="T96" fmla="*/ 194 w 1431"/>
                  <a:gd name="T97" fmla="*/ 602 h 1325"/>
                  <a:gd name="T98" fmla="*/ 163 w 1431"/>
                  <a:gd name="T99" fmla="*/ 653 h 1325"/>
                  <a:gd name="T100" fmla="*/ 135 w 1431"/>
                  <a:gd name="T101" fmla="*/ 707 h 1325"/>
                  <a:gd name="T102" fmla="*/ 109 w 1431"/>
                  <a:gd name="T103" fmla="*/ 762 h 1325"/>
                  <a:gd name="T104" fmla="*/ 86 w 1431"/>
                  <a:gd name="T105" fmla="*/ 819 h 1325"/>
                  <a:gd name="T106" fmla="*/ 64 w 1431"/>
                  <a:gd name="T107" fmla="*/ 876 h 1325"/>
                  <a:gd name="T108" fmla="*/ 47 w 1431"/>
                  <a:gd name="T109" fmla="*/ 936 h 1325"/>
                  <a:gd name="T110" fmla="*/ 31 w 1431"/>
                  <a:gd name="T111" fmla="*/ 996 h 1325"/>
                  <a:gd name="T112" fmla="*/ 19 w 1431"/>
                  <a:gd name="T113" fmla="*/ 1058 h 1325"/>
                  <a:gd name="T114" fmla="*/ 10 w 1431"/>
                  <a:gd name="T115" fmla="*/ 1120 h 1325"/>
                  <a:gd name="T116" fmla="*/ 4 w 1431"/>
                  <a:gd name="T117" fmla="*/ 1183 h 1325"/>
                  <a:gd name="T118" fmla="*/ 1 w 1431"/>
                  <a:gd name="T119" fmla="*/ 1247 h 1325"/>
                  <a:gd name="T120" fmla="*/ 1 w 1431"/>
                  <a:gd name="T121" fmla="*/ 1302 h 1325"/>
                  <a:gd name="T122" fmla="*/ 335 w 1431"/>
                  <a:gd name="T123" fmla="*/ 1129 h 132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31"/>
                  <a:gd name="T187" fmla="*/ 0 h 1325"/>
                  <a:gd name="T188" fmla="*/ 1431 w 1431"/>
                  <a:gd name="T189" fmla="*/ 1325 h 132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31" h="1325">
                    <a:moveTo>
                      <a:pt x="638" y="1324"/>
                    </a:moveTo>
                    <a:lnTo>
                      <a:pt x="637" y="1302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4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2"/>
                    </a:lnTo>
                    <a:lnTo>
                      <a:pt x="683" y="1038"/>
                    </a:lnTo>
                    <a:lnTo>
                      <a:pt x="689" y="1024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4" y="957"/>
                    </a:lnTo>
                    <a:lnTo>
                      <a:pt x="731" y="944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7"/>
                    </a:lnTo>
                    <a:lnTo>
                      <a:pt x="764" y="895"/>
                    </a:lnTo>
                    <a:lnTo>
                      <a:pt x="773" y="884"/>
                    </a:lnTo>
                    <a:lnTo>
                      <a:pt x="783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1" y="727"/>
                    </a:lnTo>
                    <a:lnTo>
                      <a:pt x="976" y="711"/>
                    </a:lnTo>
                    <a:lnTo>
                      <a:pt x="990" y="705"/>
                    </a:lnTo>
                    <a:lnTo>
                      <a:pt x="1003" y="698"/>
                    </a:lnTo>
                    <a:lnTo>
                      <a:pt x="1017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8" y="665"/>
                    </a:lnTo>
                    <a:lnTo>
                      <a:pt x="1117" y="657"/>
                    </a:lnTo>
                    <a:lnTo>
                      <a:pt x="1132" y="653"/>
                    </a:lnTo>
                    <a:lnTo>
                      <a:pt x="1147" y="649"/>
                    </a:lnTo>
                    <a:lnTo>
                      <a:pt x="1177" y="644"/>
                    </a:lnTo>
                    <a:lnTo>
                      <a:pt x="1192" y="642"/>
                    </a:lnTo>
                    <a:lnTo>
                      <a:pt x="1209" y="640"/>
                    </a:lnTo>
                    <a:lnTo>
                      <a:pt x="1224" y="638"/>
                    </a:lnTo>
                    <a:lnTo>
                      <a:pt x="1240" y="637"/>
                    </a:lnTo>
                    <a:lnTo>
                      <a:pt x="1431" y="334"/>
                    </a:lnTo>
                    <a:lnTo>
                      <a:pt x="1239" y="0"/>
                    </a:lnTo>
                    <a:lnTo>
                      <a:pt x="1207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8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5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1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2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02"/>
                    </a:lnTo>
                    <a:lnTo>
                      <a:pt x="2" y="1325"/>
                    </a:lnTo>
                    <a:lnTo>
                      <a:pt x="335" y="1129"/>
                    </a:lnTo>
                    <a:lnTo>
                      <a:pt x="638" y="13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7" name="Freeform 12"/>
              <p:cNvSpPr>
                <a:spLocks noChangeAspect="1"/>
              </p:cNvSpPr>
              <p:nvPr/>
            </p:nvSpPr>
            <p:spPr bwMode="auto">
              <a:xfrm>
                <a:off x="1845" y="2645"/>
                <a:ext cx="1295" cy="1364"/>
              </a:xfrm>
              <a:custGeom>
                <a:avLst/>
                <a:gdLst>
                  <a:gd name="T0" fmla="*/ 1096 w 1295"/>
                  <a:gd name="T1" fmla="*/ 1023 h 1364"/>
                  <a:gd name="T2" fmla="*/ 1276 w 1295"/>
                  <a:gd name="T3" fmla="*/ 728 h 1364"/>
                  <a:gd name="T4" fmla="*/ 1232 w 1295"/>
                  <a:gd name="T5" fmla="*/ 726 h 1364"/>
                  <a:gd name="T6" fmla="*/ 1187 w 1295"/>
                  <a:gd name="T7" fmla="*/ 722 h 1364"/>
                  <a:gd name="T8" fmla="*/ 1131 w 1295"/>
                  <a:gd name="T9" fmla="*/ 711 h 1364"/>
                  <a:gd name="T10" fmla="*/ 1103 w 1295"/>
                  <a:gd name="T11" fmla="*/ 704 h 1364"/>
                  <a:gd name="T12" fmla="*/ 1050 w 1295"/>
                  <a:gd name="T13" fmla="*/ 687 h 1364"/>
                  <a:gd name="T14" fmla="*/ 1023 w 1295"/>
                  <a:gd name="T15" fmla="*/ 677 h 1364"/>
                  <a:gd name="T16" fmla="*/ 973 w 1295"/>
                  <a:gd name="T17" fmla="*/ 653 h 1364"/>
                  <a:gd name="T18" fmla="*/ 949 w 1295"/>
                  <a:gd name="T19" fmla="*/ 638 h 1364"/>
                  <a:gd name="T20" fmla="*/ 902 w 1295"/>
                  <a:gd name="T21" fmla="*/ 608 h 1364"/>
                  <a:gd name="T22" fmla="*/ 880 w 1295"/>
                  <a:gd name="T23" fmla="*/ 591 h 1364"/>
                  <a:gd name="T24" fmla="*/ 837 w 1295"/>
                  <a:gd name="T25" fmla="*/ 556 h 1364"/>
                  <a:gd name="T26" fmla="*/ 799 w 1295"/>
                  <a:gd name="T27" fmla="*/ 517 h 1364"/>
                  <a:gd name="T28" fmla="*/ 781 w 1295"/>
                  <a:gd name="T29" fmla="*/ 496 h 1364"/>
                  <a:gd name="T30" fmla="*/ 747 w 1295"/>
                  <a:gd name="T31" fmla="*/ 451 h 1364"/>
                  <a:gd name="T32" fmla="*/ 725 w 1295"/>
                  <a:gd name="T33" fmla="*/ 417 h 1364"/>
                  <a:gd name="T34" fmla="*/ 703 w 1295"/>
                  <a:gd name="T35" fmla="*/ 380 h 1364"/>
                  <a:gd name="T36" fmla="*/ 680 w 1295"/>
                  <a:gd name="T37" fmla="*/ 330 h 1364"/>
                  <a:gd name="T38" fmla="*/ 670 w 1295"/>
                  <a:gd name="T39" fmla="*/ 303 h 1364"/>
                  <a:gd name="T40" fmla="*/ 657 w 1295"/>
                  <a:gd name="T41" fmla="*/ 263 h 1364"/>
                  <a:gd name="T42" fmla="*/ 646 w 1295"/>
                  <a:gd name="T43" fmla="*/ 221 h 1364"/>
                  <a:gd name="T44" fmla="*/ 322 w 1295"/>
                  <a:gd name="T45" fmla="*/ 0 h 1364"/>
                  <a:gd name="T46" fmla="*/ 2 w 1295"/>
                  <a:gd name="T47" fmla="*/ 222 h 1364"/>
                  <a:gd name="T48" fmla="*/ 10 w 1295"/>
                  <a:gd name="T49" fmla="*/ 282 h 1364"/>
                  <a:gd name="T50" fmla="*/ 21 w 1295"/>
                  <a:gd name="T51" fmla="*/ 343 h 1364"/>
                  <a:gd name="T52" fmla="*/ 35 w 1295"/>
                  <a:gd name="T53" fmla="*/ 401 h 1364"/>
                  <a:gd name="T54" fmla="*/ 51 w 1295"/>
                  <a:gd name="T55" fmla="*/ 458 h 1364"/>
                  <a:gd name="T56" fmla="*/ 69 w 1295"/>
                  <a:gd name="T57" fmla="*/ 516 h 1364"/>
                  <a:gd name="T58" fmla="*/ 91 w 1295"/>
                  <a:gd name="T59" fmla="*/ 571 h 1364"/>
                  <a:gd name="T60" fmla="*/ 115 w 1295"/>
                  <a:gd name="T61" fmla="*/ 624 h 1364"/>
                  <a:gd name="T62" fmla="*/ 141 w 1295"/>
                  <a:gd name="T63" fmla="*/ 678 h 1364"/>
                  <a:gd name="T64" fmla="*/ 169 w 1295"/>
                  <a:gd name="T65" fmla="*/ 729 h 1364"/>
                  <a:gd name="T66" fmla="*/ 200 w 1295"/>
                  <a:gd name="T67" fmla="*/ 779 h 1364"/>
                  <a:gd name="T68" fmla="*/ 233 w 1295"/>
                  <a:gd name="T69" fmla="*/ 828 h 1364"/>
                  <a:gd name="T70" fmla="*/ 268 w 1295"/>
                  <a:gd name="T71" fmla="*/ 874 h 1364"/>
                  <a:gd name="T72" fmla="*/ 305 w 1295"/>
                  <a:gd name="T73" fmla="*/ 919 h 1364"/>
                  <a:gd name="T74" fmla="*/ 344 w 1295"/>
                  <a:gd name="T75" fmla="*/ 962 h 1364"/>
                  <a:gd name="T76" fmla="*/ 385 w 1295"/>
                  <a:gd name="T77" fmla="*/ 1004 h 1364"/>
                  <a:gd name="T78" fmla="*/ 428 w 1295"/>
                  <a:gd name="T79" fmla="*/ 1043 h 1364"/>
                  <a:gd name="T80" fmla="*/ 473 w 1295"/>
                  <a:gd name="T81" fmla="*/ 1081 h 1364"/>
                  <a:gd name="T82" fmla="*/ 519 w 1295"/>
                  <a:gd name="T83" fmla="*/ 1116 h 1364"/>
                  <a:gd name="T84" fmla="*/ 567 w 1295"/>
                  <a:gd name="T85" fmla="*/ 1151 h 1364"/>
                  <a:gd name="T86" fmla="*/ 616 w 1295"/>
                  <a:gd name="T87" fmla="*/ 1182 h 1364"/>
                  <a:gd name="T88" fmla="*/ 667 w 1295"/>
                  <a:gd name="T89" fmla="*/ 1211 h 1364"/>
                  <a:gd name="T90" fmla="*/ 720 w 1295"/>
                  <a:gd name="T91" fmla="*/ 1237 h 1364"/>
                  <a:gd name="T92" fmla="*/ 774 w 1295"/>
                  <a:gd name="T93" fmla="*/ 1262 h 1364"/>
                  <a:gd name="T94" fmla="*/ 828 w 1295"/>
                  <a:gd name="T95" fmla="*/ 1283 h 1364"/>
                  <a:gd name="T96" fmla="*/ 885 w 1295"/>
                  <a:gd name="T97" fmla="*/ 1304 h 1364"/>
                  <a:gd name="T98" fmla="*/ 942 w 1295"/>
                  <a:gd name="T99" fmla="*/ 1321 h 1364"/>
                  <a:gd name="T100" fmla="*/ 1001 w 1295"/>
                  <a:gd name="T101" fmla="*/ 1335 h 1364"/>
                  <a:gd name="T102" fmla="*/ 1061 w 1295"/>
                  <a:gd name="T103" fmla="*/ 1346 h 1364"/>
                  <a:gd name="T104" fmla="*/ 1121 w 1295"/>
                  <a:gd name="T105" fmla="*/ 1355 h 1364"/>
                  <a:gd name="T106" fmla="*/ 1182 w 1295"/>
                  <a:gd name="T107" fmla="*/ 1361 h 1364"/>
                  <a:gd name="T108" fmla="*/ 1245 w 1295"/>
                  <a:gd name="T109" fmla="*/ 1364 h 1364"/>
                  <a:gd name="T110" fmla="*/ 1281 w 1295"/>
                  <a:gd name="T111" fmla="*/ 1364 h 1364"/>
                  <a:gd name="T112" fmla="*/ 1290 w 1295"/>
                  <a:gd name="T113" fmla="*/ 1362 h 13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295"/>
                  <a:gd name="T172" fmla="*/ 0 h 1364"/>
                  <a:gd name="T173" fmla="*/ 1295 w 1295"/>
                  <a:gd name="T174" fmla="*/ 1364 h 136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295" h="1364">
                    <a:moveTo>
                      <a:pt x="1295" y="1362"/>
                    </a:moveTo>
                    <a:lnTo>
                      <a:pt x="1096" y="1023"/>
                    </a:lnTo>
                    <a:lnTo>
                      <a:pt x="1295" y="727"/>
                    </a:lnTo>
                    <a:lnTo>
                      <a:pt x="1276" y="728"/>
                    </a:lnTo>
                    <a:lnTo>
                      <a:pt x="1246" y="727"/>
                    </a:lnTo>
                    <a:lnTo>
                      <a:pt x="1232" y="726"/>
                    </a:lnTo>
                    <a:lnTo>
                      <a:pt x="1217" y="725"/>
                    </a:lnTo>
                    <a:lnTo>
                      <a:pt x="1187" y="722"/>
                    </a:lnTo>
                    <a:lnTo>
                      <a:pt x="1159" y="717"/>
                    </a:lnTo>
                    <a:lnTo>
                      <a:pt x="1131" y="711"/>
                    </a:lnTo>
                    <a:lnTo>
                      <a:pt x="1117" y="708"/>
                    </a:lnTo>
                    <a:lnTo>
                      <a:pt x="1103" y="704"/>
                    </a:lnTo>
                    <a:lnTo>
                      <a:pt x="1076" y="696"/>
                    </a:lnTo>
                    <a:lnTo>
                      <a:pt x="1050" y="687"/>
                    </a:lnTo>
                    <a:lnTo>
                      <a:pt x="1037" y="682"/>
                    </a:lnTo>
                    <a:lnTo>
                      <a:pt x="1023" y="677"/>
                    </a:lnTo>
                    <a:lnTo>
                      <a:pt x="998" y="665"/>
                    </a:lnTo>
                    <a:lnTo>
                      <a:pt x="973" y="653"/>
                    </a:lnTo>
                    <a:lnTo>
                      <a:pt x="961" y="646"/>
                    </a:lnTo>
                    <a:lnTo>
                      <a:pt x="949" y="638"/>
                    </a:lnTo>
                    <a:lnTo>
                      <a:pt x="925" y="623"/>
                    </a:lnTo>
                    <a:lnTo>
                      <a:pt x="902" y="608"/>
                    </a:lnTo>
                    <a:lnTo>
                      <a:pt x="891" y="600"/>
                    </a:lnTo>
                    <a:lnTo>
                      <a:pt x="880" y="591"/>
                    </a:lnTo>
                    <a:lnTo>
                      <a:pt x="858" y="574"/>
                    </a:lnTo>
                    <a:lnTo>
                      <a:pt x="837" y="556"/>
                    </a:lnTo>
                    <a:lnTo>
                      <a:pt x="818" y="537"/>
                    </a:lnTo>
                    <a:lnTo>
                      <a:pt x="799" y="517"/>
                    </a:lnTo>
                    <a:lnTo>
                      <a:pt x="790" y="506"/>
                    </a:lnTo>
                    <a:lnTo>
                      <a:pt x="781" y="496"/>
                    </a:lnTo>
                    <a:lnTo>
                      <a:pt x="764" y="473"/>
                    </a:lnTo>
                    <a:lnTo>
                      <a:pt x="747" y="451"/>
                    </a:lnTo>
                    <a:lnTo>
                      <a:pt x="732" y="428"/>
                    </a:lnTo>
                    <a:lnTo>
                      <a:pt x="725" y="417"/>
                    </a:lnTo>
                    <a:lnTo>
                      <a:pt x="718" y="405"/>
                    </a:lnTo>
                    <a:lnTo>
                      <a:pt x="703" y="380"/>
                    </a:lnTo>
                    <a:lnTo>
                      <a:pt x="691" y="355"/>
                    </a:lnTo>
                    <a:lnTo>
                      <a:pt x="680" y="330"/>
                    </a:lnTo>
                    <a:lnTo>
                      <a:pt x="675" y="316"/>
                    </a:lnTo>
                    <a:lnTo>
                      <a:pt x="670" y="303"/>
                    </a:lnTo>
                    <a:lnTo>
                      <a:pt x="661" y="276"/>
                    </a:lnTo>
                    <a:lnTo>
                      <a:pt x="657" y="263"/>
                    </a:lnTo>
                    <a:lnTo>
                      <a:pt x="653" y="249"/>
                    </a:lnTo>
                    <a:lnTo>
                      <a:pt x="646" y="221"/>
                    </a:lnTo>
                    <a:lnTo>
                      <a:pt x="641" y="193"/>
                    </a:lnTo>
                    <a:lnTo>
                      <a:pt x="322" y="0"/>
                    </a:lnTo>
                    <a:lnTo>
                      <a:pt x="0" y="191"/>
                    </a:lnTo>
                    <a:lnTo>
                      <a:pt x="2" y="222"/>
                    </a:lnTo>
                    <a:lnTo>
                      <a:pt x="6" y="252"/>
                    </a:lnTo>
                    <a:lnTo>
                      <a:pt x="10" y="282"/>
                    </a:lnTo>
                    <a:lnTo>
                      <a:pt x="15" y="312"/>
                    </a:lnTo>
                    <a:lnTo>
                      <a:pt x="21" y="343"/>
                    </a:lnTo>
                    <a:lnTo>
                      <a:pt x="27" y="372"/>
                    </a:lnTo>
                    <a:lnTo>
                      <a:pt x="35" y="401"/>
                    </a:lnTo>
                    <a:lnTo>
                      <a:pt x="42" y="430"/>
                    </a:lnTo>
                    <a:lnTo>
                      <a:pt x="51" y="458"/>
                    </a:lnTo>
                    <a:lnTo>
                      <a:pt x="60" y="488"/>
                    </a:lnTo>
                    <a:lnTo>
                      <a:pt x="69" y="516"/>
                    </a:lnTo>
                    <a:lnTo>
                      <a:pt x="81" y="543"/>
                    </a:lnTo>
                    <a:lnTo>
                      <a:pt x="91" y="571"/>
                    </a:lnTo>
                    <a:lnTo>
                      <a:pt x="103" y="598"/>
                    </a:lnTo>
                    <a:lnTo>
                      <a:pt x="115" y="624"/>
                    </a:lnTo>
                    <a:lnTo>
                      <a:pt x="128" y="652"/>
                    </a:lnTo>
                    <a:lnTo>
                      <a:pt x="141" y="678"/>
                    </a:lnTo>
                    <a:lnTo>
                      <a:pt x="155" y="704"/>
                    </a:lnTo>
                    <a:lnTo>
                      <a:pt x="169" y="729"/>
                    </a:lnTo>
                    <a:lnTo>
                      <a:pt x="184" y="754"/>
                    </a:lnTo>
                    <a:lnTo>
                      <a:pt x="200" y="779"/>
                    </a:lnTo>
                    <a:lnTo>
                      <a:pt x="216" y="803"/>
                    </a:lnTo>
                    <a:lnTo>
                      <a:pt x="233" y="828"/>
                    </a:lnTo>
                    <a:lnTo>
                      <a:pt x="251" y="851"/>
                    </a:lnTo>
                    <a:lnTo>
                      <a:pt x="268" y="874"/>
                    </a:lnTo>
                    <a:lnTo>
                      <a:pt x="287" y="897"/>
                    </a:lnTo>
                    <a:lnTo>
                      <a:pt x="305" y="919"/>
                    </a:lnTo>
                    <a:lnTo>
                      <a:pt x="324" y="941"/>
                    </a:lnTo>
                    <a:lnTo>
                      <a:pt x="344" y="962"/>
                    </a:lnTo>
                    <a:lnTo>
                      <a:pt x="364" y="984"/>
                    </a:lnTo>
                    <a:lnTo>
                      <a:pt x="385" y="1004"/>
                    </a:lnTo>
                    <a:lnTo>
                      <a:pt x="407" y="1024"/>
                    </a:lnTo>
                    <a:lnTo>
                      <a:pt x="428" y="1043"/>
                    </a:lnTo>
                    <a:lnTo>
                      <a:pt x="450" y="1062"/>
                    </a:lnTo>
                    <a:lnTo>
                      <a:pt x="473" y="1081"/>
                    </a:lnTo>
                    <a:lnTo>
                      <a:pt x="495" y="1099"/>
                    </a:lnTo>
                    <a:lnTo>
                      <a:pt x="519" y="1116"/>
                    </a:lnTo>
                    <a:lnTo>
                      <a:pt x="542" y="1134"/>
                    </a:lnTo>
                    <a:lnTo>
                      <a:pt x="567" y="1151"/>
                    </a:lnTo>
                    <a:lnTo>
                      <a:pt x="592" y="1166"/>
                    </a:lnTo>
                    <a:lnTo>
                      <a:pt x="616" y="1182"/>
                    </a:lnTo>
                    <a:lnTo>
                      <a:pt x="642" y="1196"/>
                    </a:lnTo>
                    <a:lnTo>
                      <a:pt x="667" y="1211"/>
                    </a:lnTo>
                    <a:lnTo>
                      <a:pt x="693" y="1224"/>
                    </a:lnTo>
                    <a:lnTo>
                      <a:pt x="720" y="1237"/>
                    </a:lnTo>
                    <a:lnTo>
                      <a:pt x="747" y="1250"/>
                    </a:lnTo>
                    <a:lnTo>
                      <a:pt x="774" y="1262"/>
                    </a:lnTo>
                    <a:lnTo>
                      <a:pt x="801" y="1273"/>
                    </a:lnTo>
                    <a:lnTo>
                      <a:pt x="828" y="1283"/>
                    </a:lnTo>
                    <a:lnTo>
                      <a:pt x="856" y="1294"/>
                    </a:lnTo>
                    <a:lnTo>
                      <a:pt x="885" y="1304"/>
                    </a:lnTo>
                    <a:lnTo>
                      <a:pt x="914" y="1312"/>
                    </a:lnTo>
                    <a:lnTo>
                      <a:pt x="942" y="1321"/>
                    </a:lnTo>
                    <a:lnTo>
                      <a:pt x="971" y="1328"/>
                    </a:lnTo>
                    <a:lnTo>
                      <a:pt x="1001" y="1335"/>
                    </a:lnTo>
                    <a:lnTo>
                      <a:pt x="1030" y="1341"/>
                    </a:lnTo>
                    <a:lnTo>
                      <a:pt x="1061" y="1346"/>
                    </a:lnTo>
                    <a:lnTo>
                      <a:pt x="1091" y="1351"/>
                    </a:lnTo>
                    <a:lnTo>
                      <a:pt x="1121" y="1355"/>
                    </a:lnTo>
                    <a:lnTo>
                      <a:pt x="1151" y="1358"/>
                    </a:lnTo>
                    <a:lnTo>
                      <a:pt x="1182" y="1361"/>
                    </a:lnTo>
                    <a:lnTo>
                      <a:pt x="1214" y="1363"/>
                    </a:lnTo>
                    <a:lnTo>
                      <a:pt x="1245" y="1364"/>
                    </a:lnTo>
                    <a:lnTo>
                      <a:pt x="1276" y="1364"/>
                    </a:lnTo>
                    <a:lnTo>
                      <a:pt x="1281" y="1364"/>
                    </a:lnTo>
                    <a:lnTo>
                      <a:pt x="1285" y="1363"/>
                    </a:lnTo>
                    <a:lnTo>
                      <a:pt x="1290" y="1362"/>
                    </a:lnTo>
                    <a:lnTo>
                      <a:pt x="1295" y="13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8" name="Freeform 13"/>
              <p:cNvSpPr>
                <a:spLocks noChangeAspect="1"/>
              </p:cNvSpPr>
              <p:nvPr/>
            </p:nvSpPr>
            <p:spPr bwMode="auto">
              <a:xfrm>
                <a:off x="3015" y="2774"/>
                <a:ext cx="1385" cy="1233"/>
              </a:xfrm>
              <a:custGeom>
                <a:avLst/>
                <a:gdLst>
                  <a:gd name="T0" fmla="*/ 0 w 1385"/>
                  <a:gd name="T1" fmla="*/ 903 h 1233"/>
                  <a:gd name="T2" fmla="*/ 221 w 1385"/>
                  <a:gd name="T3" fmla="*/ 588 h 1233"/>
                  <a:gd name="T4" fmla="*/ 262 w 1385"/>
                  <a:gd name="T5" fmla="*/ 579 h 1233"/>
                  <a:gd name="T6" fmla="*/ 302 w 1385"/>
                  <a:gd name="T7" fmla="*/ 567 h 1233"/>
                  <a:gd name="T8" fmla="*/ 354 w 1385"/>
                  <a:gd name="T9" fmla="*/ 548 h 1233"/>
                  <a:gd name="T10" fmla="*/ 391 w 1385"/>
                  <a:gd name="T11" fmla="*/ 531 h 1233"/>
                  <a:gd name="T12" fmla="*/ 427 w 1385"/>
                  <a:gd name="T13" fmla="*/ 511 h 1233"/>
                  <a:gd name="T14" fmla="*/ 472 w 1385"/>
                  <a:gd name="T15" fmla="*/ 482 h 1233"/>
                  <a:gd name="T16" fmla="*/ 506 w 1385"/>
                  <a:gd name="T17" fmla="*/ 458 h 1233"/>
                  <a:gd name="T18" fmla="*/ 526 w 1385"/>
                  <a:gd name="T19" fmla="*/ 441 h 1233"/>
                  <a:gd name="T20" fmla="*/ 546 w 1385"/>
                  <a:gd name="T21" fmla="*/ 423 h 1233"/>
                  <a:gd name="T22" fmla="*/ 565 w 1385"/>
                  <a:gd name="T23" fmla="*/ 405 h 1233"/>
                  <a:gd name="T24" fmla="*/ 584 w 1385"/>
                  <a:gd name="T25" fmla="*/ 385 h 1233"/>
                  <a:gd name="T26" fmla="*/ 610 w 1385"/>
                  <a:gd name="T27" fmla="*/ 353 h 1233"/>
                  <a:gd name="T28" fmla="*/ 642 w 1385"/>
                  <a:gd name="T29" fmla="*/ 310 h 1233"/>
                  <a:gd name="T30" fmla="*/ 671 w 1385"/>
                  <a:gd name="T31" fmla="*/ 264 h 1233"/>
                  <a:gd name="T32" fmla="*/ 689 w 1385"/>
                  <a:gd name="T33" fmla="*/ 228 h 1233"/>
                  <a:gd name="T34" fmla="*/ 705 w 1385"/>
                  <a:gd name="T35" fmla="*/ 189 h 1233"/>
                  <a:gd name="T36" fmla="*/ 723 w 1385"/>
                  <a:gd name="T37" fmla="*/ 138 h 1233"/>
                  <a:gd name="T38" fmla="*/ 737 w 1385"/>
                  <a:gd name="T39" fmla="*/ 84 h 1233"/>
                  <a:gd name="T40" fmla="*/ 746 w 1385"/>
                  <a:gd name="T41" fmla="*/ 28 h 1233"/>
                  <a:gd name="T42" fmla="*/ 748 w 1385"/>
                  <a:gd name="T43" fmla="*/ 0 h 1233"/>
                  <a:gd name="T44" fmla="*/ 1385 w 1385"/>
                  <a:gd name="T45" fmla="*/ 4 h 1233"/>
                  <a:gd name="T46" fmla="*/ 1382 w 1385"/>
                  <a:gd name="T47" fmla="*/ 66 h 1233"/>
                  <a:gd name="T48" fmla="*/ 1375 w 1385"/>
                  <a:gd name="T49" fmla="*/ 126 h 1233"/>
                  <a:gd name="T50" fmla="*/ 1366 w 1385"/>
                  <a:gd name="T51" fmla="*/ 185 h 1233"/>
                  <a:gd name="T52" fmla="*/ 1354 w 1385"/>
                  <a:gd name="T53" fmla="*/ 245 h 1233"/>
                  <a:gd name="T54" fmla="*/ 1339 w 1385"/>
                  <a:gd name="T55" fmla="*/ 302 h 1233"/>
                  <a:gd name="T56" fmla="*/ 1322 w 1385"/>
                  <a:gd name="T57" fmla="*/ 359 h 1233"/>
                  <a:gd name="T58" fmla="*/ 1301 w 1385"/>
                  <a:gd name="T59" fmla="*/ 414 h 1233"/>
                  <a:gd name="T60" fmla="*/ 1279 w 1385"/>
                  <a:gd name="T61" fmla="*/ 468 h 1233"/>
                  <a:gd name="T62" fmla="*/ 1255 w 1385"/>
                  <a:gd name="T63" fmla="*/ 522 h 1233"/>
                  <a:gd name="T64" fmla="*/ 1228 w 1385"/>
                  <a:gd name="T65" fmla="*/ 573 h 1233"/>
                  <a:gd name="T66" fmla="*/ 1200 w 1385"/>
                  <a:gd name="T67" fmla="*/ 623 h 1233"/>
                  <a:gd name="T68" fmla="*/ 1169 w 1385"/>
                  <a:gd name="T69" fmla="*/ 671 h 1233"/>
                  <a:gd name="T70" fmla="*/ 1135 w 1385"/>
                  <a:gd name="T71" fmla="*/ 719 h 1233"/>
                  <a:gd name="T72" fmla="*/ 1099 w 1385"/>
                  <a:gd name="T73" fmla="*/ 764 h 1233"/>
                  <a:gd name="T74" fmla="*/ 1062 w 1385"/>
                  <a:gd name="T75" fmla="*/ 808 h 1233"/>
                  <a:gd name="T76" fmla="*/ 1023 w 1385"/>
                  <a:gd name="T77" fmla="*/ 851 h 1233"/>
                  <a:gd name="T78" fmla="*/ 982 w 1385"/>
                  <a:gd name="T79" fmla="*/ 891 h 1233"/>
                  <a:gd name="T80" fmla="*/ 939 w 1385"/>
                  <a:gd name="T81" fmla="*/ 929 h 1233"/>
                  <a:gd name="T82" fmla="*/ 895 w 1385"/>
                  <a:gd name="T83" fmla="*/ 965 h 1233"/>
                  <a:gd name="T84" fmla="*/ 849 w 1385"/>
                  <a:gd name="T85" fmla="*/ 1000 h 1233"/>
                  <a:gd name="T86" fmla="*/ 801 w 1385"/>
                  <a:gd name="T87" fmla="*/ 1032 h 1233"/>
                  <a:gd name="T88" fmla="*/ 752 w 1385"/>
                  <a:gd name="T89" fmla="*/ 1063 h 1233"/>
                  <a:gd name="T90" fmla="*/ 701 w 1385"/>
                  <a:gd name="T91" fmla="*/ 1090 h 1233"/>
                  <a:gd name="T92" fmla="*/ 649 w 1385"/>
                  <a:gd name="T93" fmla="*/ 1116 h 1233"/>
                  <a:gd name="T94" fmla="*/ 595 w 1385"/>
                  <a:gd name="T95" fmla="*/ 1139 h 1233"/>
                  <a:gd name="T96" fmla="*/ 541 w 1385"/>
                  <a:gd name="T97" fmla="*/ 1161 h 1233"/>
                  <a:gd name="T98" fmla="*/ 485 w 1385"/>
                  <a:gd name="T99" fmla="*/ 1180 h 1233"/>
                  <a:gd name="T100" fmla="*/ 428 w 1385"/>
                  <a:gd name="T101" fmla="*/ 1196 h 1233"/>
                  <a:gd name="T102" fmla="*/ 370 w 1385"/>
                  <a:gd name="T103" fmla="*/ 1209 h 1233"/>
                  <a:gd name="T104" fmla="*/ 311 w 1385"/>
                  <a:gd name="T105" fmla="*/ 1220 h 1233"/>
                  <a:gd name="T106" fmla="*/ 251 w 1385"/>
                  <a:gd name="T107" fmla="*/ 1228 h 1233"/>
                  <a:gd name="T108" fmla="*/ 191 w 1385"/>
                  <a:gd name="T109" fmla="*/ 1233 h 12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385"/>
                  <a:gd name="T166" fmla="*/ 0 h 1233"/>
                  <a:gd name="T167" fmla="*/ 1385 w 1385"/>
                  <a:gd name="T168" fmla="*/ 1233 h 12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385" h="1233">
                    <a:moveTo>
                      <a:pt x="191" y="1233"/>
                    </a:moveTo>
                    <a:lnTo>
                      <a:pt x="0" y="903"/>
                    </a:lnTo>
                    <a:lnTo>
                      <a:pt x="194" y="592"/>
                    </a:lnTo>
                    <a:lnTo>
                      <a:pt x="221" y="588"/>
                    </a:lnTo>
                    <a:lnTo>
                      <a:pt x="248" y="582"/>
                    </a:lnTo>
                    <a:lnTo>
                      <a:pt x="262" y="579"/>
                    </a:lnTo>
                    <a:lnTo>
                      <a:pt x="275" y="575"/>
                    </a:lnTo>
                    <a:lnTo>
                      <a:pt x="302" y="567"/>
                    </a:lnTo>
                    <a:lnTo>
                      <a:pt x="327" y="558"/>
                    </a:lnTo>
                    <a:lnTo>
                      <a:pt x="354" y="548"/>
                    </a:lnTo>
                    <a:lnTo>
                      <a:pt x="379" y="537"/>
                    </a:lnTo>
                    <a:lnTo>
                      <a:pt x="391" y="531"/>
                    </a:lnTo>
                    <a:lnTo>
                      <a:pt x="403" y="525"/>
                    </a:lnTo>
                    <a:lnTo>
                      <a:pt x="427" y="511"/>
                    </a:lnTo>
                    <a:lnTo>
                      <a:pt x="450" y="497"/>
                    </a:lnTo>
                    <a:lnTo>
                      <a:pt x="472" y="482"/>
                    </a:lnTo>
                    <a:lnTo>
                      <a:pt x="494" y="467"/>
                    </a:lnTo>
                    <a:lnTo>
                      <a:pt x="506" y="458"/>
                    </a:lnTo>
                    <a:lnTo>
                      <a:pt x="516" y="450"/>
                    </a:lnTo>
                    <a:lnTo>
                      <a:pt x="526" y="441"/>
                    </a:lnTo>
                    <a:lnTo>
                      <a:pt x="536" y="432"/>
                    </a:lnTo>
                    <a:lnTo>
                      <a:pt x="546" y="423"/>
                    </a:lnTo>
                    <a:lnTo>
                      <a:pt x="556" y="414"/>
                    </a:lnTo>
                    <a:lnTo>
                      <a:pt x="565" y="405"/>
                    </a:lnTo>
                    <a:lnTo>
                      <a:pt x="575" y="395"/>
                    </a:lnTo>
                    <a:lnTo>
                      <a:pt x="584" y="385"/>
                    </a:lnTo>
                    <a:lnTo>
                      <a:pt x="593" y="375"/>
                    </a:lnTo>
                    <a:lnTo>
                      <a:pt x="610" y="353"/>
                    </a:lnTo>
                    <a:lnTo>
                      <a:pt x="626" y="332"/>
                    </a:lnTo>
                    <a:lnTo>
                      <a:pt x="642" y="310"/>
                    </a:lnTo>
                    <a:lnTo>
                      <a:pt x="656" y="287"/>
                    </a:lnTo>
                    <a:lnTo>
                      <a:pt x="671" y="264"/>
                    </a:lnTo>
                    <a:lnTo>
                      <a:pt x="683" y="240"/>
                    </a:lnTo>
                    <a:lnTo>
                      <a:pt x="689" y="228"/>
                    </a:lnTo>
                    <a:lnTo>
                      <a:pt x="695" y="215"/>
                    </a:lnTo>
                    <a:lnTo>
                      <a:pt x="705" y="189"/>
                    </a:lnTo>
                    <a:lnTo>
                      <a:pt x="715" y="164"/>
                    </a:lnTo>
                    <a:lnTo>
                      <a:pt x="723" y="138"/>
                    </a:lnTo>
                    <a:lnTo>
                      <a:pt x="731" y="111"/>
                    </a:lnTo>
                    <a:lnTo>
                      <a:pt x="737" y="84"/>
                    </a:lnTo>
                    <a:lnTo>
                      <a:pt x="742" y="57"/>
                    </a:lnTo>
                    <a:lnTo>
                      <a:pt x="746" y="28"/>
                    </a:lnTo>
                    <a:lnTo>
                      <a:pt x="747" y="14"/>
                    </a:lnTo>
                    <a:lnTo>
                      <a:pt x="748" y="0"/>
                    </a:lnTo>
                    <a:lnTo>
                      <a:pt x="1032" y="202"/>
                    </a:lnTo>
                    <a:lnTo>
                      <a:pt x="1385" y="4"/>
                    </a:lnTo>
                    <a:lnTo>
                      <a:pt x="1384" y="36"/>
                    </a:lnTo>
                    <a:lnTo>
                      <a:pt x="1382" y="66"/>
                    </a:lnTo>
                    <a:lnTo>
                      <a:pt x="1379" y="96"/>
                    </a:lnTo>
                    <a:lnTo>
                      <a:pt x="1375" y="126"/>
                    </a:lnTo>
                    <a:lnTo>
                      <a:pt x="1371" y="156"/>
                    </a:lnTo>
                    <a:lnTo>
                      <a:pt x="1366" y="185"/>
                    </a:lnTo>
                    <a:lnTo>
                      <a:pt x="1360" y="216"/>
                    </a:lnTo>
                    <a:lnTo>
                      <a:pt x="1354" y="245"/>
                    </a:lnTo>
                    <a:lnTo>
                      <a:pt x="1347" y="273"/>
                    </a:lnTo>
                    <a:lnTo>
                      <a:pt x="1339" y="302"/>
                    </a:lnTo>
                    <a:lnTo>
                      <a:pt x="1331" y="330"/>
                    </a:lnTo>
                    <a:lnTo>
                      <a:pt x="1322" y="359"/>
                    </a:lnTo>
                    <a:lnTo>
                      <a:pt x="1313" y="387"/>
                    </a:lnTo>
                    <a:lnTo>
                      <a:pt x="1301" y="414"/>
                    </a:lnTo>
                    <a:lnTo>
                      <a:pt x="1291" y="441"/>
                    </a:lnTo>
                    <a:lnTo>
                      <a:pt x="1279" y="468"/>
                    </a:lnTo>
                    <a:lnTo>
                      <a:pt x="1268" y="494"/>
                    </a:lnTo>
                    <a:lnTo>
                      <a:pt x="1255" y="522"/>
                    </a:lnTo>
                    <a:lnTo>
                      <a:pt x="1242" y="547"/>
                    </a:lnTo>
                    <a:lnTo>
                      <a:pt x="1228" y="573"/>
                    </a:lnTo>
                    <a:lnTo>
                      <a:pt x="1214" y="598"/>
                    </a:lnTo>
                    <a:lnTo>
                      <a:pt x="1200" y="623"/>
                    </a:lnTo>
                    <a:lnTo>
                      <a:pt x="1184" y="647"/>
                    </a:lnTo>
                    <a:lnTo>
                      <a:pt x="1169" y="671"/>
                    </a:lnTo>
                    <a:lnTo>
                      <a:pt x="1152" y="696"/>
                    </a:lnTo>
                    <a:lnTo>
                      <a:pt x="1135" y="719"/>
                    </a:lnTo>
                    <a:lnTo>
                      <a:pt x="1117" y="742"/>
                    </a:lnTo>
                    <a:lnTo>
                      <a:pt x="1099" y="764"/>
                    </a:lnTo>
                    <a:lnTo>
                      <a:pt x="1081" y="786"/>
                    </a:lnTo>
                    <a:lnTo>
                      <a:pt x="1062" y="808"/>
                    </a:lnTo>
                    <a:lnTo>
                      <a:pt x="1043" y="829"/>
                    </a:lnTo>
                    <a:lnTo>
                      <a:pt x="1023" y="851"/>
                    </a:lnTo>
                    <a:lnTo>
                      <a:pt x="1003" y="871"/>
                    </a:lnTo>
                    <a:lnTo>
                      <a:pt x="982" y="891"/>
                    </a:lnTo>
                    <a:lnTo>
                      <a:pt x="961" y="910"/>
                    </a:lnTo>
                    <a:lnTo>
                      <a:pt x="939" y="929"/>
                    </a:lnTo>
                    <a:lnTo>
                      <a:pt x="917" y="947"/>
                    </a:lnTo>
                    <a:lnTo>
                      <a:pt x="895" y="965"/>
                    </a:lnTo>
                    <a:lnTo>
                      <a:pt x="872" y="982"/>
                    </a:lnTo>
                    <a:lnTo>
                      <a:pt x="849" y="1000"/>
                    </a:lnTo>
                    <a:lnTo>
                      <a:pt x="826" y="1017"/>
                    </a:lnTo>
                    <a:lnTo>
                      <a:pt x="801" y="1032"/>
                    </a:lnTo>
                    <a:lnTo>
                      <a:pt x="776" y="1048"/>
                    </a:lnTo>
                    <a:lnTo>
                      <a:pt x="752" y="1063"/>
                    </a:lnTo>
                    <a:lnTo>
                      <a:pt x="727" y="1077"/>
                    </a:lnTo>
                    <a:lnTo>
                      <a:pt x="701" y="1090"/>
                    </a:lnTo>
                    <a:lnTo>
                      <a:pt x="676" y="1104"/>
                    </a:lnTo>
                    <a:lnTo>
                      <a:pt x="649" y="1116"/>
                    </a:lnTo>
                    <a:lnTo>
                      <a:pt x="622" y="1128"/>
                    </a:lnTo>
                    <a:lnTo>
                      <a:pt x="595" y="1139"/>
                    </a:lnTo>
                    <a:lnTo>
                      <a:pt x="568" y="1150"/>
                    </a:lnTo>
                    <a:lnTo>
                      <a:pt x="541" y="1161"/>
                    </a:lnTo>
                    <a:lnTo>
                      <a:pt x="514" y="1171"/>
                    </a:lnTo>
                    <a:lnTo>
                      <a:pt x="485" y="1180"/>
                    </a:lnTo>
                    <a:lnTo>
                      <a:pt x="456" y="1188"/>
                    </a:lnTo>
                    <a:lnTo>
                      <a:pt x="428" y="1196"/>
                    </a:lnTo>
                    <a:lnTo>
                      <a:pt x="399" y="1203"/>
                    </a:lnTo>
                    <a:lnTo>
                      <a:pt x="370" y="1209"/>
                    </a:lnTo>
                    <a:lnTo>
                      <a:pt x="340" y="1215"/>
                    </a:lnTo>
                    <a:lnTo>
                      <a:pt x="311" y="1220"/>
                    </a:lnTo>
                    <a:lnTo>
                      <a:pt x="281" y="1224"/>
                    </a:lnTo>
                    <a:lnTo>
                      <a:pt x="251" y="1228"/>
                    </a:lnTo>
                    <a:lnTo>
                      <a:pt x="221" y="1231"/>
                    </a:lnTo>
                    <a:lnTo>
                      <a:pt x="191" y="1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3" name="Oval 92"/>
            <p:cNvSpPr/>
            <p:nvPr/>
          </p:nvSpPr>
          <p:spPr>
            <a:xfrm>
              <a:off x="6636350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8210103" y="1340768"/>
            <a:ext cx="2015999" cy="2016000"/>
            <a:chOff x="8210103" y="1340768"/>
            <a:chExt cx="2015999" cy="2016000"/>
          </a:xfrm>
        </p:grpSpPr>
        <p:grpSp>
          <p:nvGrpSpPr>
            <p:cNvPr id="61" name="Group 14"/>
            <p:cNvGrpSpPr>
              <a:grpSpLocks/>
            </p:cNvGrpSpPr>
            <p:nvPr/>
          </p:nvGrpSpPr>
          <p:grpSpPr bwMode="auto">
            <a:xfrm>
              <a:off x="8210103" y="1340768"/>
              <a:ext cx="2015999" cy="2016000"/>
              <a:chOff x="1840" y="1426"/>
              <a:chExt cx="2561" cy="2560"/>
            </a:xfrm>
            <a:solidFill>
              <a:srgbClr val="2F52A0"/>
            </a:solidFill>
          </p:grpSpPr>
          <p:sp>
            <p:nvSpPr>
              <p:cNvPr id="62" name="Freeform 15"/>
              <p:cNvSpPr>
                <a:spLocks noChangeAspect="1"/>
              </p:cNvSpPr>
              <p:nvPr/>
            </p:nvSpPr>
            <p:spPr bwMode="auto">
              <a:xfrm>
                <a:off x="1890" y="1426"/>
                <a:ext cx="1381" cy="1119"/>
              </a:xfrm>
              <a:custGeom>
                <a:avLst/>
                <a:gdLst>
                  <a:gd name="T0" fmla="*/ 1165 w 1381"/>
                  <a:gd name="T1" fmla="*/ 639 h 1119"/>
                  <a:gd name="T2" fmla="*/ 1112 w 1381"/>
                  <a:gd name="T3" fmla="*/ 646 h 1119"/>
                  <a:gd name="T4" fmla="*/ 1062 w 1381"/>
                  <a:gd name="T5" fmla="*/ 658 h 1119"/>
                  <a:gd name="T6" fmla="*/ 1038 w 1381"/>
                  <a:gd name="T7" fmla="*/ 665 h 1119"/>
                  <a:gd name="T8" fmla="*/ 1002 w 1381"/>
                  <a:gd name="T9" fmla="*/ 677 h 1119"/>
                  <a:gd name="T10" fmla="*/ 966 w 1381"/>
                  <a:gd name="T11" fmla="*/ 692 h 1119"/>
                  <a:gd name="T12" fmla="*/ 921 w 1381"/>
                  <a:gd name="T13" fmla="*/ 714 h 1119"/>
                  <a:gd name="T14" fmla="*/ 879 w 1381"/>
                  <a:gd name="T15" fmla="*/ 741 h 1119"/>
                  <a:gd name="T16" fmla="*/ 838 w 1381"/>
                  <a:gd name="T17" fmla="*/ 770 h 1119"/>
                  <a:gd name="T18" fmla="*/ 799 w 1381"/>
                  <a:gd name="T19" fmla="*/ 801 h 1119"/>
                  <a:gd name="T20" fmla="*/ 781 w 1381"/>
                  <a:gd name="T21" fmla="*/ 818 h 1119"/>
                  <a:gd name="T22" fmla="*/ 747 w 1381"/>
                  <a:gd name="T23" fmla="*/ 854 h 1119"/>
                  <a:gd name="T24" fmla="*/ 716 w 1381"/>
                  <a:gd name="T25" fmla="*/ 894 h 1119"/>
                  <a:gd name="T26" fmla="*/ 701 w 1381"/>
                  <a:gd name="T27" fmla="*/ 914 h 1119"/>
                  <a:gd name="T28" fmla="*/ 674 w 1381"/>
                  <a:gd name="T29" fmla="*/ 956 h 1119"/>
                  <a:gd name="T30" fmla="*/ 656 w 1381"/>
                  <a:gd name="T31" fmla="*/ 989 h 1119"/>
                  <a:gd name="T32" fmla="*/ 640 w 1381"/>
                  <a:gd name="T33" fmla="*/ 1023 h 1119"/>
                  <a:gd name="T34" fmla="*/ 621 w 1381"/>
                  <a:gd name="T35" fmla="*/ 1071 h 1119"/>
                  <a:gd name="T36" fmla="*/ 610 w 1381"/>
                  <a:gd name="T37" fmla="*/ 1107 h 1119"/>
                  <a:gd name="T38" fmla="*/ 383 w 1381"/>
                  <a:gd name="T39" fmla="*/ 833 h 1119"/>
                  <a:gd name="T40" fmla="*/ 7 w 1381"/>
                  <a:gd name="T41" fmla="*/ 899 h 1119"/>
                  <a:gd name="T42" fmla="*/ 23 w 1381"/>
                  <a:gd name="T43" fmla="*/ 850 h 1119"/>
                  <a:gd name="T44" fmla="*/ 42 w 1381"/>
                  <a:gd name="T45" fmla="*/ 804 h 1119"/>
                  <a:gd name="T46" fmla="*/ 61 w 1381"/>
                  <a:gd name="T47" fmla="*/ 758 h 1119"/>
                  <a:gd name="T48" fmla="*/ 83 w 1381"/>
                  <a:gd name="T49" fmla="*/ 712 h 1119"/>
                  <a:gd name="T50" fmla="*/ 105 w 1381"/>
                  <a:gd name="T51" fmla="*/ 668 h 1119"/>
                  <a:gd name="T52" fmla="*/ 130 w 1381"/>
                  <a:gd name="T53" fmla="*/ 625 h 1119"/>
                  <a:gd name="T54" fmla="*/ 156 w 1381"/>
                  <a:gd name="T55" fmla="*/ 583 h 1119"/>
                  <a:gd name="T56" fmla="*/ 184 w 1381"/>
                  <a:gd name="T57" fmla="*/ 541 h 1119"/>
                  <a:gd name="T58" fmla="*/ 214 w 1381"/>
                  <a:gd name="T59" fmla="*/ 502 h 1119"/>
                  <a:gd name="T60" fmla="*/ 245 w 1381"/>
                  <a:gd name="T61" fmla="*/ 463 h 1119"/>
                  <a:gd name="T62" fmla="*/ 277 w 1381"/>
                  <a:gd name="T63" fmla="*/ 426 h 1119"/>
                  <a:gd name="T64" fmla="*/ 310 w 1381"/>
                  <a:gd name="T65" fmla="*/ 389 h 1119"/>
                  <a:gd name="T66" fmla="*/ 345 w 1381"/>
                  <a:gd name="T67" fmla="*/ 354 h 1119"/>
                  <a:gd name="T68" fmla="*/ 382 w 1381"/>
                  <a:gd name="T69" fmla="*/ 321 h 1119"/>
                  <a:gd name="T70" fmla="*/ 439 w 1381"/>
                  <a:gd name="T71" fmla="*/ 274 h 1119"/>
                  <a:gd name="T72" fmla="*/ 478 w 1381"/>
                  <a:gd name="T73" fmla="*/ 244 h 1119"/>
                  <a:gd name="T74" fmla="*/ 519 w 1381"/>
                  <a:gd name="T75" fmla="*/ 215 h 1119"/>
                  <a:gd name="T76" fmla="*/ 561 w 1381"/>
                  <a:gd name="T77" fmla="*/ 188 h 1119"/>
                  <a:gd name="T78" fmla="*/ 603 w 1381"/>
                  <a:gd name="T79" fmla="*/ 163 h 1119"/>
                  <a:gd name="T80" fmla="*/ 647 w 1381"/>
                  <a:gd name="T81" fmla="*/ 140 h 1119"/>
                  <a:gd name="T82" fmla="*/ 693 w 1381"/>
                  <a:gd name="T83" fmla="*/ 118 h 1119"/>
                  <a:gd name="T84" fmla="*/ 738 w 1381"/>
                  <a:gd name="T85" fmla="*/ 98 h 1119"/>
                  <a:gd name="T86" fmla="*/ 785 w 1381"/>
                  <a:gd name="T87" fmla="*/ 79 h 1119"/>
                  <a:gd name="T88" fmla="*/ 833 w 1381"/>
                  <a:gd name="T89" fmla="*/ 62 h 1119"/>
                  <a:gd name="T90" fmla="*/ 882 w 1381"/>
                  <a:gd name="T91" fmla="*/ 47 h 1119"/>
                  <a:gd name="T92" fmla="*/ 931 w 1381"/>
                  <a:gd name="T93" fmla="*/ 35 h 1119"/>
                  <a:gd name="T94" fmla="*/ 980 w 1381"/>
                  <a:gd name="T95" fmla="*/ 24 h 1119"/>
                  <a:gd name="T96" fmla="*/ 1032 w 1381"/>
                  <a:gd name="T97" fmla="*/ 15 h 1119"/>
                  <a:gd name="T98" fmla="*/ 1083 w 1381"/>
                  <a:gd name="T99" fmla="*/ 8 h 1119"/>
                  <a:gd name="T100" fmla="*/ 1135 w 1381"/>
                  <a:gd name="T101" fmla="*/ 3 h 1119"/>
                  <a:gd name="T102" fmla="*/ 1188 w 1381"/>
                  <a:gd name="T103" fmla="*/ 0 h 1119"/>
                  <a:gd name="T104" fmla="*/ 1190 w 1381"/>
                  <a:gd name="T105" fmla="*/ 637 h 11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81"/>
                  <a:gd name="T160" fmla="*/ 0 h 1119"/>
                  <a:gd name="T161" fmla="*/ 1381 w 1381"/>
                  <a:gd name="T162" fmla="*/ 1119 h 11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81" h="1119">
                    <a:moveTo>
                      <a:pt x="1191" y="637"/>
                    </a:moveTo>
                    <a:lnTo>
                      <a:pt x="1165" y="639"/>
                    </a:lnTo>
                    <a:lnTo>
                      <a:pt x="1138" y="642"/>
                    </a:lnTo>
                    <a:lnTo>
                      <a:pt x="1112" y="646"/>
                    </a:lnTo>
                    <a:lnTo>
                      <a:pt x="1087" y="652"/>
                    </a:lnTo>
                    <a:lnTo>
                      <a:pt x="1062" y="658"/>
                    </a:lnTo>
                    <a:lnTo>
                      <a:pt x="1050" y="661"/>
                    </a:lnTo>
                    <a:lnTo>
                      <a:pt x="1038" y="665"/>
                    </a:lnTo>
                    <a:lnTo>
                      <a:pt x="1014" y="673"/>
                    </a:lnTo>
                    <a:lnTo>
                      <a:pt x="1002" y="677"/>
                    </a:lnTo>
                    <a:lnTo>
                      <a:pt x="989" y="682"/>
                    </a:lnTo>
                    <a:lnTo>
                      <a:pt x="966" y="692"/>
                    </a:lnTo>
                    <a:lnTo>
                      <a:pt x="943" y="703"/>
                    </a:lnTo>
                    <a:lnTo>
                      <a:pt x="921" y="714"/>
                    </a:lnTo>
                    <a:lnTo>
                      <a:pt x="900" y="728"/>
                    </a:lnTo>
                    <a:lnTo>
                      <a:pt x="879" y="741"/>
                    </a:lnTo>
                    <a:lnTo>
                      <a:pt x="858" y="755"/>
                    </a:lnTo>
                    <a:lnTo>
                      <a:pt x="838" y="770"/>
                    </a:lnTo>
                    <a:lnTo>
                      <a:pt x="818" y="785"/>
                    </a:lnTo>
                    <a:lnTo>
                      <a:pt x="799" y="801"/>
                    </a:lnTo>
                    <a:lnTo>
                      <a:pt x="790" y="810"/>
                    </a:lnTo>
                    <a:lnTo>
                      <a:pt x="781" y="818"/>
                    </a:lnTo>
                    <a:lnTo>
                      <a:pt x="764" y="836"/>
                    </a:lnTo>
                    <a:lnTo>
                      <a:pt x="747" y="854"/>
                    </a:lnTo>
                    <a:lnTo>
                      <a:pt x="731" y="873"/>
                    </a:lnTo>
                    <a:lnTo>
                      <a:pt x="716" y="894"/>
                    </a:lnTo>
                    <a:lnTo>
                      <a:pt x="708" y="904"/>
                    </a:lnTo>
                    <a:lnTo>
                      <a:pt x="701" y="914"/>
                    </a:lnTo>
                    <a:lnTo>
                      <a:pt x="687" y="934"/>
                    </a:lnTo>
                    <a:lnTo>
                      <a:pt x="674" y="956"/>
                    </a:lnTo>
                    <a:lnTo>
                      <a:pt x="661" y="978"/>
                    </a:lnTo>
                    <a:lnTo>
                      <a:pt x="656" y="989"/>
                    </a:lnTo>
                    <a:lnTo>
                      <a:pt x="650" y="1000"/>
                    </a:lnTo>
                    <a:lnTo>
                      <a:pt x="640" y="1023"/>
                    </a:lnTo>
                    <a:lnTo>
                      <a:pt x="630" y="1047"/>
                    </a:lnTo>
                    <a:lnTo>
                      <a:pt x="621" y="1071"/>
                    </a:lnTo>
                    <a:lnTo>
                      <a:pt x="614" y="1095"/>
                    </a:lnTo>
                    <a:lnTo>
                      <a:pt x="610" y="1107"/>
                    </a:lnTo>
                    <a:lnTo>
                      <a:pt x="607" y="1119"/>
                    </a:lnTo>
                    <a:lnTo>
                      <a:pt x="383" y="833"/>
                    </a:lnTo>
                    <a:lnTo>
                      <a:pt x="0" y="923"/>
                    </a:lnTo>
                    <a:lnTo>
                      <a:pt x="7" y="899"/>
                    </a:lnTo>
                    <a:lnTo>
                      <a:pt x="15" y="874"/>
                    </a:lnTo>
                    <a:lnTo>
                      <a:pt x="23" y="850"/>
                    </a:lnTo>
                    <a:lnTo>
                      <a:pt x="33" y="827"/>
                    </a:lnTo>
                    <a:lnTo>
                      <a:pt x="42" y="804"/>
                    </a:lnTo>
                    <a:lnTo>
                      <a:pt x="51" y="781"/>
                    </a:lnTo>
                    <a:lnTo>
                      <a:pt x="61" y="758"/>
                    </a:lnTo>
                    <a:lnTo>
                      <a:pt x="72" y="735"/>
                    </a:lnTo>
                    <a:lnTo>
                      <a:pt x="83" y="712"/>
                    </a:lnTo>
                    <a:lnTo>
                      <a:pt x="94" y="690"/>
                    </a:lnTo>
                    <a:lnTo>
                      <a:pt x="105" y="668"/>
                    </a:lnTo>
                    <a:lnTo>
                      <a:pt x="117" y="646"/>
                    </a:lnTo>
                    <a:lnTo>
                      <a:pt x="130" y="625"/>
                    </a:lnTo>
                    <a:lnTo>
                      <a:pt x="143" y="604"/>
                    </a:lnTo>
                    <a:lnTo>
                      <a:pt x="156" y="583"/>
                    </a:lnTo>
                    <a:lnTo>
                      <a:pt x="170" y="562"/>
                    </a:lnTo>
                    <a:lnTo>
                      <a:pt x="184" y="541"/>
                    </a:lnTo>
                    <a:lnTo>
                      <a:pt x="199" y="521"/>
                    </a:lnTo>
                    <a:lnTo>
                      <a:pt x="214" y="502"/>
                    </a:lnTo>
                    <a:lnTo>
                      <a:pt x="229" y="482"/>
                    </a:lnTo>
                    <a:lnTo>
                      <a:pt x="245" y="463"/>
                    </a:lnTo>
                    <a:lnTo>
                      <a:pt x="260" y="444"/>
                    </a:lnTo>
                    <a:lnTo>
                      <a:pt x="277" y="426"/>
                    </a:lnTo>
                    <a:lnTo>
                      <a:pt x="293" y="408"/>
                    </a:lnTo>
                    <a:lnTo>
                      <a:pt x="310" y="389"/>
                    </a:lnTo>
                    <a:lnTo>
                      <a:pt x="327" y="371"/>
                    </a:lnTo>
                    <a:lnTo>
                      <a:pt x="345" y="354"/>
                    </a:lnTo>
                    <a:lnTo>
                      <a:pt x="364" y="337"/>
                    </a:lnTo>
                    <a:lnTo>
                      <a:pt x="382" y="321"/>
                    </a:lnTo>
                    <a:lnTo>
                      <a:pt x="401" y="305"/>
                    </a:lnTo>
                    <a:lnTo>
                      <a:pt x="439" y="274"/>
                    </a:lnTo>
                    <a:lnTo>
                      <a:pt x="458" y="259"/>
                    </a:lnTo>
                    <a:lnTo>
                      <a:pt x="478" y="244"/>
                    </a:lnTo>
                    <a:lnTo>
                      <a:pt x="498" y="229"/>
                    </a:lnTo>
                    <a:lnTo>
                      <a:pt x="519" y="215"/>
                    </a:lnTo>
                    <a:lnTo>
                      <a:pt x="540" y="201"/>
                    </a:lnTo>
                    <a:lnTo>
                      <a:pt x="561" y="188"/>
                    </a:lnTo>
                    <a:lnTo>
                      <a:pt x="582" y="175"/>
                    </a:lnTo>
                    <a:lnTo>
                      <a:pt x="603" y="163"/>
                    </a:lnTo>
                    <a:lnTo>
                      <a:pt x="625" y="151"/>
                    </a:lnTo>
                    <a:lnTo>
                      <a:pt x="647" y="140"/>
                    </a:lnTo>
                    <a:lnTo>
                      <a:pt x="669" y="129"/>
                    </a:lnTo>
                    <a:lnTo>
                      <a:pt x="693" y="118"/>
                    </a:lnTo>
                    <a:lnTo>
                      <a:pt x="715" y="108"/>
                    </a:lnTo>
                    <a:lnTo>
                      <a:pt x="738" y="98"/>
                    </a:lnTo>
                    <a:lnTo>
                      <a:pt x="762" y="88"/>
                    </a:lnTo>
                    <a:lnTo>
                      <a:pt x="785" y="79"/>
                    </a:lnTo>
                    <a:lnTo>
                      <a:pt x="808" y="70"/>
                    </a:lnTo>
                    <a:lnTo>
                      <a:pt x="833" y="62"/>
                    </a:lnTo>
                    <a:lnTo>
                      <a:pt x="857" y="54"/>
                    </a:lnTo>
                    <a:lnTo>
                      <a:pt x="882" y="47"/>
                    </a:lnTo>
                    <a:lnTo>
                      <a:pt x="906" y="41"/>
                    </a:lnTo>
                    <a:lnTo>
                      <a:pt x="931" y="35"/>
                    </a:lnTo>
                    <a:lnTo>
                      <a:pt x="955" y="29"/>
                    </a:lnTo>
                    <a:lnTo>
                      <a:pt x="980" y="24"/>
                    </a:lnTo>
                    <a:lnTo>
                      <a:pt x="1006" y="19"/>
                    </a:lnTo>
                    <a:lnTo>
                      <a:pt x="1032" y="15"/>
                    </a:lnTo>
                    <a:lnTo>
                      <a:pt x="1057" y="11"/>
                    </a:lnTo>
                    <a:lnTo>
                      <a:pt x="1083" y="8"/>
                    </a:lnTo>
                    <a:lnTo>
                      <a:pt x="1109" y="5"/>
                    </a:lnTo>
                    <a:lnTo>
                      <a:pt x="1135" y="3"/>
                    </a:lnTo>
                    <a:lnTo>
                      <a:pt x="1162" y="1"/>
                    </a:lnTo>
                    <a:lnTo>
                      <a:pt x="1188" y="0"/>
                    </a:lnTo>
                    <a:lnTo>
                      <a:pt x="1381" y="334"/>
                    </a:lnTo>
                    <a:lnTo>
                      <a:pt x="1190" y="637"/>
                    </a:lnTo>
                    <a:lnTo>
                      <a:pt x="1191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3" name="Freeform 16"/>
              <p:cNvSpPr>
                <a:spLocks noChangeAspect="1"/>
              </p:cNvSpPr>
              <p:nvPr/>
            </p:nvSpPr>
            <p:spPr bwMode="auto">
              <a:xfrm>
                <a:off x="3143" y="1426"/>
                <a:ext cx="1190" cy="1155"/>
              </a:xfrm>
              <a:custGeom>
                <a:avLst/>
                <a:gdLst>
                  <a:gd name="T0" fmla="*/ 25 w 1190"/>
                  <a:gd name="T1" fmla="*/ 637 h 1155"/>
                  <a:gd name="T2" fmla="*/ 49 w 1190"/>
                  <a:gd name="T3" fmla="*/ 639 h 1155"/>
                  <a:gd name="T4" fmla="*/ 98 w 1190"/>
                  <a:gd name="T5" fmla="*/ 647 h 1155"/>
                  <a:gd name="T6" fmla="*/ 121 w 1190"/>
                  <a:gd name="T7" fmla="*/ 652 h 1155"/>
                  <a:gd name="T8" fmla="*/ 167 w 1190"/>
                  <a:gd name="T9" fmla="*/ 664 h 1155"/>
                  <a:gd name="T10" fmla="*/ 201 w 1190"/>
                  <a:gd name="T11" fmla="*/ 675 h 1155"/>
                  <a:gd name="T12" fmla="*/ 235 w 1190"/>
                  <a:gd name="T13" fmla="*/ 688 h 1155"/>
                  <a:gd name="T14" fmla="*/ 256 w 1190"/>
                  <a:gd name="T15" fmla="*/ 698 h 1155"/>
                  <a:gd name="T16" fmla="*/ 277 w 1190"/>
                  <a:gd name="T17" fmla="*/ 708 h 1155"/>
                  <a:gd name="T18" fmla="*/ 297 w 1190"/>
                  <a:gd name="T19" fmla="*/ 721 h 1155"/>
                  <a:gd name="T20" fmla="*/ 317 w 1190"/>
                  <a:gd name="T21" fmla="*/ 733 h 1155"/>
                  <a:gd name="T22" fmla="*/ 356 w 1190"/>
                  <a:gd name="T23" fmla="*/ 758 h 1155"/>
                  <a:gd name="T24" fmla="*/ 393 w 1190"/>
                  <a:gd name="T25" fmla="*/ 787 h 1155"/>
                  <a:gd name="T26" fmla="*/ 427 w 1190"/>
                  <a:gd name="T27" fmla="*/ 818 h 1155"/>
                  <a:gd name="T28" fmla="*/ 443 w 1190"/>
                  <a:gd name="T29" fmla="*/ 834 h 1155"/>
                  <a:gd name="T30" fmla="*/ 467 w 1190"/>
                  <a:gd name="T31" fmla="*/ 860 h 1155"/>
                  <a:gd name="T32" fmla="*/ 489 w 1190"/>
                  <a:gd name="T33" fmla="*/ 888 h 1155"/>
                  <a:gd name="T34" fmla="*/ 515 w 1190"/>
                  <a:gd name="T35" fmla="*/ 926 h 1155"/>
                  <a:gd name="T36" fmla="*/ 541 w 1190"/>
                  <a:gd name="T37" fmla="*/ 965 h 1155"/>
                  <a:gd name="T38" fmla="*/ 562 w 1190"/>
                  <a:gd name="T39" fmla="*/ 1007 h 1155"/>
                  <a:gd name="T40" fmla="*/ 580 w 1190"/>
                  <a:gd name="T41" fmla="*/ 1051 h 1155"/>
                  <a:gd name="T42" fmla="*/ 1190 w 1190"/>
                  <a:gd name="T43" fmla="*/ 865 h 1155"/>
                  <a:gd name="T44" fmla="*/ 1173 w 1190"/>
                  <a:gd name="T45" fmla="*/ 819 h 1155"/>
                  <a:gd name="T46" fmla="*/ 1154 w 1190"/>
                  <a:gd name="T47" fmla="*/ 774 h 1155"/>
                  <a:gd name="T48" fmla="*/ 1134 w 1190"/>
                  <a:gd name="T49" fmla="*/ 730 h 1155"/>
                  <a:gd name="T50" fmla="*/ 1112 w 1190"/>
                  <a:gd name="T51" fmla="*/ 685 h 1155"/>
                  <a:gd name="T52" fmla="*/ 1089 w 1190"/>
                  <a:gd name="T53" fmla="*/ 643 h 1155"/>
                  <a:gd name="T54" fmla="*/ 1064 w 1190"/>
                  <a:gd name="T55" fmla="*/ 602 h 1155"/>
                  <a:gd name="T56" fmla="*/ 1038 w 1190"/>
                  <a:gd name="T57" fmla="*/ 561 h 1155"/>
                  <a:gd name="T58" fmla="*/ 1009 w 1190"/>
                  <a:gd name="T59" fmla="*/ 521 h 1155"/>
                  <a:gd name="T60" fmla="*/ 980 w 1190"/>
                  <a:gd name="T61" fmla="*/ 483 h 1155"/>
                  <a:gd name="T62" fmla="*/ 934 w 1190"/>
                  <a:gd name="T63" fmla="*/ 428 h 1155"/>
                  <a:gd name="T64" fmla="*/ 901 w 1190"/>
                  <a:gd name="T65" fmla="*/ 392 h 1155"/>
                  <a:gd name="T66" fmla="*/ 868 w 1190"/>
                  <a:gd name="T67" fmla="*/ 358 h 1155"/>
                  <a:gd name="T68" fmla="*/ 831 w 1190"/>
                  <a:gd name="T69" fmla="*/ 326 h 1155"/>
                  <a:gd name="T70" fmla="*/ 795 w 1190"/>
                  <a:gd name="T71" fmla="*/ 294 h 1155"/>
                  <a:gd name="T72" fmla="*/ 758 w 1190"/>
                  <a:gd name="T73" fmla="*/ 264 h 1155"/>
                  <a:gd name="T74" fmla="*/ 719 w 1190"/>
                  <a:gd name="T75" fmla="*/ 235 h 1155"/>
                  <a:gd name="T76" fmla="*/ 678 w 1190"/>
                  <a:gd name="T77" fmla="*/ 208 h 1155"/>
                  <a:gd name="T78" fmla="*/ 638 w 1190"/>
                  <a:gd name="T79" fmla="*/ 182 h 1155"/>
                  <a:gd name="T80" fmla="*/ 596 w 1190"/>
                  <a:gd name="T81" fmla="*/ 158 h 1155"/>
                  <a:gd name="T82" fmla="*/ 553 w 1190"/>
                  <a:gd name="T83" fmla="*/ 136 h 1155"/>
                  <a:gd name="T84" fmla="*/ 508 w 1190"/>
                  <a:gd name="T85" fmla="*/ 115 h 1155"/>
                  <a:gd name="T86" fmla="*/ 464 w 1190"/>
                  <a:gd name="T87" fmla="*/ 96 h 1155"/>
                  <a:gd name="T88" fmla="*/ 418 w 1190"/>
                  <a:gd name="T89" fmla="*/ 77 h 1155"/>
                  <a:gd name="T90" fmla="*/ 371 w 1190"/>
                  <a:gd name="T91" fmla="*/ 61 h 1155"/>
                  <a:gd name="T92" fmla="*/ 324 w 1190"/>
                  <a:gd name="T93" fmla="*/ 47 h 1155"/>
                  <a:gd name="T94" fmla="*/ 276 w 1190"/>
                  <a:gd name="T95" fmla="*/ 34 h 1155"/>
                  <a:gd name="T96" fmla="*/ 202 w 1190"/>
                  <a:gd name="T97" fmla="*/ 19 h 1155"/>
                  <a:gd name="T98" fmla="*/ 153 w 1190"/>
                  <a:gd name="T99" fmla="*/ 12 h 1155"/>
                  <a:gd name="T100" fmla="*/ 102 w 1190"/>
                  <a:gd name="T101" fmla="*/ 6 h 1155"/>
                  <a:gd name="T102" fmla="*/ 51 w 1190"/>
                  <a:gd name="T103" fmla="*/ 2 h 1155"/>
                  <a:gd name="T104" fmla="*/ 0 w 1190"/>
                  <a:gd name="T105" fmla="*/ 0 h 1155"/>
                  <a:gd name="T106" fmla="*/ 0 w 1190"/>
                  <a:gd name="T107" fmla="*/ 636 h 11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90"/>
                  <a:gd name="T163" fmla="*/ 0 h 1155"/>
                  <a:gd name="T164" fmla="*/ 1190 w 1190"/>
                  <a:gd name="T165" fmla="*/ 1155 h 115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90" h="1155">
                    <a:moveTo>
                      <a:pt x="0" y="636"/>
                    </a:moveTo>
                    <a:lnTo>
                      <a:pt x="25" y="637"/>
                    </a:lnTo>
                    <a:lnTo>
                      <a:pt x="37" y="638"/>
                    </a:lnTo>
                    <a:lnTo>
                      <a:pt x="49" y="639"/>
                    </a:lnTo>
                    <a:lnTo>
                      <a:pt x="74" y="643"/>
                    </a:lnTo>
                    <a:lnTo>
                      <a:pt x="98" y="647"/>
                    </a:lnTo>
                    <a:lnTo>
                      <a:pt x="110" y="649"/>
                    </a:lnTo>
                    <a:lnTo>
                      <a:pt x="121" y="652"/>
                    </a:lnTo>
                    <a:lnTo>
                      <a:pt x="145" y="657"/>
                    </a:lnTo>
                    <a:lnTo>
                      <a:pt x="167" y="664"/>
                    </a:lnTo>
                    <a:lnTo>
                      <a:pt x="190" y="671"/>
                    </a:lnTo>
                    <a:lnTo>
                      <a:pt x="201" y="675"/>
                    </a:lnTo>
                    <a:lnTo>
                      <a:pt x="212" y="679"/>
                    </a:lnTo>
                    <a:lnTo>
                      <a:pt x="235" y="688"/>
                    </a:lnTo>
                    <a:lnTo>
                      <a:pt x="245" y="693"/>
                    </a:lnTo>
                    <a:lnTo>
                      <a:pt x="256" y="698"/>
                    </a:lnTo>
                    <a:lnTo>
                      <a:pt x="266" y="703"/>
                    </a:lnTo>
                    <a:lnTo>
                      <a:pt x="277" y="708"/>
                    </a:lnTo>
                    <a:lnTo>
                      <a:pt x="287" y="714"/>
                    </a:lnTo>
                    <a:lnTo>
                      <a:pt x="297" y="721"/>
                    </a:lnTo>
                    <a:lnTo>
                      <a:pt x="307" y="727"/>
                    </a:lnTo>
                    <a:lnTo>
                      <a:pt x="317" y="733"/>
                    </a:lnTo>
                    <a:lnTo>
                      <a:pt x="337" y="745"/>
                    </a:lnTo>
                    <a:lnTo>
                      <a:pt x="356" y="758"/>
                    </a:lnTo>
                    <a:lnTo>
                      <a:pt x="374" y="772"/>
                    </a:lnTo>
                    <a:lnTo>
                      <a:pt x="393" y="787"/>
                    </a:lnTo>
                    <a:lnTo>
                      <a:pt x="410" y="802"/>
                    </a:lnTo>
                    <a:lnTo>
                      <a:pt x="427" y="818"/>
                    </a:lnTo>
                    <a:lnTo>
                      <a:pt x="435" y="826"/>
                    </a:lnTo>
                    <a:lnTo>
                      <a:pt x="443" y="834"/>
                    </a:lnTo>
                    <a:lnTo>
                      <a:pt x="459" y="851"/>
                    </a:lnTo>
                    <a:lnTo>
                      <a:pt x="467" y="860"/>
                    </a:lnTo>
                    <a:lnTo>
                      <a:pt x="474" y="869"/>
                    </a:lnTo>
                    <a:lnTo>
                      <a:pt x="489" y="888"/>
                    </a:lnTo>
                    <a:lnTo>
                      <a:pt x="502" y="907"/>
                    </a:lnTo>
                    <a:lnTo>
                      <a:pt x="515" y="926"/>
                    </a:lnTo>
                    <a:lnTo>
                      <a:pt x="528" y="945"/>
                    </a:lnTo>
                    <a:lnTo>
                      <a:pt x="541" y="965"/>
                    </a:lnTo>
                    <a:lnTo>
                      <a:pt x="552" y="986"/>
                    </a:lnTo>
                    <a:lnTo>
                      <a:pt x="562" y="1007"/>
                    </a:lnTo>
                    <a:lnTo>
                      <a:pt x="571" y="1028"/>
                    </a:lnTo>
                    <a:lnTo>
                      <a:pt x="580" y="1051"/>
                    </a:lnTo>
                    <a:lnTo>
                      <a:pt x="926" y="1155"/>
                    </a:lnTo>
                    <a:lnTo>
                      <a:pt x="1190" y="865"/>
                    </a:lnTo>
                    <a:lnTo>
                      <a:pt x="1182" y="842"/>
                    </a:lnTo>
                    <a:lnTo>
                      <a:pt x="1173" y="819"/>
                    </a:lnTo>
                    <a:lnTo>
                      <a:pt x="1164" y="796"/>
                    </a:lnTo>
                    <a:lnTo>
                      <a:pt x="1154" y="774"/>
                    </a:lnTo>
                    <a:lnTo>
                      <a:pt x="1144" y="752"/>
                    </a:lnTo>
                    <a:lnTo>
                      <a:pt x="1134" y="730"/>
                    </a:lnTo>
                    <a:lnTo>
                      <a:pt x="1123" y="707"/>
                    </a:lnTo>
                    <a:lnTo>
                      <a:pt x="1112" y="685"/>
                    </a:lnTo>
                    <a:lnTo>
                      <a:pt x="1101" y="664"/>
                    </a:lnTo>
                    <a:lnTo>
                      <a:pt x="1089" y="643"/>
                    </a:lnTo>
                    <a:lnTo>
                      <a:pt x="1077" y="622"/>
                    </a:lnTo>
                    <a:lnTo>
                      <a:pt x="1064" y="602"/>
                    </a:lnTo>
                    <a:lnTo>
                      <a:pt x="1051" y="581"/>
                    </a:lnTo>
                    <a:lnTo>
                      <a:pt x="1038" y="561"/>
                    </a:lnTo>
                    <a:lnTo>
                      <a:pt x="1024" y="541"/>
                    </a:lnTo>
                    <a:lnTo>
                      <a:pt x="1009" y="521"/>
                    </a:lnTo>
                    <a:lnTo>
                      <a:pt x="995" y="502"/>
                    </a:lnTo>
                    <a:lnTo>
                      <a:pt x="980" y="483"/>
                    </a:lnTo>
                    <a:lnTo>
                      <a:pt x="950" y="446"/>
                    </a:lnTo>
                    <a:lnTo>
                      <a:pt x="934" y="428"/>
                    </a:lnTo>
                    <a:lnTo>
                      <a:pt x="918" y="410"/>
                    </a:lnTo>
                    <a:lnTo>
                      <a:pt x="901" y="392"/>
                    </a:lnTo>
                    <a:lnTo>
                      <a:pt x="885" y="375"/>
                    </a:lnTo>
                    <a:lnTo>
                      <a:pt x="868" y="358"/>
                    </a:lnTo>
                    <a:lnTo>
                      <a:pt x="849" y="342"/>
                    </a:lnTo>
                    <a:lnTo>
                      <a:pt x="831" y="326"/>
                    </a:lnTo>
                    <a:lnTo>
                      <a:pt x="813" y="310"/>
                    </a:lnTo>
                    <a:lnTo>
                      <a:pt x="795" y="294"/>
                    </a:lnTo>
                    <a:lnTo>
                      <a:pt x="777" y="279"/>
                    </a:lnTo>
                    <a:lnTo>
                      <a:pt x="758" y="264"/>
                    </a:lnTo>
                    <a:lnTo>
                      <a:pt x="738" y="250"/>
                    </a:lnTo>
                    <a:lnTo>
                      <a:pt x="719" y="235"/>
                    </a:lnTo>
                    <a:lnTo>
                      <a:pt x="699" y="221"/>
                    </a:lnTo>
                    <a:lnTo>
                      <a:pt x="678" y="208"/>
                    </a:lnTo>
                    <a:lnTo>
                      <a:pt x="658" y="195"/>
                    </a:lnTo>
                    <a:lnTo>
                      <a:pt x="638" y="182"/>
                    </a:lnTo>
                    <a:lnTo>
                      <a:pt x="617" y="170"/>
                    </a:lnTo>
                    <a:lnTo>
                      <a:pt x="596" y="158"/>
                    </a:lnTo>
                    <a:lnTo>
                      <a:pt x="575" y="147"/>
                    </a:lnTo>
                    <a:lnTo>
                      <a:pt x="553" y="136"/>
                    </a:lnTo>
                    <a:lnTo>
                      <a:pt x="530" y="125"/>
                    </a:lnTo>
                    <a:lnTo>
                      <a:pt x="508" y="115"/>
                    </a:lnTo>
                    <a:lnTo>
                      <a:pt x="486" y="105"/>
                    </a:lnTo>
                    <a:lnTo>
                      <a:pt x="464" y="96"/>
                    </a:lnTo>
                    <a:lnTo>
                      <a:pt x="441" y="87"/>
                    </a:lnTo>
                    <a:lnTo>
                      <a:pt x="418" y="77"/>
                    </a:lnTo>
                    <a:lnTo>
                      <a:pt x="395" y="69"/>
                    </a:lnTo>
                    <a:lnTo>
                      <a:pt x="371" y="61"/>
                    </a:lnTo>
                    <a:lnTo>
                      <a:pt x="348" y="54"/>
                    </a:lnTo>
                    <a:lnTo>
                      <a:pt x="324" y="47"/>
                    </a:lnTo>
                    <a:lnTo>
                      <a:pt x="300" y="40"/>
                    </a:lnTo>
                    <a:lnTo>
                      <a:pt x="276" y="34"/>
                    </a:lnTo>
                    <a:lnTo>
                      <a:pt x="252" y="29"/>
                    </a:lnTo>
                    <a:lnTo>
                      <a:pt x="202" y="19"/>
                    </a:lnTo>
                    <a:lnTo>
                      <a:pt x="177" y="15"/>
                    </a:lnTo>
                    <a:lnTo>
                      <a:pt x="153" y="12"/>
                    </a:lnTo>
                    <a:lnTo>
                      <a:pt x="128" y="8"/>
                    </a:lnTo>
                    <a:lnTo>
                      <a:pt x="102" y="6"/>
                    </a:lnTo>
                    <a:lnTo>
                      <a:pt x="77" y="4"/>
                    </a:lnTo>
                    <a:lnTo>
                      <a:pt x="51" y="2"/>
                    </a:lnTo>
                    <a:lnTo>
                      <a:pt x="25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0" y="6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4" name="Freeform 17"/>
              <p:cNvSpPr>
                <a:spLocks noChangeAspect="1"/>
              </p:cNvSpPr>
              <p:nvPr/>
            </p:nvSpPr>
            <p:spPr bwMode="auto">
              <a:xfrm>
                <a:off x="3562" y="2361"/>
                <a:ext cx="839" cy="1334"/>
              </a:xfrm>
              <a:custGeom>
                <a:avLst/>
                <a:gdLst>
                  <a:gd name="T0" fmla="*/ 11 w 839"/>
                  <a:gd name="T1" fmla="*/ 803 h 1334"/>
                  <a:gd name="T2" fmla="*/ 44 w 839"/>
                  <a:gd name="T3" fmla="*/ 768 h 1334"/>
                  <a:gd name="T4" fmla="*/ 64 w 839"/>
                  <a:gd name="T5" fmla="*/ 743 h 1334"/>
                  <a:gd name="T6" fmla="*/ 93 w 839"/>
                  <a:gd name="T7" fmla="*/ 704 h 1334"/>
                  <a:gd name="T8" fmla="*/ 110 w 839"/>
                  <a:gd name="T9" fmla="*/ 677 h 1334"/>
                  <a:gd name="T10" fmla="*/ 127 w 839"/>
                  <a:gd name="T11" fmla="*/ 649 h 1334"/>
                  <a:gd name="T12" fmla="*/ 142 w 839"/>
                  <a:gd name="T13" fmla="*/ 620 h 1334"/>
                  <a:gd name="T14" fmla="*/ 161 w 839"/>
                  <a:gd name="T15" fmla="*/ 574 h 1334"/>
                  <a:gd name="T16" fmla="*/ 172 w 839"/>
                  <a:gd name="T17" fmla="*/ 543 h 1334"/>
                  <a:gd name="T18" fmla="*/ 181 w 839"/>
                  <a:gd name="T19" fmla="*/ 512 h 1334"/>
                  <a:gd name="T20" fmla="*/ 189 w 839"/>
                  <a:gd name="T21" fmla="*/ 480 h 1334"/>
                  <a:gd name="T22" fmla="*/ 195 w 839"/>
                  <a:gd name="T23" fmla="*/ 447 h 1334"/>
                  <a:gd name="T24" fmla="*/ 199 w 839"/>
                  <a:gd name="T25" fmla="*/ 413 h 1334"/>
                  <a:gd name="T26" fmla="*/ 202 w 839"/>
                  <a:gd name="T27" fmla="*/ 379 h 1334"/>
                  <a:gd name="T28" fmla="*/ 203 w 839"/>
                  <a:gd name="T29" fmla="*/ 345 h 1334"/>
                  <a:gd name="T30" fmla="*/ 202 w 839"/>
                  <a:gd name="T31" fmla="*/ 306 h 1334"/>
                  <a:gd name="T32" fmla="*/ 198 w 839"/>
                  <a:gd name="T33" fmla="*/ 268 h 1334"/>
                  <a:gd name="T34" fmla="*/ 193 w 839"/>
                  <a:gd name="T35" fmla="*/ 230 h 1334"/>
                  <a:gd name="T36" fmla="*/ 185 w 839"/>
                  <a:gd name="T37" fmla="*/ 194 h 1334"/>
                  <a:gd name="T38" fmla="*/ 793 w 839"/>
                  <a:gd name="T39" fmla="*/ 0 h 1334"/>
                  <a:gd name="T40" fmla="*/ 808 w 839"/>
                  <a:gd name="T41" fmla="*/ 62 h 1334"/>
                  <a:gd name="T42" fmla="*/ 817 w 839"/>
                  <a:gd name="T43" fmla="*/ 104 h 1334"/>
                  <a:gd name="T44" fmla="*/ 824 w 839"/>
                  <a:gd name="T45" fmla="*/ 147 h 1334"/>
                  <a:gd name="T46" fmla="*/ 833 w 839"/>
                  <a:gd name="T47" fmla="*/ 212 h 1334"/>
                  <a:gd name="T48" fmla="*/ 838 w 839"/>
                  <a:gd name="T49" fmla="*/ 278 h 1334"/>
                  <a:gd name="T50" fmla="*/ 839 w 839"/>
                  <a:gd name="T51" fmla="*/ 345 h 1334"/>
                  <a:gd name="T52" fmla="*/ 837 w 839"/>
                  <a:gd name="T53" fmla="*/ 418 h 1334"/>
                  <a:gd name="T54" fmla="*/ 835 w 839"/>
                  <a:gd name="T55" fmla="*/ 456 h 1334"/>
                  <a:gd name="T56" fmla="*/ 831 w 839"/>
                  <a:gd name="T57" fmla="*/ 492 h 1334"/>
                  <a:gd name="T58" fmla="*/ 823 w 839"/>
                  <a:gd name="T59" fmla="*/ 546 h 1334"/>
                  <a:gd name="T60" fmla="*/ 814 w 839"/>
                  <a:gd name="T61" fmla="*/ 600 h 1334"/>
                  <a:gd name="T62" fmla="*/ 798 w 839"/>
                  <a:gd name="T63" fmla="*/ 669 h 1334"/>
                  <a:gd name="T64" fmla="*/ 778 w 839"/>
                  <a:gd name="T65" fmla="*/ 737 h 1334"/>
                  <a:gd name="T66" fmla="*/ 753 w 839"/>
                  <a:gd name="T67" fmla="*/ 805 h 1334"/>
                  <a:gd name="T68" fmla="*/ 740 w 839"/>
                  <a:gd name="T69" fmla="*/ 837 h 1334"/>
                  <a:gd name="T70" fmla="*/ 711 w 839"/>
                  <a:gd name="T71" fmla="*/ 901 h 1334"/>
                  <a:gd name="T72" fmla="*/ 695 w 839"/>
                  <a:gd name="T73" fmla="*/ 933 h 1334"/>
                  <a:gd name="T74" fmla="*/ 679 w 839"/>
                  <a:gd name="T75" fmla="*/ 963 h 1334"/>
                  <a:gd name="T76" fmla="*/ 644 w 839"/>
                  <a:gd name="T77" fmla="*/ 1023 h 1334"/>
                  <a:gd name="T78" fmla="*/ 605 w 839"/>
                  <a:gd name="T79" fmla="*/ 1082 h 1334"/>
                  <a:gd name="T80" fmla="*/ 563 w 839"/>
                  <a:gd name="T81" fmla="*/ 1137 h 1334"/>
                  <a:gd name="T82" fmla="*/ 518 w 839"/>
                  <a:gd name="T83" fmla="*/ 1190 h 1334"/>
                  <a:gd name="T84" fmla="*/ 495 w 839"/>
                  <a:gd name="T85" fmla="*/ 1215 h 1334"/>
                  <a:gd name="T86" fmla="*/ 447 w 839"/>
                  <a:gd name="T87" fmla="*/ 1265 h 1334"/>
                  <a:gd name="T88" fmla="*/ 395 w 839"/>
                  <a:gd name="T89" fmla="*/ 1312 h 1334"/>
                  <a:gd name="T90" fmla="*/ 13 w 839"/>
                  <a:gd name="T91" fmla="*/ 1187 h 133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39"/>
                  <a:gd name="T139" fmla="*/ 0 h 1334"/>
                  <a:gd name="T140" fmla="*/ 839 w 839"/>
                  <a:gd name="T141" fmla="*/ 1334 h 133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39" h="1334">
                    <a:moveTo>
                      <a:pt x="0" y="814"/>
                    </a:moveTo>
                    <a:lnTo>
                      <a:pt x="11" y="803"/>
                    </a:lnTo>
                    <a:lnTo>
                      <a:pt x="22" y="792"/>
                    </a:lnTo>
                    <a:lnTo>
                      <a:pt x="44" y="768"/>
                    </a:lnTo>
                    <a:lnTo>
                      <a:pt x="54" y="756"/>
                    </a:lnTo>
                    <a:lnTo>
                      <a:pt x="64" y="743"/>
                    </a:lnTo>
                    <a:lnTo>
                      <a:pt x="84" y="717"/>
                    </a:lnTo>
                    <a:lnTo>
                      <a:pt x="93" y="704"/>
                    </a:lnTo>
                    <a:lnTo>
                      <a:pt x="102" y="690"/>
                    </a:lnTo>
                    <a:lnTo>
                      <a:pt x="110" y="677"/>
                    </a:lnTo>
                    <a:lnTo>
                      <a:pt x="119" y="663"/>
                    </a:lnTo>
                    <a:lnTo>
                      <a:pt x="127" y="649"/>
                    </a:lnTo>
                    <a:lnTo>
                      <a:pt x="134" y="634"/>
                    </a:lnTo>
                    <a:lnTo>
                      <a:pt x="142" y="620"/>
                    </a:lnTo>
                    <a:lnTo>
                      <a:pt x="148" y="605"/>
                    </a:lnTo>
                    <a:lnTo>
                      <a:pt x="161" y="574"/>
                    </a:lnTo>
                    <a:lnTo>
                      <a:pt x="166" y="559"/>
                    </a:lnTo>
                    <a:lnTo>
                      <a:pt x="172" y="543"/>
                    </a:lnTo>
                    <a:lnTo>
                      <a:pt x="176" y="528"/>
                    </a:lnTo>
                    <a:lnTo>
                      <a:pt x="181" y="512"/>
                    </a:lnTo>
                    <a:lnTo>
                      <a:pt x="185" y="496"/>
                    </a:lnTo>
                    <a:lnTo>
                      <a:pt x="189" y="480"/>
                    </a:lnTo>
                    <a:lnTo>
                      <a:pt x="192" y="463"/>
                    </a:lnTo>
                    <a:lnTo>
                      <a:pt x="195" y="447"/>
                    </a:lnTo>
                    <a:lnTo>
                      <a:pt x="197" y="430"/>
                    </a:lnTo>
                    <a:lnTo>
                      <a:pt x="199" y="413"/>
                    </a:lnTo>
                    <a:lnTo>
                      <a:pt x="201" y="396"/>
                    </a:lnTo>
                    <a:lnTo>
                      <a:pt x="202" y="379"/>
                    </a:lnTo>
                    <a:lnTo>
                      <a:pt x="202" y="362"/>
                    </a:lnTo>
                    <a:lnTo>
                      <a:pt x="203" y="345"/>
                    </a:lnTo>
                    <a:lnTo>
                      <a:pt x="202" y="325"/>
                    </a:lnTo>
                    <a:lnTo>
                      <a:pt x="202" y="306"/>
                    </a:lnTo>
                    <a:lnTo>
                      <a:pt x="200" y="287"/>
                    </a:lnTo>
                    <a:lnTo>
                      <a:pt x="198" y="268"/>
                    </a:lnTo>
                    <a:lnTo>
                      <a:pt x="196" y="249"/>
                    </a:lnTo>
                    <a:lnTo>
                      <a:pt x="193" y="230"/>
                    </a:lnTo>
                    <a:lnTo>
                      <a:pt x="189" y="212"/>
                    </a:lnTo>
                    <a:lnTo>
                      <a:pt x="185" y="194"/>
                    </a:lnTo>
                    <a:lnTo>
                      <a:pt x="513" y="300"/>
                    </a:lnTo>
                    <a:lnTo>
                      <a:pt x="793" y="0"/>
                    </a:lnTo>
                    <a:lnTo>
                      <a:pt x="803" y="41"/>
                    </a:lnTo>
                    <a:lnTo>
                      <a:pt x="808" y="62"/>
                    </a:lnTo>
                    <a:lnTo>
                      <a:pt x="813" y="83"/>
                    </a:lnTo>
                    <a:lnTo>
                      <a:pt x="817" y="104"/>
                    </a:lnTo>
                    <a:lnTo>
                      <a:pt x="821" y="126"/>
                    </a:lnTo>
                    <a:lnTo>
                      <a:pt x="824" y="147"/>
                    </a:lnTo>
                    <a:lnTo>
                      <a:pt x="827" y="169"/>
                    </a:lnTo>
                    <a:lnTo>
                      <a:pt x="833" y="212"/>
                    </a:lnTo>
                    <a:lnTo>
                      <a:pt x="836" y="255"/>
                    </a:lnTo>
                    <a:lnTo>
                      <a:pt x="838" y="278"/>
                    </a:lnTo>
                    <a:lnTo>
                      <a:pt x="839" y="300"/>
                    </a:lnTo>
                    <a:lnTo>
                      <a:pt x="839" y="345"/>
                    </a:lnTo>
                    <a:lnTo>
                      <a:pt x="839" y="382"/>
                    </a:lnTo>
                    <a:lnTo>
                      <a:pt x="837" y="418"/>
                    </a:lnTo>
                    <a:lnTo>
                      <a:pt x="836" y="438"/>
                    </a:lnTo>
                    <a:lnTo>
                      <a:pt x="835" y="456"/>
                    </a:lnTo>
                    <a:lnTo>
                      <a:pt x="833" y="474"/>
                    </a:lnTo>
                    <a:lnTo>
                      <a:pt x="831" y="492"/>
                    </a:lnTo>
                    <a:lnTo>
                      <a:pt x="826" y="528"/>
                    </a:lnTo>
                    <a:lnTo>
                      <a:pt x="823" y="546"/>
                    </a:lnTo>
                    <a:lnTo>
                      <a:pt x="821" y="564"/>
                    </a:lnTo>
                    <a:lnTo>
                      <a:pt x="814" y="600"/>
                    </a:lnTo>
                    <a:lnTo>
                      <a:pt x="806" y="635"/>
                    </a:lnTo>
                    <a:lnTo>
                      <a:pt x="798" y="669"/>
                    </a:lnTo>
                    <a:lnTo>
                      <a:pt x="788" y="704"/>
                    </a:lnTo>
                    <a:lnTo>
                      <a:pt x="778" y="737"/>
                    </a:lnTo>
                    <a:lnTo>
                      <a:pt x="766" y="772"/>
                    </a:lnTo>
                    <a:lnTo>
                      <a:pt x="753" y="805"/>
                    </a:lnTo>
                    <a:lnTo>
                      <a:pt x="747" y="821"/>
                    </a:lnTo>
                    <a:lnTo>
                      <a:pt x="740" y="837"/>
                    </a:lnTo>
                    <a:lnTo>
                      <a:pt x="726" y="869"/>
                    </a:lnTo>
                    <a:lnTo>
                      <a:pt x="711" y="901"/>
                    </a:lnTo>
                    <a:lnTo>
                      <a:pt x="703" y="917"/>
                    </a:lnTo>
                    <a:lnTo>
                      <a:pt x="695" y="933"/>
                    </a:lnTo>
                    <a:lnTo>
                      <a:pt x="687" y="948"/>
                    </a:lnTo>
                    <a:lnTo>
                      <a:pt x="679" y="963"/>
                    </a:lnTo>
                    <a:lnTo>
                      <a:pt x="662" y="993"/>
                    </a:lnTo>
                    <a:lnTo>
                      <a:pt x="644" y="1023"/>
                    </a:lnTo>
                    <a:lnTo>
                      <a:pt x="625" y="1052"/>
                    </a:lnTo>
                    <a:lnTo>
                      <a:pt x="605" y="1082"/>
                    </a:lnTo>
                    <a:lnTo>
                      <a:pt x="584" y="1109"/>
                    </a:lnTo>
                    <a:lnTo>
                      <a:pt x="563" y="1137"/>
                    </a:lnTo>
                    <a:lnTo>
                      <a:pt x="541" y="1164"/>
                    </a:lnTo>
                    <a:lnTo>
                      <a:pt x="518" y="1190"/>
                    </a:lnTo>
                    <a:lnTo>
                      <a:pt x="507" y="1203"/>
                    </a:lnTo>
                    <a:lnTo>
                      <a:pt x="495" y="1215"/>
                    </a:lnTo>
                    <a:lnTo>
                      <a:pt x="471" y="1241"/>
                    </a:lnTo>
                    <a:lnTo>
                      <a:pt x="447" y="1265"/>
                    </a:lnTo>
                    <a:lnTo>
                      <a:pt x="421" y="1289"/>
                    </a:lnTo>
                    <a:lnTo>
                      <a:pt x="395" y="1312"/>
                    </a:lnTo>
                    <a:lnTo>
                      <a:pt x="368" y="1334"/>
                    </a:lnTo>
                    <a:lnTo>
                      <a:pt x="13" y="1187"/>
                    </a:lnTo>
                    <a:lnTo>
                      <a:pt x="0" y="8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5" name="Freeform 18"/>
              <p:cNvSpPr>
                <a:spLocks noChangeAspect="1"/>
              </p:cNvSpPr>
              <p:nvPr/>
            </p:nvSpPr>
            <p:spPr bwMode="auto">
              <a:xfrm>
                <a:off x="2460" y="3232"/>
                <a:ext cx="1411" cy="754"/>
              </a:xfrm>
              <a:custGeom>
                <a:avLst/>
                <a:gdLst>
                  <a:gd name="T0" fmla="*/ 33 w 1411"/>
                  <a:gd name="T1" fmla="*/ 196 h 754"/>
                  <a:gd name="T2" fmla="*/ 406 w 1411"/>
                  <a:gd name="T3" fmla="*/ 64 h 754"/>
                  <a:gd name="T4" fmla="*/ 438 w 1411"/>
                  <a:gd name="T5" fmla="*/ 77 h 754"/>
                  <a:gd name="T6" fmla="*/ 470 w 1411"/>
                  <a:gd name="T7" fmla="*/ 88 h 754"/>
                  <a:gd name="T8" fmla="*/ 503 w 1411"/>
                  <a:gd name="T9" fmla="*/ 97 h 754"/>
                  <a:gd name="T10" fmla="*/ 537 w 1411"/>
                  <a:gd name="T11" fmla="*/ 105 h 754"/>
                  <a:gd name="T12" fmla="*/ 571 w 1411"/>
                  <a:gd name="T13" fmla="*/ 111 h 754"/>
                  <a:gd name="T14" fmla="*/ 607 w 1411"/>
                  <a:gd name="T15" fmla="*/ 115 h 754"/>
                  <a:gd name="T16" fmla="*/ 643 w 1411"/>
                  <a:gd name="T17" fmla="*/ 117 h 754"/>
                  <a:gd name="T18" fmla="*/ 686 w 1411"/>
                  <a:gd name="T19" fmla="*/ 117 h 754"/>
                  <a:gd name="T20" fmla="*/ 737 w 1411"/>
                  <a:gd name="T21" fmla="*/ 113 h 754"/>
                  <a:gd name="T22" fmla="*/ 787 w 1411"/>
                  <a:gd name="T23" fmla="*/ 105 h 754"/>
                  <a:gd name="T24" fmla="*/ 835 w 1411"/>
                  <a:gd name="T25" fmla="*/ 94 h 754"/>
                  <a:gd name="T26" fmla="*/ 882 w 1411"/>
                  <a:gd name="T27" fmla="*/ 79 h 754"/>
                  <a:gd name="T28" fmla="*/ 928 w 1411"/>
                  <a:gd name="T29" fmla="*/ 60 h 754"/>
                  <a:gd name="T30" fmla="*/ 960 w 1411"/>
                  <a:gd name="T31" fmla="*/ 44 h 754"/>
                  <a:gd name="T32" fmla="*/ 981 w 1411"/>
                  <a:gd name="T33" fmla="*/ 32 h 754"/>
                  <a:gd name="T34" fmla="*/ 1002 w 1411"/>
                  <a:gd name="T35" fmla="*/ 19 h 754"/>
                  <a:gd name="T36" fmla="*/ 1022 w 1411"/>
                  <a:gd name="T37" fmla="*/ 6 h 754"/>
                  <a:gd name="T38" fmla="*/ 1036 w 1411"/>
                  <a:gd name="T39" fmla="*/ 351 h 754"/>
                  <a:gd name="T40" fmla="*/ 1391 w 1411"/>
                  <a:gd name="T41" fmla="*/ 526 h 754"/>
                  <a:gd name="T42" fmla="*/ 1350 w 1411"/>
                  <a:gd name="T43" fmla="*/ 553 h 754"/>
                  <a:gd name="T44" fmla="*/ 1308 w 1411"/>
                  <a:gd name="T45" fmla="*/ 579 h 754"/>
                  <a:gd name="T46" fmla="*/ 1266 w 1411"/>
                  <a:gd name="T47" fmla="*/ 602 h 754"/>
                  <a:gd name="T48" fmla="*/ 1222 w 1411"/>
                  <a:gd name="T49" fmla="*/ 625 h 754"/>
                  <a:gd name="T50" fmla="*/ 1177 w 1411"/>
                  <a:gd name="T51" fmla="*/ 645 h 754"/>
                  <a:gd name="T52" fmla="*/ 1132 w 1411"/>
                  <a:gd name="T53" fmla="*/ 664 h 754"/>
                  <a:gd name="T54" fmla="*/ 1086 w 1411"/>
                  <a:gd name="T55" fmla="*/ 683 h 754"/>
                  <a:gd name="T56" fmla="*/ 1038 w 1411"/>
                  <a:gd name="T57" fmla="*/ 698 h 754"/>
                  <a:gd name="T58" fmla="*/ 990 w 1411"/>
                  <a:gd name="T59" fmla="*/ 712 h 754"/>
                  <a:gd name="T60" fmla="*/ 941 w 1411"/>
                  <a:gd name="T61" fmla="*/ 724 h 754"/>
                  <a:gd name="T62" fmla="*/ 866 w 1411"/>
                  <a:gd name="T63" fmla="*/ 738 h 754"/>
                  <a:gd name="T64" fmla="*/ 816 w 1411"/>
                  <a:gd name="T65" fmla="*/ 745 h 754"/>
                  <a:gd name="T66" fmla="*/ 765 w 1411"/>
                  <a:gd name="T67" fmla="*/ 750 h 754"/>
                  <a:gd name="T68" fmla="*/ 713 w 1411"/>
                  <a:gd name="T69" fmla="*/ 753 h 754"/>
                  <a:gd name="T70" fmla="*/ 661 w 1411"/>
                  <a:gd name="T71" fmla="*/ 754 h 754"/>
                  <a:gd name="T72" fmla="*/ 593 w 1411"/>
                  <a:gd name="T73" fmla="*/ 752 h 754"/>
                  <a:gd name="T74" fmla="*/ 548 w 1411"/>
                  <a:gd name="T75" fmla="*/ 749 h 754"/>
                  <a:gd name="T76" fmla="*/ 504 w 1411"/>
                  <a:gd name="T77" fmla="*/ 744 h 754"/>
                  <a:gd name="T78" fmla="*/ 461 w 1411"/>
                  <a:gd name="T79" fmla="*/ 738 h 754"/>
                  <a:gd name="T80" fmla="*/ 417 w 1411"/>
                  <a:gd name="T81" fmla="*/ 731 h 754"/>
                  <a:gd name="T82" fmla="*/ 374 w 1411"/>
                  <a:gd name="T83" fmla="*/ 722 h 754"/>
                  <a:gd name="T84" fmla="*/ 333 w 1411"/>
                  <a:gd name="T85" fmla="*/ 711 h 754"/>
                  <a:gd name="T86" fmla="*/ 271 w 1411"/>
                  <a:gd name="T87" fmla="*/ 693 h 754"/>
                  <a:gd name="T88" fmla="*/ 229 w 1411"/>
                  <a:gd name="T89" fmla="*/ 679 h 754"/>
                  <a:gd name="T90" fmla="*/ 190 w 1411"/>
                  <a:gd name="T91" fmla="*/ 663 h 754"/>
                  <a:gd name="T92" fmla="*/ 150 w 1411"/>
                  <a:gd name="T93" fmla="*/ 646 h 754"/>
                  <a:gd name="T94" fmla="*/ 112 w 1411"/>
                  <a:gd name="T95" fmla="*/ 628 h 754"/>
                  <a:gd name="T96" fmla="*/ 73 w 1411"/>
                  <a:gd name="T97" fmla="*/ 610 h 754"/>
                  <a:gd name="T98" fmla="*/ 0 w 1411"/>
                  <a:gd name="T99" fmla="*/ 568 h 75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411"/>
                  <a:gd name="T151" fmla="*/ 0 h 754"/>
                  <a:gd name="T152" fmla="*/ 1411 w 1411"/>
                  <a:gd name="T153" fmla="*/ 754 h 75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411" h="754">
                    <a:moveTo>
                      <a:pt x="0" y="568"/>
                    </a:moveTo>
                    <a:lnTo>
                      <a:pt x="33" y="196"/>
                    </a:lnTo>
                    <a:lnTo>
                      <a:pt x="390" y="57"/>
                    </a:lnTo>
                    <a:lnTo>
                      <a:pt x="406" y="64"/>
                    </a:lnTo>
                    <a:lnTo>
                      <a:pt x="422" y="71"/>
                    </a:lnTo>
                    <a:lnTo>
                      <a:pt x="438" y="77"/>
                    </a:lnTo>
                    <a:lnTo>
                      <a:pt x="454" y="83"/>
                    </a:lnTo>
                    <a:lnTo>
                      <a:pt x="470" y="88"/>
                    </a:lnTo>
                    <a:lnTo>
                      <a:pt x="487" y="93"/>
                    </a:lnTo>
                    <a:lnTo>
                      <a:pt x="503" y="97"/>
                    </a:lnTo>
                    <a:lnTo>
                      <a:pt x="520" y="102"/>
                    </a:lnTo>
                    <a:lnTo>
                      <a:pt x="537" y="105"/>
                    </a:lnTo>
                    <a:lnTo>
                      <a:pt x="554" y="108"/>
                    </a:lnTo>
                    <a:lnTo>
                      <a:pt x="571" y="111"/>
                    </a:lnTo>
                    <a:lnTo>
                      <a:pt x="590" y="113"/>
                    </a:lnTo>
                    <a:lnTo>
                      <a:pt x="607" y="115"/>
                    </a:lnTo>
                    <a:lnTo>
                      <a:pt x="625" y="117"/>
                    </a:lnTo>
                    <a:lnTo>
                      <a:pt x="643" y="117"/>
                    </a:lnTo>
                    <a:lnTo>
                      <a:pt x="661" y="118"/>
                    </a:lnTo>
                    <a:lnTo>
                      <a:pt x="686" y="117"/>
                    </a:lnTo>
                    <a:lnTo>
                      <a:pt x="712" y="116"/>
                    </a:lnTo>
                    <a:lnTo>
                      <a:pt x="737" y="113"/>
                    </a:lnTo>
                    <a:lnTo>
                      <a:pt x="763" y="110"/>
                    </a:lnTo>
                    <a:lnTo>
                      <a:pt x="787" y="105"/>
                    </a:lnTo>
                    <a:lnTo>
                      <a:pt x="811" y="100"/>
                    </a:lnTo>
                    <a:lnTo>
                      <a:pt x="835" y="94"/>
                    </a:lnTo>
                    <a:lnTo>
                      <a:pt x="859" y="87"/>
                    </a:lnTo>
                    <a:lnTo>
                      <a:pt x="882" y="79"/>
                    </a:lnTo>
                    <a:lnTo>
                      <a:pt x="905" y="70"/>
                    </a:lnTo>
                    <a:lnTo>
                      <a:pt x="928" y="60"/>
                    </a:lnTo>
                    <a:lnTo>
                      <a:pt x="949" y="50"/>
                    </a:lnTo>
                    <a:lnTo>
                      <a:pt x="960" y="44"/>
                    </a:lnTo>
                    <a:lnTo>
                      <a:pt x="971" y="39"/>
                    </a:lnTo>
                    <a:lnTo>
                      <a:pt x="981" y="32"/>
                    </a:lnTo>
                    <a:lnTo>
                      <a:pt x="991" y="26"/>
                    </a:lnTo>
                    <a:lnTo>
                      <a:pt x="1002" y="19"/>
                    </a:lnTo>
                    <a:lnTo>
                      <a:pt x="1012" y="13"/>
                    </a:lnTo>
                    <a:lnTo>
                      <a:pt x="1022" y="6"/>
                    </a:lnTo>
                    <a:lnTo>
                      <a:pt x="1032" y="0"/>
                    </a:lnTo>
                    <a:lnTo>
                      <a:pt x="1036" y="351"/>
                    </a:lnTo>
                    <a:lnTo>
                      <a:pt x="1411" y="511"/>
                    </a:lnTo>
                    <a:lnTo>
                      <a:pt x="1391" y="526"/>
                    </a:lnTo>
                    <a:lnTo>
                      <a:pt x="1370" y="540"/>
                    </a:lnTo>
                    <a:lnTo>
                      <a:pt x="1350" y="553"/>
                    </a:lnTo>
                    <a:lnTo>
                      <a:pt x="1329" y="566"/>
                    </a:lnTo>
                    <a:lnTo>
                      <a:pt x="1308" y="579"/>
                    </a:lnTo>
                    <a:lnTo>
                      <a:pt x="1287" y="591"/>
                    </a:lnTo>
                    <a:lnTo>
                      <a:pt x="1266" y="602"/>
                    </a:lnTo>
                    <a:lnTo>
                      <a:pt x="1244" y="614"/>
                    </a:lnTo>
                    <a:lnTo>
                      <a:pt x="1222" y="625"/>
                    </a:lnTo>
                    <a:lnTo>
                      <a:pt x="1199" y="635"/>
                    </a:lnTo>
                    <a:lnTo>
                      <a:pt x="1177" y="645"/>
                    </a:lnTo>
                    <a:lnTo>
                      <a:pt x="1154" y="655"/>
                    </a:lnTo>
                    <a:lnTo>
                      <a:pt x="1132" y="664"/>
                    </a:lnTo>
                    <a:lnTo>
                      <a:pt x="1109" y="673"/>
                    </a:lnTo>
                    <a:lnTo>
                      <a:pt x="1086" y="683"/>
                    </a:lnTo>
                    <a:lnTo>
                      <a:pt x="1062" y="691"/>
                    </a:lnTo>
                    <a:lnTo>
                      <a:pt x="1038" y="698"/>
                    </a:lnTo>
                    <a:lnTo>
                      <a:pt x="1014" y="705"/>
                    </a:lnTo>
                    <a:lnTo>
                      <a:pt x="990" y="712"/>
                    </a:lnTo>
                    <a:lnTo>
                      <a:pt x="966" y="718"/>
                    </a:lnTo>
                    <a:lnTo>
                      <a:pt x="941" y="724"/>
                    </a:lnTo>
                    <a:lnTo>
                      <a:pt x="917" y="729"/>
                    </a:lnTo>
                    <a:lnTo>
                      <a:pt x="866" y="738"/>
                    </a:lnTo>
                    <a:lnTo>
                      <a:pt x="841" y="742"/>
                    </a:lnTo>
                    <a:lnTo>
                      <a:pt x="816" y="745"/>
                    </a:lnTo>
                    <a:lnTo>
                      <a:pt x="791" y="748"/>
                    </a:lnTo>
                    <a:lnTo>
                      <a:pt x="765" y="750"/>
                    </a:lnTo>
                    <a:lnTo>
                      <a:pt x="738" y="752"/>
                    </a:lnTo>
                    <a:lnTo>
                      <a:pt x="713" y="753"/>
                    </a:lnTo>
                    <a:lnTo>
                      <a:pt x="687" y="754"/>
                    </a:lnTo>
                    <a:lnTo>
                      <a:pt x="661" y="754"/>
                    </a:lnTo>
                    <a:lnTo>
                      <a:pt x="616" y="753"/>
                    </a:lnTo>
                    <a:lnTo>
                      <a:pt x="593" y="752"/>
                    </a:lnTo>
                    <a:lnTo>
                      <a:pt x="570" y="751"/>
                    </a:lnTo>
                    <a:lnTo>
                      <a:pt x="548" y="749"/>
                    </a:lnTo>
                    <a:lnTo>
                      <a:pt x="526" y="747"/>
                    </a:lnTo>
                    <a:lnTo>
                      <a:pt x="504" y="744"/>
                    </a:lnTo>
                    <a:lnTo>
                      <a:pt x="482" y="742"/>
                    </a:lnTo>
                    <a:lnTo>
                      <a:pt x="461" y="738"/>
                    </a:lnTo>
                    <a:lnTo>
                      <a:pt x="439" y="735"/>
                    </a:lnTo>
                    <a:lnTo>
                      <a:pt x="417" y="731"/>
                    </a:lnTo>
                    <a:lnTo>
                      <a:pt x="396" y="726"/>
                    </a:lnTo>
                    <a:lnTo>
                      <a:pt x="374" y="722"/>
                    </a:lnTo>
                    <a:lnTo>
                      <a:pt x="353" y="716"/>
                    </a:lnTo>
                    <a:lnTo>
                      <a:pt x="333" y="711"/>
                    </a:lnTo>
                    <a:lnTo>
                      <a:pt x="312" y="705"/>
                    </a:lnTo>
                    <a:lnTo>
                      <a:pt x="271" y="693"/>
                    </a:lnTo>
                    <a:lnTo>
                      <a:pt x="250" y="686"/>
                    </a:lnTo>
                    <a:lnTo>
                      <a:pt x="229" y="679"/>
                    </a:lnTo>
                    <a:lnTo>
                      <a:pt x="209" y="670"/>
                    </a:lnTo>
                    <a:lnTo>
                      <a:pt x="190" y="663"/>
                    </a:lnTo>
                    <a:lnTo>
                      <a:pt x="170" y="655"/>
                    </a:lnTo>
                    <a:lnTo>
                      <a:pt x="150" y="646"/>
                    </a:lnTo>
                    <a:lnTo>
                      <a:pt x="131" y="637"/>
                    </a:lnTo>
                    <a:lnTo>
                      <a:pt x="112" y="628"/>
                    </a:lnTo>
                    <a:lnTo>
                      <a:pt x="92" y="619"/>
                    </a:lnTo>
                    <a:lnTo>
                      <a:pt x="73" y="610"/>
                    </a:lnTo>
                    <a:lnTo>
                      <a:pt x="36" y="590"/>
                    </a:lnTo>
                    <a:lnTo>
                      <a:pt x="0" y="5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6" name="Freeform 19"/>
              <p:cNvSpPr>
                <a:spLocks noChangeAspect="1"/>
              </p:cNvSpPr>
              <p:nvPr/>
            </p:nvSpPr>
            <p:spPr bwMode="auto">
              <a:xfrm>
                <a:off x="1840" y="2330"/>
                <a:ext cx="934" cy="1434"/>
              </a:xfrm>
              <a:custGeom>
                <a:avLst/>
                <a:gdLst>
                  <a:gd name="T0" fmla="*/ 917 w 934"/>
                  <a:gd name="T1" fmla="*/ 907 h 1434"/>
                  <a:gd name="T2" fmla="*/ 885 w 934"/>
                  <a:gd name="T3" fmla="*/ 883 h 1434"/>
                  <a:gd name="T4" fmla="*/ 854 w 934"/>
                  <a:gd name="T5" fmla="*/ 858 h 1434"/>
                  <a:gd name="T6" fmla="*/ 825 w 934"/>
                  <a:gd name="T7" fmla="*/ 831 h 1434"/>
                  <a:gd name="T8" fmla="*/ 798 w 934"/>
                  <a:gd name="T9" fmla="*/ 803 h 1434"/>
                  <a:gd name="T10" fmla="*/ 773 w 934"/>
                  <a:gd name="T11" fmla="*/ 771 h 1434"/>
                  <a:gd name="T12" fmla="*/ 750 w 934"/>
                  <a:gd name="T13" fmla="*/ 740 h 1434"/>
                  <a:gd name="T14" fmla="*/ 729 w 934"/>
                  <a:gd name="T15" fmla="*/ 706 h 1434"/>
                  <a:gd name="T16" fmla="*/ 708 w 934"/>
                  <a:gd name="T17" fmla="*/ 672 h 1434"/>
                  <a:gd name="T18" fmla="*/ 691 w 934"/>
                  <a:gd name="T19" fmla="*/ 636 h 1434"/>
                  <a:gd name="T20" fmla="*/ 676 w 934"/>
                  <a:gd name="T21" fmla="*/ 598 h 1434"/>
                  <a:gd name="T22" fmla="*/ 663 w 934"/>
                  <a:gd name="T23" fmla="*/ 560 h 1434"/>
                  <a:gd name="T24" fmla="*/ 653 w 934"/>
                  <a:gd name="T25" fmla="*/ 521 h 1434"/>
                  <a:gd name="T26" fmla="*/ 645 w 934"/>
                  <a:gd name="T27" fmla="*/ 480 h 1434"/>
                  <a:gd name="T28" fmla="*/ 640 w 934"/>
                  <a:gd name="T29" fmla="*/ 438 h 1434"/>
                  <a:gd name="T30" fmla="*/ 637 w 934"/>
                  <a:gd name="T31" fmla="*/ 397 h 1434"/>
                  <a:gd name="T32" fmla="*/ 637 w 934"/>
                  <a:gd name="T33" fmla="*/ 355 h 1434"/>
                  <a:gd name="T34" fmla="*/ 639 w 934"/>
                  <a:gd name="T35" fmla="*/ 315 h 1434"/>
                  <a:gd name="T36" fmla="*/ 401 w 934"/>
                  <a:gd name="T37" fmla="*/ 0 h 1434"/>
                  <a:gd name="T38" fmla="*/ 26 w 934"/>
                  <a:gd name="T39" fmla="*/ 115 h 1434"/>
                  <a:gd name="T40" fmla="*/ 14 w 934"/>
                  <a:gd name="T41" fmla="*/ 188 h 1434"/>
                  <a:gd name="T42" fmla="*/ 9 w 934"/>
                  <a:gd name="T43" fmla="*/ 225 h 1434"/>
                  <a:gd name="T44" fmla="*/ 5 w 934"/>
                  <a:gd name="T45" fmla="*/ 262 h 1434"/>
                  <a:gd name="T46" fmla="*/ 1 w 934"/>
                  <a:gd name="T47" fmla="*/ 338 h 1434"/>
                  <a:gd name="T48" fmla="*/ 0 w 934"/>
                  <a:gd name="T49" fmla="*/ 396 h 1434"/>
                  <a:gd name="T50" fmla="*/ 2 w 934"/>
                  <a:gd name="T51" fmla="*/ 437 h 1434"/>
                  <a:gd name="T52" fmla="*/ 4 w 934"/>
                  <a:gd name="T53" fmla="*/ 478 h 1434"/>
                  <a:gd name="T54" fmla="*/ 10 w 934"/>
                  <a:gd name="T55" fmla="*/ 538 h 1434"/>
                  <a:gd name="T56" fmla="*/ 16 w 934"/>
                  <a:gd name="T57" fmla="*/ 577 h 1434"/>
                  <a:gd name="T58" fmla="*/ 31 w 934"/>
                  <a:gd name="T59" fmla="*/ 656 h 1434"/>
                  <a:gd name="T60" fmla="*/ 40 w 934"/>
                  <a:gd name="T61" fmla="*/ 694 h 1434"/>
                  <a:gd name="T62" fmla="*/ 62 w 934"/>
                  <a:gd name="T63" fmla="*/ 769 h 1434"/>
                  <a:gd name="T64" fmla="*/ 82 w 934"/>
                  <a:gd name="T65" fmla="*/ 825 h 1434"/>
                  <a:gd name="T66" fmla="*/ 96 w 934"/>
                  <a:gd name="T67" fmla="*/ 861 h 1434"/>
                  <a:gd name="T68" fmla="*/ 119 w 934"/>
                  <a:gd name="T69" fmla="*/ 914 h 1434"/>
                  <a:gd name="T70" fmla="*/ 154 w 934"/>
                  <a:gd name="T71" fmla="*/ 983 h 1434"/>
                  <a:gd name="T72" fmla="*/ 173 w 934"/>
                  <a:gd name="T73" fmla="*/ 1016 h 1434"/>
                  <a:gd name="T74" fmla="*/ 203 w 934"/>
                  <a:gd name="T75" fmla="*/ 1065 h 1434"/>
                  <a:gd name="T76" fmla="*/ 235 w 934"/>
                  <a:gd name="T77" fmla="*/ 1114 h 1434"/>
                  <a:gd name="T78" fmla="*/ 281 w 934"/>
                  <a:gd name="T79" fmla="*/ 1175 h 1434"/>
                  <a:gd name="T80" fmla="*/ 306 w 934"/>
                  <a:gd name="T81" fmla="*/ 1204 h 1434"/>
                  <a:gd name="T82" fmla="*/ 331 w 934"/>
                  <a:gd name="T83" fmla="*/ 1232 h 1434"/>
                  <a:gd name="T84" fmla="*/ 357 w 934"/>
                  <a:gd name="T85" fmla="*/ 1261 h 1434"/>
                  <a:gd name="T86" fmla="*/ 383 w 934"/>
                  <a:gd name="T87" fmla="*/ 1288 h 1434"/>
                  <a:gd name="T88" fmla="*/ 412 w 934"/>
                  <a:gd name="T89" fmla="*/ 1315 h 1434"/>
                  <a:gd name="T90" fmla="*/ 469 w 934"/>
                  <a:gd name="T91" fmla="*/ 1364 h 1434"/>
                  <a:gd name="T92" fmla="*/ 529 w 934"/>
                  <a:gd name="T93" fmla="*/ 1411 h 1434"/>
                  <a:gd name="T94" fmla="*/ 601 w 934"/>
                  <a:gd name="T95" fmla="*/ 1030 h 143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934"/>
                  <a:gd name="T145" fmla="*/ 0 h 1434"/>
                  <a:gd name="T146" fmla="*/ 934 w 934"/>
                  <a:gd name="T147" fmla="*/ 1434 h 143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934" h="1434">
                    <a:moveTo>
                      <a:pt x="934" y="918"/>
                    </a:moveTo>
                    <a:lnTo>
                      <a:pt x="917" y="907"/>
                    </a:lnTo>
                    <a:lnTo>
                      <a:pt x="901" y="895"/>
                    </a:lnTo>
                    <a:lnTo>
                      <a:pt x="885" y="883"/>
                    </a:lnTo>
                    <a:lnTo>
                      <a:pt x="869" y="871"/>
                    </a:lnTo>
                    <a:lnTo>
                      <a:pt x="854" y="858"/>
                    </a:lnTo>
                    <a:lnTo>
                      <a:pt x="839" y="845"/>
                    </a:lnTo>
                    <a:lnTo>
                      <a:pt x="825" y="831"/>
                    </a:lnTo>
                    <a:lnTo>
                      <a:pt x="812" y="817"/>
                    </a:lnTo>
                    <a:lnTo>
                      <a:pt x="798" y="803"/>
                    </a:lnTo>
                    <a:lnTo>
                      <a:pt x="786" y="788"/>
                    </a:lnTo>
                    <a:lnTo>
                      <a:pt x="773" y="771"/>
                    </a:lnTo>
                    <a:lnTo>
                      <a:pt x="761" y="756"/>
                    </a:lnTo>
                    <a:lnTo>
                      <a:pt x="750" y="740"/>
                    </a:lnTo>
                    <a:lnTo>
                      <a:pt x="739" y="723"/>
                    </a:lnTo>
                    <a:lnTo>
                      <a:pt x="729" y="706"/>
                    </a:lnTo>
                    <a:lnTo>
                      <a:pt x="718" y="689"/>
                    </a:lnTo>
                    <a:lnTo>
                      <a:pt x="708" y="672"/>
                    </a:lnTo>
                    <a:lnTo>
                      <a:pt x="699" y="654"/>
                    </a:lnTo>
                    <a:lnTo>
                      <a:pt x="691" y="636"/>
                    </a:lnTo>
                    <a:lnTo>
                      <a:pt x="683" y="618"/>
                    </a:lnTo>
                    <a:lnTo>
                      <a:pt x="676" y="598"/>
                    </a:lnTo>
                    <a:lnTo>
                      <a:pt x="669" y="579"/>
                    </a:lnTo>
                    <a:lnTo>
                      <a:pt x="663" y="560"/>
                    </a:lnTo>
                    <a:lnTo>
                      <a:pt x="658" y="540"/>
                    </a:lnTo>
                    <a:lnTo>
                      <a:pt x="653" y="521"/>
                    </a:lnTo>
                    <a:lnTo>
                      <a:pt x="649" y="501"/>
                    </a:lnTo>
                    <a:lnTo>
                      <a:pt x="645" y="480"/>
                    </a:lnTo>
                    <a:lnTo>
                      <a:pt x="642" y="460"/>
                    </a:lnTo>
                    <a:lnTo>
                      <a:pt x="640" y="438"/>
                    </a:lnTo>
                    <a:lnTo>
                      <a:pt x="638" y="418"/>
                    </a:lnTo>
                    <a:lnTo>
                      <a:pt x="637" y="397"/>
                    </a:lnTo>
                    <a:lnTo>
                      <a:pt x="637" y="376"/>
                    </a:lnTo>
                    <a:lnTo>
                      <a:pt x="637" y="355"/>
                    </a:lnTo>
                    <a:lnTo>
                      <a:pt x="638" y="335"/>
                    </a:lnTo>
                    <a:lnTo>
                      <a:pt x="639" y="315"/>
                    </a:lnTo>
                    <a:lnTo>
                      <a:pt x="642" y="295"/>
                    </a:lnTo>
                    <a:lnTo>
                      <a:pt x="401" y="0"/>
                    </a:lnTo>
                    <a:lnTo>
                      <a:pt x="34" y="80"/>
                    </a:lnTo>
                    <a:lnTo>
                      <a:pt x="26" y="115"/>
                    </a:lnTo>
                    <a:lnTo>
                      <a:pt x="20" y="152"/>
                    </a:lnTo>
                    <a:lnTo>
                      <a:pt x="14" y="188"/>
                    </a:lnTo>
                    <a:lnTo>
                      <a:pt x="11" y="207"/>
                    </a:lnTo>
                    <a:lnTo>
                      <a:pt x="9" y="225"/>
                    </a:lnTo>
                    <a:lnTo>
                      <a:pt x="7" y="243"/>
                    </a:lnTo>
                    <a:lnTo>
                      <a:pt x="5" y="262"/>
                    </a:lnTo>
                    <a:lnTo>
                      <a:pt x="2" y="300"/>
                    </a:lnTo>
                    <a:lnTo>
                      <a:pt x="1" y="338"/>
                    </a:lnTo>
                    <a:lnTo>
                      <a:pt x="0" y="376"/>
                    </a:lnTo>
                    <a:lnTo>
                      <a:pt x="0" y="396"/>
                    </a:lnTo>
                    <a:lnTo>
                      <a:pt x="1" y="416"/>
                    </a:lnTo>
                    <a:lnTo>
                      <a:pt x="2" y="437"/>
                    </a:lnTo>
                    <a:lnTo>
                      <a:pt x="3" y="458"/>
                    </a:lnTo>
                    <a:lnTo>
                      <a:pt x="4" y="478"/>
                    </a:lnTo>
                    <a:lnTo>
                      <a:pt x="6" y="498"/>
                    </a:lnTo>
                    <a:lnTo>
                      <a:pt x="10" y="538"/>
                    </a:lnTo>
                    <a:lnTo>
                      <a:pt x="13" y="557"/>
                    </a:lnTo>
                    <a:lnTo>
                      <a:pt x="16" y="577"/>
                    </a:lnTo>
                    <a:lnTo>
                      <a:pt x="23" y="617"/>
                    </a:lnTo>
                    <a:lnTo>
                      <a:pt x="31" y="656"/>
                    </a:lnTo>
                    <a:lnTo>
                      <a:pt x="35" y="675"/>
                    </a:lnTo>
                    <a:lnTo>
                      <a:pt x="40" y="694"/>
                    </a:lnTo>
                    <a:lnTo>
                      <a:pt x="50" y="732"/>
                    </a:lnTo>
                    <a:lnTo>
                      <a:pt x="62" y="769"/>
                    </a:lnTo>
                    <a:lnTo>
                      <a:pt x="74" y="807"/>
                    </a:lnTo>
                    <a:lnTo>
                      <a:pt x="82" y="825"/>
                    </a:lnTo>
                    <a:lnTo>
                      <a:pt x="89" y="843"/>
                    </a:lnTo>
                    <a:lnTo>
                      <a:pt x="96" y="861"/>
                    </a:lnTo>
                    <a:lnTo>
                      <a:pt x="104" y="878"/>
                    </a:lnTo>
                    <a:lnTo>
                      <a:pt x="119" y="914"/>
                    </a:lnTo>
                    <a:lnTo>
                      <a:pt x="136" y="949"/>
                    </a:lnTo>
                    <a:lnTo>
                      <a:pt x="154" y="983"/>
                    </a:lnTo>
                    <a:lnTo>
                      <a:pt x="163" y="1000"/>
                    </a:lnTo>
                    <a:lnTo>
                      <a:pt x="173" y="1016"/>
                    </a:lnTo>
                    <a:lnTo>
                      <a:pt x="192" y="1049"/>
                    </a:lnTo>
                    <a:lnTo>
                      <a:pt x="203" y="1065"/>
                    </a:lnTo>
                    <a:lnTo>
                      <a:pt x="213" y="1081"/>
                    </a:lnTo>
                    <a:lnTo>
                      <a:pt x="235" y="1114"/>
                    </a:lnTo>
                    <a:lnTo>
                      <a:pt x="258" y="1145"/>
                    </a:lnTo>
                    <a:lnTo>
                      <a:pt x="281" y="1175"/>
                    </a:lnTo>
                    <a:lnTo>
                      <a:pt x="293" y="1189"/>
                    </a:lnTo>
                    <a:lnTo>
                      <a:pt x="306" y="1204"/>
                    </a:lnTo>
                    <a:lnTo>
                      <a:pt x="318" y="1218"/>
                    </a:lnTo>
                    <a:lnTo>
                      <a:pt x="331" y="1232"/>
                    </a:lnTo>
                    <a:lnTo>
                      <a:pt x="344" y="1246"/>
                    </a:lnTo>
                    <a:lnTo>
                      <a:pt x="357" y="1261"/>
                    </a:lnTo>
                    <a:lnTo>
                      <a:pt x="370" y="1275"/>
                    </a:lnTo>
                    <a:lnTo>
                      <a:pt x="383" y="1288"/>
                    </a:lnTo>
                    <a:lnTo>
                      <a:pt x="397" y="1301"/>
                    </a:lnTo>
                    <a:lnTo>
                      <a:pt x="412" y="1315"/>
                    </a:lnTo>
                    <a:lnTo>
                      <a:pt x="440" y="1340"/>
                    </a:lnTo>
                    <a:lnTo>
                      <a:pt x="469" y="1364"/>
                    </a:lnTo>
                    <a:lnTo>
                      <a:pt x="499" y="1388"/>
                    </a:lnTo>
                    <a:lnTo>
                      <a:pt x="529" y="1411"/>
                    </a:lnTo>
                    <a:lnTo>
                      <a:pt x="561" y="1434"/>
                    </a:lnTo>
                    <a:lnTo>
                      <a:pt x="601" y="1030"/>
                    </a:lnTo>
                    <a:lnTo>
                      <a:pt x="934" y="9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>
            <a:xfrm>
              <a:off x="8831862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" name="Gruppierung 7"/>
          <p:cNvGrpSpPr/>
          <p:nvPr/>
        </p:nvGrpSpPr>
        <p:grpSpPr>
          <a:xfrm>
            <a:off x="2567608" y="3661693"/>
            <a:ext cx="2015999" cy="2016000"/>
            <a:chOff x="2567608" y="3661693"/>
            <a:chExt cx="2015999" cy="2016000"/>
          </a:xfrm>
        </p:grpSpPr>
        <p:grpSp>
          <p:nvGrpSpPr>
            <p:cNvPr id="67" name="Group 20"/>
            <p:cNvGrpSpPr>
              <a:grpSpLocks/>
            </p:cNvGrpSpPr>
            <p:nvPr/>
          </p:nvGrpSpPr>
          <p:grpSpPr bwMode="auto">
            <a:xfrm>
              <a:off x="2567608" y="3661693"/>
              <a:ext cx="2015999" cy="2016000"/>
              <a:chOff x="1840" y="1360"/>
              <a:chExt cx="2561" cy="2560"/>
            </a:xfrm>
            <a:solidFill>
              <a:srgbClr val="2F52A0"/>
            </a:solidFill>
          </p:grpSpPr>
          <p:sp>
            <p:nvSpPr>
              <p:cNvPr id="68" name="Freeform 21"/>
              <p:cNvSpPr>
                <a:spLocks noChangeAspect="1"/>
              </p:cNvSpPr>
              <p:nvPr/>
            </p:nvSpPr>
            <p:spPr bwMode="auto">
              <a:xfrm>
                <a:off x="1840" y="2078"/>
                <a:ext cx="750" cy="1243"/>
              </a:xfrm>
              <a:custGeom>
                <a:avLst/>
                <a:gdLst>
                  <a:gd name="T0" fmla="*/ 384 w 750"/>
                  <a:gd name="T1" fmla="*/ 899 h 1243"/>
                  <a:gd name="T2" fmla="*/ 185 w 750"/>
                  <a:gd name="T3" fmla="*/ 1225 h 1243"/>
                  <a:gd name="T4" fmla="*/ 163 w 750"/>
                  <a:gd name="T5" fmla="*/ 1187 h 1243"/>
                  <a:gd name="T6" fmla="*/ 142 w 750"/>
                  <a:gd name="T7" fmla="*/ 1149 h 1243"/>
                  <a:gd name="T8" fmla="*/ 123 w 750"/>
                  <a:gd name="T9" fmla="*/ 1108 h 1243"/>
                  <a:gd name="T10" fmla="*/ 96 w 750"/>
                  <a:gd name="T11" fmla="*/ 1048 h 1243"/>
                  <a:gd name="T12" fmla="*/ 79 w 750"/>
                  <a:gd name="T13" fmla="*/ 1007 h 1243"/>
                  <a:gd name="T14" fmla="*/ 58 w 750"/>
                  <a:gd name="T15" fmla="*/ 943 h 1243"/>
                  <a:gd name="T16" fmla="*/ 45 w 750"/>
                  <a:gd name="T17" fmla="*/ 901 h 1243"/>
                  <a:gd name="T18" fmla="*/ 34 w 750"/>
                  <a:gd name="T19" fmla="*/ 858 h 1243"/>
                  <a:gd name="T20" fmla="*/ 25 w 750"/>
                  <a:gd name="T21" fmla="*/ 814 h 1243"/>
                  <a:gd name="T22" fmla="*/ 17 w 750"/>
                  <a:gd name="T23" fmla="*/ 768 h 1243"/>
                  <a:gd name="T24" fmla="*/ 10 w 750"/>
                  <a:gd name="T25" fmla="*/ 723 h 1243"/>
                  <a:gd name="T26" fmla="*/ 5 w 750"/>
                  <a:gd name="T27" fmla="*/ 678 h 1243"/>
                  <a:gd name="T28" fmla="*/ 2 w 750"/>
                  <a:gd name="T29" fmla="*/ 631 h 1243"/>
                  <a:gd name="T30" fmla="*/ 0 w 750"/>
                  <a:gd name="T31" fmla="*/ 562 h 1243"/>
                  <a:gd name="T32" fmla="*/ 1 w 750"/>
                  <a:gd name="T33" fmla="*/ 507 h 1243"/>
                  <a:gd name="T34" fmla="*/ 5 w 750"/>
                  <a:gd name="T35" fmla="*/ 452 h 1243"/>
                  <a:gd name="T36" fmla="*/ 13 w 750"/>
                  <a:gd name="T37" fmla="*/ 381 h 1243"/>
                  <a:gd name="T38" fmla="*/ 21 w 750"/>
                  <a:gd name="T39" fmla="*/ 328 h 1243"/>
                  <a:gd name="T40" fmla="*/ 32 w 750"/>
                  <a:gd name="T41" fmla="*/ 275 h 1243"/>
                  <a:gd name="T42" fmla="*/ 40 w 750"/>
                  <a:gd name="T43" fmla="*/ 241 h 1243"/>
                  <a:gd name="T44" fmla="*/ 60 w 750"/>
                  <a:gd name="T45" fmla="*/ 174 h 1243"/>
                  <a:gd name="T46" fmla="*/ 83 w 750"/>
                  <a:gd name="T47" fmla="*/ 108 h 1243"/>
                  <a:gd name="T48" fmla="*/ 103 w 750"/>
                  <a:gd name="T49" fmla="*/ 60 h 1243"/>
                  <a:gd name="T50" fmla="*/ 124 w 750"/>
                  <a:gd name="T51" fmla="*/ 13 h 1243"/>
                  <a:gd name="T52" fmla="*/ 680 w 750"/>
                  <a:gd name="T53" fmla="*/ 330 h 1243"/>
                  <a:gd name="T54" fmla="*/ 670 w 750"/>
                  <a:gd name="T55" fmla="*/ 357 h 1243"/>
                  <a:gd name="T56" fmla="*/ 661 w 750"/>
                  <a:gd name="T57" fmla="*/ 384 h 1243"/>
                  <a:gd name="T58" fmla="*/ 654 w 750"/>
                  <a:gd name="T59" fmla="*/ 413 h 1243"/>
                  <a:gd name="T60" fmla="*/ 648 w 750"/>
                  <a:gd name="T61" fmla="*/ 441 h 1243"/>
                  <a:gd name="T62" fmla="*/ 643 w 750"/>
                  <a:gd name="T63" fmla="*/ 471 h 1243"/>
                  <a:gd name="T64" fmla="*/ 640 w 750"/>
                  <a:gd name="T65" fmla="*/ 501 h 1243"/>
                  <a:gd name="T66" fmla="*/ 637 w 750"/>
                  <a:gd name="T67" fmla="*/ 531 h 1243"/>
                  <a:gd name="T68" fmla="*/ 637 w 750"/>
                  <a:gd name="T69" fmla="*/ 587 h 1243"/>
                  <a:gd name="T70" fmla="*/ 641 w 750"/>
                  <a:gd name="T71" fmla="*/ 636 h 1243"/>
                  <a:gd name="T72" fmla="*/ 649 w 750"/>
                  <a:gd name="T73" fmla="*/ 685 h 1243"/>
                  <a:gd name="T74" fmla="*/ 654 w 750"/>
                  <a:gd name="T75" fmla="*/ 709 h 1243"/>
                  <a:gd name="T76" fmla="*/ 660 w 750"/>
                  <a:gd name="T77" fmla="*/ 733 h 1243"/>
                  <a:gd name="T78" fmla="*/ 674 w 750"/>
                  <a:gd name="T79" fmla="*/ 779 h 1243"/>
                  <a:gd name="T80" fmla="*/ 692 w 750"/>
                  <a:gd name="T81" fmla="*/ 824 h 1243"/>
                  <a:gd name="T82" fmla="*/ 713 w 750"/>
                  <a:gd name="T83" fmla="*/ 867 h 1243"/>
                  <a:gd name="T84" fmla="*/ 737 w 750"/>
                  <a:gd name="T85" fmla="*/ 907 h 124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50"/>
                  <a:gd name="T130" fmla="*/ 0 h 1243"/>
                  <a:gd name="T131" fmla="*/ 750 w 750"/>
                  <a:gd name="T132" fmla="*/ 1243 h 124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50" h="1243">
                    <a:moveTo>
                      <a:pt x="750" y="927"/>
                    </a:moveTo>
                    <a:lnTo>
                      <a:pt x="384" y="899"/>
                    </a:lnTo>
                    <a:lnTo>
                      <a:pt x="196" y="1243"/>
                    </a:lnTo>
                    <a:lnTo>
                      <a:pt x="185" y="1225"/>
                    </a:lnTo>
                    <a:lnTo>
                      <a:pt x="174" y="1206"/>
                    </a:lnTo>
                    <a:lnTo>
                      <a:pt x="163" y="1187"/>
                    </a:lnTo>
                    <a:lnTo>
                      <a:pt x="152" y="1168"/>
                    </a:lnTo>
                    <a:lnTo>
                      <a:pt x="142" y="1149"/>
                    </a:lnTo>
                    <a:lnTo>
                      <a:pt x="132" y="1129"/>
                    </a:lnTo>
                    <a:lnTo>
                      <a:pt x="123" y="1108"/>
                    </a:lnTo>
                    <a:lnTo>
                      <a:pt x="114" y="1089"/>
                    </a:lnTo>
                    <a:lnTo>
                      <a:pt x="96" y="1048"/>
                    </a:lnTo>
                    <a:lnTo>
                      <a:pt x="88" y="1028"/>
                    </a:lnTo>
                    <a:lnTo>
                      <a:pt x="79" y="1007"/>
                    </a:lnTo>
                    <a:lnTo>
                      <a:pt x="65" y="966"/>
                    </a:lnTo>
                    <a:lnTo>
                      <a:pt x="58" y="943"/>
                    </a:lnTo>
                    <a:lnTo>
                      <a:pt x="51" y="922"/>
                    </a:lnTo>
                    <a:lnTo>
                      <a:pt x="45" y="901"/>
                    </a:lnTo>
                    <a:lnTo>
                      <a:pt x="40" y="879"/>
                    </a:lnTo>
                    <a:lnTo>
                      <a:pt x="34" y="858"/>
                    </a:lnTo>
                    <a:lnTo>
                      <a:pt x="29" y="836"/>
                    </a:lnTo>
                    <a:lnTo>
                      <a:pt x="25" y="814"/>
                    </a:lnTo>
                    <a:lnTo>
                      <a:pt x="20" y="791"/>
                    </a:lnTo>
                    <a:lnTo>
                      <a:pt x="17" y="768"/>
                    </a:lnTo>
                    <a:lnTo>
                      <a:pt x="13" y="746"/>
                    </a:lnTo>
                    <a:lnTo>
                      <a:pt x="10" y="723"/>
                    </a:lnTo>
                    <a:lnTo>
                      <a:pt x="8" y="701"/>
                    </a:lnTo>
                    <a:lnTo>
                      <a:pt x="5" y="678"/>
                    </a:lnTo>
                    <a:lnTo>
                      <a:pt x="3" y="655"/>
                    </a:lnTo>
                    <a:lnTo>
                      <a:pt x="2" y="631"/>
                    </a:lnTo>
                    <a:lnTo>
                      <a:pt x="1" y="608"/>
                    </a:lnTo>
                    <a:lnTo>
                      <a:pt x="0" y="562"/>
                    </a:lnTo>
                    <a:lnTo>
                      <a:pt x="1" y="525"/>
                    </a:lnTo>
                    <a:lnTo>
                      <a:pt x="1" y="507"/>
                    </a:lnTo>
                    <a:lnTo>
                      <a:pt x="2" y="489"/>
                    </a:lnTo>
                    <a:lnTo>
                      <a:pt x="5" y="452"/>
                    </a:lnTo>
                    <a:lnTo>
                      <a:pt x="8" y="416"/>
                    </a:lnTo>
                    <a:lnTo>
                      <a:pt x="13" y="381"/>
                    </a:lnTo>
                    <a:lnTo>
                      <a:pt x="18" y="346"/>
                    </a:lnTo>
                    <a:lnTo>
                      <a:pt x="21" y="328"/>
                    </a:lnTo>
                    <a:lnTo>
                      <a:pt x="25" y="310"/>
                    </a:lnTo>
                    <a:lnTo>
                      <a:pt x="32" y="275"/>
                    </a:lnTo>
                    <a:lnTo>
                      <a:pt x="36" y="258"/>
                    </a:lnTo>
                    <a:lnTo>
                      <a:pt x="40" y="241"/>
                    </a:lnTo>
                    <a:lnTo>
                      <a:pt x="49" y="208"/>
                    </a:lnTo>
                    <a:lnTo>
                      <a:pt x="60" y="174"/>
                    </a:lnTo>
                    <a:lnTo>
                      <a:pt x="70" y="140"/>
                    </a:lnTo>
                    <a:lnTo>
                      <a:pt x="83" y="108"/>
                    </a:lnTo>
                    <a:lnTo>
                      <a:pt x="96" y="76"/>
                    </a:lnTo>
                    <a:lnTo>
                      <a:pt x="103" y="60"/>
                    </a:lnTo>
                    <a:lnTo>
                      <a:pt x="109" y="44"/>
                    </a:lnTo>
                    <a:lnTo>
                      <a:pt x="124" y="13"/>
                    </a:lnTo>
                    <a:lnTo>
                      <a:pt x="506" y="0"/>
                    </a:lnTo>
                    <a:lnTo>
                      <a:pt x="680" y="330"/>
                    </a:lnTo>
                    <a:lnTo>
                      <a:pt x="675" y="343"/>
                    </a:lnTo>
                    <a:lnTo>
                      <a:pt x="670" y="357"/>
                    </a:lnTo>
                    <a:lnTo>
                      <a:pt x="665" y="370"/>
                    </a:lnTo>
                    <a:lnTo>
                      <a:pt x="661" y="384"/>
                    </a:lnTo>
                    <a:lnTo>
                      <a:pt x="657" y="398"/>
                    </a:lnTo>
                    <a:lnTo>
                      <a:pt x="654" y="413"/>
                    </a:lnTo>
                    <a:lnTo>
                      <a:pt x="651" y="427"/>
                    </a:lnTo>
                    <a:lnTo>
                      <a:pt x="648" y="441"/>
                    </a:lnTo>
                    <a:lnTo>
                      <a:pt x="645" y="456"/>
                    </a:lnTo>
                    <a:lnTo>
                      <a:pt x="643" y="471"/>
                    </a:lnTo>
                    <a:lnTo>
                      <a:pt x="641" y="486"/>
                    </a:lnTo>
                    <a:lnTo>
                      <a:pt x="640" y="501"/>
                    </a:lnTo>
                    <a:lnTo>
                      <a:pt x="638" y="516"/>
                    </a:lnTo>
                    <a:lnTo>
                      <a:pt x="637" y="531"/>
                    </a:lnTo>
                    <a:lnTo>
                      <a:pt x="637" y="562"/>
                    </a:lnTo>
                    <a:lnTo>
                      <a:pt x="637" y="587"/>
                    </a:lnTo>
                    <a:lnTo>
                      <a:pt x="639" y="611"/>
                    </a:lnTo>
                    <a:lnTo>
                      <a:pt x="641" y="636"/>
                    </a:lnTo>
                    <a:lnTo>
                      <a:pt x="644" y="661"/>
                    </a:lnTo>
                    <a:lnTo>
                      <a:pt x="649" y="685"/>
                    </a:lnTo>
                    <a:lnTo>
                      <a:pt x="651" y="697"/>
                    </a:lnTo>
                    <a:lnTo>
                      <a:pt x="654" y="709"/>
                    </a:lnTo>
                    <a:lnTo>
                      <a:pt x="657" y="721"/>
                    </a:lnTo>
                    <a:lnTo>
                      <a:pt x="660" y="733"/>
                    </a:lnTo>
                    <a:lnTo>
                      <a:pt x="667" y="756"/>
                    </a:lnTo>
                    <a:lnTo>
                      <a:pt x="674" y="779"/>
                    </a:lnTo>
                    <a:lnTo>
                      <a:pt x="683" y="801"/>
                    </a:lnTo>
                    <a:lnTo>
                      <a:pt x="692" y="824"/>
                    </a:lnTo>
                    <a:lnTo>
                      <a:pt x="702" y="846"/>
                    </a:lnTo>
                    <a:lnTo>
                      <a:pt x="713" y="867"/>
                    </a:lnTo>
                    <a:lnTo>
                      <a:pt x="725" y="887"/>
                    </a:lnTo>
                    <a:lnTo>
                      <a:pt x="737" y="907"/>
                    </a:lnTo>
                    <a:lnTo>
                      <a:pt x="750" y="9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9" name="Freeform 22"/>
              <p:cNvSpPr>
                <a:spLocks noChangeAspect="1"/>
              </p:cNvSpPr>
              <p:nvPr/>
            </p:nvSpPr>
            <p:spPr bwMode="auto">
              <a:xfrm>
                <a:off x="1997" y="1360"/>
                <a:ext cx="1274" cy="984"/>
              </a:xfrm>
              <a:custGeom>
                <a:avLst/>
                <a:gdLst>
                  <a:gd name="T0" fmla="*/ 1064 w 1274"/>
                  <a:gd name="T1" fmla="*/ 638 h 984"/>
                  <a:gd name="T2" fmla="*/ 1021 w 1274"/>
                  <a:gd name="T3" fmla="*/ 644 h 984"/>
                  <a:gd name="T4" fmla="*/ 979 w 1274"/>
                  <a:gd name="T5" fmla="*/ 652 h 984"/>
                  <a:gd name="T6" fmla="*/ 938 w 1274"/>
                  <a:gd name="T7" fmla="*/ 662 h 984"/>
                  <a:gd name="T8" fmla="*/ 899 w 1274"/>
                  <a:gd name="T9" fmla="*/ 676 h 984"/>
                  <a:gd name="T10" fmla="*/ 859 w 1274"/>
                  <a:gd name="T11" fmla="*/ 692 h 984"/>
                  <a:gd name="T12" fmla="*/ 822 w 1274"/>
                  <a:gd name="T13" fmla="*/ 710 h 984"/>
                  <a:gd name="T14" fmla="*/ 787 w 1274"/>
                  <a:gd name="T15" fmla="*/ 731 h 984"/>
                  <a:gd name="T16" fmla="*/ 753 w 1274"/>
                  <a:gd name="T17" fmla="*/ 754 h 984"/>
                  <a:gd name="T18" fmla="*/ 719 w 1274"/>
                  <a:gd name="T19" fmla="*/ 778 h 984"/>
                  <a:gd name="T20" fmla="*/ 688 w 1274"/>
                  <a:gd name="T21" fmla="*/ 805 h 984"/>
                  <a:gd name="T22" fmla="*/ 666 w 1274"/>
                  <a:gd name="T23" fmla="*/ 826 h 984"/>
                  <a:gd name="T24" fmla="*/ 645 w 1274"/>
                  <a:gd name="T25" fmla="*/ 848 h 984"/>
                  <a:gd name="T26" fmla="*/ 619 w 1274"/>
                  <a:gd name="T27" fmla="*/ 881 h 984"/>
                  <a:gd name="T28" fmla="*/ 594 w 1274"/>
                  <a:gd name="T29" fmla="*/ 914 h 984"/>
                  <a:gd name="T30" fmla="*/ 572 w 1274"/>
                  <a:gd name="T31" fmla="*/ 948 h 984"/>
                  <a:gd name="T32" fmla="*/ 551 w 1274"/>
                  <a:gd name="T33" fmla="*/ 984 h 984"/>
                  <a:gd name="T34" fmla="*/ 0 w 1274"/>
                  <a:gd name="T35" fmla="*/ 665 h 984"/>
                  <a:gd name="T36" fmla="*/ 20 w 1274"/>
                  <a:gd name="T37" fmla="*/ 630 h 984"/>
                  <a:gd name="T38" fmla="*/ 52 w 1274"/>
                  <a:gd name="T39" fmla="*/ 578 h 984"/>
                  <a:gd name="T40" fmla="*/ 88 w 1274"/>
                  <a:gd name="T41" fmla="*/ 526 h 984"/>
                  <a:gd name="T42" fmla="*/ 125 w 1274"/>
                  <a:gd name="T43" fmla="*/ 478 h 984"/>
                  <a:gd name="T44" fmla="*/ 151 w 1274"/>
                  <a:gd name="T45" fmla="*/ 447 h 984"/>
                  <a:gd name="T46" fmla="*/ 178 w 1274"/>
                  <a:gd name="T47" fmla="*/ 416 h 984"/>
                  <a:gd name="T48" fmla="*/ 220 w 1274"/>
                  <a:gd name="T49" fmla="*/ 371 h 984"/>
                  <a:gd name="T50" fmla="*/ 250 w 1274"/>
                  <a:gd name="T51" fmla="*/ 343 h 984"/>
                  <a:gd name="T52" fmla="*/ 296 w 1274"/>
                  <a:gd name="T53" fmla="*/ 303 h 984"/>
                  <a:gd name="T54" fmla="*/ 343 w 1274"/>
                  <a:gd name="T55" fmla="*/ 264 h 984"/>
                  <a:gd name="T56" fmla="*/ 392 w 1274"/>
                  <a:gd name="T57" fmla="*/ 227 h 984"/>
                  <a:gd name="T58" fmla="*/ 444 w 1274"/>
                  <a:gd name="T59" fmla="*/ 194 h 984"/>
                  <a:gd name="T60" fmla="*/ 479 w 1274"/>
                  <a:gd name="T61" fmla="*/ 172 h 984"/>
                  <a:gd name="T62" fmla="*/ 551 w 1274"/>
                  <a:gd name="T63" fmla="*/ 133 h 984"/>
                  <a:gd name="T64" fmla="*/ 608 w 1274"/>
                  <a:gd name="T65" fmla="*/ 107 h 984"/>
                  <a:gd name="T66" fmla="*/ 646 w 1274"/>
                  <a:gd name="T67" fmla="*/ 91 h 984"/>
                  <a:gd name="T68" fmla="*/ 685 w 1274"/>
                  <a:gd name="T69" fmla="*/ 76 h 984"/>
                  <a:gd name="T70" fmla="*/ 745 w 1274"/>
                  <a:gd name="T71" fmla="*/ 56 h 984"/>
                  <a:gd name="T72" fmla="*/ 805 w 1274"/>
                  <a:gd name="T73" fmla="*/ 39 h 984"/>
                  <a:gd name="T74" fmla="*/ 846 w 1274"/>
                  <a:gd name="T75" fmla="*/ 29 h 984"/>
                  <a:gd name="T76" fmla="*/ 909 w 1274"/>
                  <a:gd name="T77" fmla="*/ 17 h 984"/>
                  <a:gd name="T78" fmla="*/ 951 w 1274"/>
                  <a:gd name="T79" fmla="*/ 11 h 984"/>
                  <a:gd name="T80" fmla="*/ 994 w 1274"/>
                  <a:gd name="T81" fmla="*/ 6 h 984"/>
                  <a:gd name="T82" fmla="*/ 1037 w 1274"/>
                  <a:gd name="T83" fmla="*/ 2 h 984"/>
                  <a:gd name="T84" fmla="*/ 1081 w 1274"/>
                  <a:gd name="T85" fmla="*/ 0 h 984"/>
                  <a:gd name="T86" fmla="*/ 1086 w 1274"/>
                  <a:gd name="T87" fmla="*/ 637 h 98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74"/>
                  <a:gd name="T133" fmla="*/ 0 h 984"/>
                  <a:gd name="T134" fmla="*/ 1274 w 1274"/>
                  <a:gd name="T135" fmla="*/ 984 h 98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74" h="984">
                    <a:moveTo>
                      <a:pt x="1086" y="637"/>
                    </a:moveTo>
                    <a:lnTo>
                      <a:pt x="1064" y="638"/>
                    </a:lnTo>
                    <a:lnTo>
                      <a:pt x="1042" y="641"/>
                    </a:lnTo>
                    <a:lnTo>
                      <a:pt x="1021" y="644"/>
                    </a:lnTo>
                    <a:lnTo>
                      <a:pt x="1000" y="647"/>
                    </a:lnTo>
                    <a:lnTo>
                      <a:pt x="979" y="652"/>
                    </a:lnTo>
                    <a:lnTo>
                      <a:pt x="959" y="657"/>
                    </a:lnTo>
                    <a:lnTo>
                      <a:pt x="938" y="662"/>
                    </a:lnTo>
                    <a:lnTo>
                      <a:pt x="918" y="669"/>
                    </a:lnTo>
                    <a:lnTo>
                      <a:pt x="899" y="676"/>
                    </a:lnTo>
                    <a:lnTo>
                      <a:pt x="879" y="683"/>
                    </a:lnTo>
                    <a:lnTo>
                      <a:pt x="859" y="692"/>
                    </a:lnTo>
                    <a:lnTo>
                      <a:pt x="841" y="700"/>
                    </a:lnTo>
                    <a:lnTo>
                      <a:pt x="822" y="710"/>
                    </a:lnTo>
                    <a:lnTo>
                      <a:pt x="804" y="721"/>
                    </a:lnTo>
                    <a:lnTo>
                      <a:pt x="787" y="731"/>
                    </a:lnTo>
                    <a:lnTo>
                      <a:pt x="769" y="742"/>
                    </a:lnTo>
                    <a:lnTo>
                      <a:pt x="753" y="754"/>
                    </a:lnTo>
                    <a:lnTo>
                      <a:pt x="736" y="766"/>
                    </a:lnTo>
                    <a:lnTo>
                      <a:pt x="719" y="778"/>
                    </a:lnTo>
                    <a:lnTo>
                      <a:pt x="703" y="791"/>
                    </a:lnTo>
                    <a:lnTo>
                      <a:pt x="688" y="805"/>
                    </a:lnTo>
                    <a:lnTo>
                      <a:pt x="673" y="819"/>
                    </a:lnTo>
                    <a:lnTo>
                      <a:pt x="666" y="826"/>
                    </a:lnTo>
                    <a:lnTo>
                      <a:pt x="659" y="834"/>
                    </a:lnTo>
                    <a:lnTo>
                      <a:pt x="645" y="848"/>
                    </a:lnTo>
                    <a:lnTo>
                      <a:pt x="632" y="864"/>
                    </a:lnTo>
                    <a:lnTo>
                      <a:pt x="619" y="881"/>
                    </a:lnTo>
                    <a:lnTo>
                      <a:pt x="606" y="897"/>
                    </a:lnTo>
                    <a:lnTo>
                      <a:pt x="594" y="914"/>
                    </a:lnTo>
                    <a:lnTo>
                      <a:pt x="583" y="931"/>
                    </a:lnTo>
                    <a:lnTo>
                      <a:pt x="572" y="948"/>
                    </a:lnTo>
                    <a:lnTo>
                      <a:pt x="561" y="966"/>
                    </a:lnTo>
                    <a:lnTo>
                      <a:pt x="551" y="984"/>
                    </a:lnTo>
                    <a:lnTo>
                      <a:pt x="397" y="659"/>
                    </a:lnTo>
                    <a:lnTo>
                      <a:pt x="0" y="665"/>
                    </a:lnTo>
                    <a:lnTo>
                      <a:pt x="10" y="647"/>
                    </a:lnTo>
                    <a:lnTo>
                      <a:pt x="20" y="630"/>
                    </a:lnTo>
                    <a:lnTo>
                      <a:pt x="41" y="595"/>
                    </a:lnTo>
                    <a:lnTo>
                      <a:pt x="52" y="578"/>
                    </a:lnTo>
                    <a:lnTo>
                      <a:pt x="64" y="561"/>
                    </a:lnTo>
                    <a:lnTo>
                      <a:pt x="88" y="526"/>
                    </a:lnTo>
                    <a:lnTo>
                      <a:pt x="113" y="494"/>
                    </a:lnTo>
                    <a:lnTo>
                      <a:pt x="125" y="478"/>
                    </a:lnTo>
                    <a:lnTo>
                      <a:pt x="138" y="462"/>
                    </a:lnTo>
                    <a:lnTo>
                      <a:pt x="151" y="447"/>
                    </a:lnTo>
                    <a:lnTo>
                      <a:pt x="164" y="431"/>
                    </a:lnTo>
                    <a:lnTo>
                      <a:pt x="178" y="416"/>
                    </a:lnTo>
                    <a:lnTo>
                      <a:pt x="192" y="401"/>
                    </a:lnTo>
                    <a:lnTo>
                      <a:pt x="220" y="371"/>
                    </a:lnTo>
                    <a:lnTo>
                      <a:pt x="235" y="357"/>
                    </a:lnTo>
                    <a:lnTo>
                      <a:pt x="250" y="343"/>
                    </a:lnTo>
                    <a:lnTo>
                      <a:pt x="280" y="316"/>
                    </a:lnTo>
                    <a:lnTo>
                      <a:pt x="296" y="303"/>
                    </a:lnTo>
                    <a:lnTo>
                      <a:pt x="311" y="290"/>
                    </a:lnTo>
                    <a:lnTo>
                      <a:pt x="343" y="264"/>
                    </a:lnTo>
                    <a:lnTo>
                      <a:pt x="376" y="239"/>
                    </a:lnTo>
                    <a:lnTo>
                      <a:pt x="392" y="227"/>
                    </a:lnTo>
                    <a:lnTo>
                      <a:pt x="410" y="216"/>
                    </a:lnTo>
                    <a:lnTo>
                      <a:pt x="444" y="194"/>
                    </a:lnTo>
                    <a:lnTo>
                      <a:pt x="462" y="183"/>
                    </a:lnTo>
                    <a:lnTo>
                      <a:pt x="479" y="172"/>
                    </a:lnTo>
                    <a:lnTo>
                      <a:pt x="515" y="152"/>
                    </a:lnTo>
                    <a:lnTo>
                      <a:pt x="551" y="133"/>
                    </a:lnTo>
                    <a:lnTo>
                      <a:pt x="589" y="116"/>
                    </a:lnTo>
                    <a:lnTo>
                      <a:pt x="608" y="107"/>
                    </a:lnTo>
                    <a:lnTo>
                      <a:pt x="627" y="99"/>
                    </a:lnTo>
                    <a:lnTo>
                      <a:pt x="646" y="91"/>
                    </a:lnTo>
                    <a:lnTo>
                      <a:pt x="665" y="84"/>
                    </a:lnTo>
                    <a:lnTo>
                      <a:pt x="685" y="76"/>
                    </a:lnTo>
                    <a:lnTo>
                      <a:pt x="704" y="69"/>
                    </a:lnTo>
                    <a:lnTo>
                      <a:pt x="745" y="56"/>
                    </a:lnTo>
                    <a:lnTo>
                      <a:pt x="785" y="44"/>
                    </a:lnTo>
                    <a:lnTo>
                      <a:pt x="805" y="39"/>
                    </a:lnTo>
                    <a:lnTo>
                      <a:pt x="825" y="34"/>
                    </a:lnTo>
                    <a:lnTo>
                      <a:pt x="846" y="29"/>
                    </a:lnTo>
                    <a:lnTo>
                      <a:pt x="866" y="25"/>
                    </a:lnTo>
                    <a:lnTo>
                      <a:pt x="909" y="17"/>
                    </a:lnTo>
                    <a:lnTo>
                      <a:pt x="930" y="14"/>
                    </a:lnTo>
                    <a:lnTo>
                      <a:pt x="951" y="11"/>
                    </a:lnTo>
                    <a:lnTo>
                      <a:pt x="972" y="8"/>
                    </a:lnTo>
                    <a:lnTo>
                      <a:pt x="994" y="6"/>
                    </a:lnTo>
                    <a:lnTo>
                      <a:pt x="1015" y="4"/>
                    </a:lnTo>
                    <a:lnTo>
                      <a:pt x="1037" y="2"/>
                    </a:lnTo>
                    <a:lnTo>
                      <a:pt x="1059" y="1"/>
                    </a:lnTo>
                    <a:lnTo>
                      <a:pt x="1081" y="0"/>
                    </a:lnTo>
                    <a:lnTo>
                      <a:pt x="1274" y="334"/>
                    </a:lnTo>
                    <a:lnTo>
                      <a:pt x="1086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0" name="Freeform 23"/>
              <p:cNvSpPr>
                <a:spLocks noChangeAspect="1"/>
              </p:cNvSpPr>
              <p:nvPr/>
            </p:nvSpPr>
            <p:spPr bwMode="auto">
              <a:xfrm>
                <a:off x="3143" y="1360"/>
                <a:ext cx="1076" cy="964"/>
              </a:xfrm>
              <a:custGeom>
                <a:avLst/>
                <a:gdLst>
                  <a:gd name="T0" fmla="*/ 22 w 1076"/>
                  <a:gd name="T1" fmla="*/ 637 h 964"/>
                  <a:gd name="T2" fmla="*/ 63 w 1076"/>
                  <a:gd name="T3" fmla="*/ 641 h 964"/>
                  <a:gd name="T4" fmla="*/ 103 w 1076"/>
                  <a:gd name="T5" fmla="*/ 648 h 964"/>
                  <a:gd name="T6" fmla="*/ 141 w 1076"/>
                  <a:gd name="T7" fmla="*/ 656 h 964"/>
                  <a:gd name="T8" fmla="*/ 179 w 1076"/>
                  <a:gd name="T9" fmla="*/ 668 h 964"/>
                  <a:gd name="T10" fmla="*/ 216 w 1076"/>
                  <a:gd name="T11" fmla="*/ 681 h 964"/>
                  <a:gd name="T12" fmla="*/ 252 w 1076"/>
                  <a:gd name="T13" fmla="*/ 696 h 964"/>
                  <a:gd name="T14" fmla="*/ 287 w 1076"/>
                  <a:gd name="T15" fmla="*/ 714 h 964"/>
                  <a:gd name="T16" fmla="*/ 320 w 1076"/>
                  <a:gd name="T17" fmla="*/ 735 h 964"/>
                  <a:gd name="T18" fmla="*/ 352 w 1076"/>
                  <a:gd name="T19" fmla="*/ 756 h 964"/>
                  <a:gd name="T20" fmla="*/ 384 w 1076"/>
                  <a:gd name="T21" fmla="*/ 779 h 964"/>
                  <a:gd name="T22" fmla="*/ 413 w 1076"/>
                  <a:gd name="T23" fmla="*/ 804 h 964"/>
                  <a:gd name="T24" fmla="*/ 440 w 1076"/>
                  <a:gd name="T25" fmla="*/ 831 h 964"/>
                  <a:gd name="T26" fmla="*/ 466 w 1076"/>
                  <a:gd name="T27" fmla="*/ 859 h 964"/>
                  <a:gd name="T28" fmla="*/ 490 w 1076"/>
                  <a:gd name="T29" fmla="*/ 890 h 964"/>
                  <a:gd name="T30" fmla="*/ 513 w 1076"/>
                  <a:gd name="T31" fmla="*/ 921 h 964"/>
                  <a:gd name="T32" fmla="*/ 884 w 1076"/>
                  <a:gd name="T33" fmla="*/ 964 h 964"/>
                  <a:gd name="T34" fmla="*/ 1066 w 1076"/>
                  <a:gd name="T35" fmla="*/ 604 h 964"/>
                  <a:gd name="T36" fmla="*/ 1033 w 1076"/>
                  <a:gd name="T37" fmla="*/ 553 h 964"/>
                  <a:gd name="T38" fmla="*/ 1009 w 1076"/>
                  <a:gd name="T39" fmla="*/ 521 h 964"/>
                  <a:gd name="T40" fmla="*/ 985 w 1076"/>
                  <a:gd name="T41" fmla="*/ 489 h 964"/>
                  <a:gd name="T42" fmla="*/ 960 w 1076"/>
                  <a:gd name="T43" fmla="*/ 458 h 964"/>
                  <a:gd name="T44" fmla="*/ 934 w 1076"/>
                  <a:gd name="T45" fmla="*/ 428 h 964"/>
                  <a:gd name="T46" fmla="*/ 894 w 1076"/>
                  <a:gd name="T47" fmla="*/ 384 h 964"/>
                  <a:gd name="T48" fmla="*/ 850 w 1076"/>
                  <a:gd name="T49" fmla="*/ 342 h 964"/>
                  <a:gd name="T50" fmla="*/ 806 w 1076"/>
                  <a:gd name="T51" fmla="*/ 303 h 964"/>
                  <a:gd name="T52" fmla="*/ 759 w 1076"/>
                  <a:gd name="T53" fmla="*/ 266 h 964"/>
                  <a:gd name="T54" fmla="*/ 694 w 1076"/>
                  <a:gd name="T55" fmla="*/ 218 h 964"/>
                  <a:gd name="T56" fmla="*/ 661 w 1076"/>
                  <a:gd name="T57" fmla="*/ 196 h 964"/>
                  <a:gd name="T58" fmla="*/ 592 w 1076"/>
                  <a:gd name="T59" fmla="*/ 156 h 964"/>
                  <a:gd name="T60" fmla="*/ 557 w 1076"/>
                  <a:gd name="T61" fmla="*/ 137 h 964"/>
                  <a:gd name="T62" fmla="*/ 501 w 1076"/>
                  <a:gd name="T63" fmla="*/ 112 h 964"/>
                  <a:gd name="T64" fmla="*/ 446 w 1076"/>
                  <a:gd name="T65" fmla="*/ 88 h 964"/>
                  <a:gd name="T66" fmla="*/ 408 w 1076"/>
                  <a:gd name="T67" fmla="*/ 73 h 964"/>
                  <a:gd name="T68" fmla="*/ 330 w 1076"/>
                  <a:gd name="T69" fmla="*/ 48 h 964"/>
                  <a:gd name="T70" fmla="*/ 290 w 1076"/>
                  <a:gd name="T71" fmla="*/ 38 h 964"/>
                  <a:gd name="T72" fmla="*/ 250 w 1076"/>
                  <a:gd name="T73" fmla="*/ 29 h 964"/>
                  <a:gd name="T74" fmla="*/ 209 w 1076"/>
                  <a:gd name="T75" fmla="*/ 21 h 964"/>
                  <a:gd name="T76" fmla="*/ 127 w 1076"/>
                  <a:gd name="T77" fmla="*/ 8 h 964"/>
                  <a:gd name="T78" fmla="*/ 85 w 1076"/>
                  <a:gd name="T79" fmla="*/ 4 h 964"/>
                  <a:gd name="T80" fmla="*/ 42 w 1076"/>
                  <a:gd name="T81" fmla="*/ 1 h 964"/>
                  <a:gd name="T82" fmla="*/ 0 w 1076"/>
                  <a:gd name="T83" fmla="*/ 0 h 964"/>
                  <a:gd name="T84" fmla="*/ 1 w 1076"/>
                  <a:gd name="T85" fmla="*/ 636 h 96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76"/>
                  <a:gd name="T130" fmla="*/ 0 h 964"/>
                  <a:gd name="T131" fmla="*/ 1076 w 1076"/>
                  <a:gd name="T132" fmla="*/ 964 h 96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76" h="964">
                    <a:moveTo>
                      <a:pt x="1" y="636"/>
                    </a:moveTo>
                    <a:lnTo>
                      <a:pt x="22" y="637"/>
                    </a:lnTo>
                    <a:lnTo>
                      <a:pt x="42" y="639"/>
                    </a:lnTo>
                    <a:lnTo>
                      <a:pt x="63" y="641"/>
                    </a:lnTo>
                    <a:lnTo>
                      <a:pt x="83" y="644"/>
                    </a:lnTo>
                    <a:lnTo>
                      <a:pt x="103" y="648"/>
                    </a:lnTo>
                    <a:lnTo>
                      <a:pt x="122" y="652"/>
                    </a:lnTo>
                    <a:lnTo>
                      <a:pt x="141" y="656"/>
                    </a:lnTo>
                    <a:lnTo>
                      <a:pt x="160" y="662"/>
                    </a:lnTo>
                    <a:lnTo>
                      <a:pt x="179" y="668"/>
                    </a:lnTo>
                    <a:lnTo>
                      <a:pt x="198" y="674"/>
                    </a:lnTo>
                    <a:lnTo>
                      <a:pt x="216" y="681"/>
                    </a:lnTo>
                    <a:lnTo>
                      <a:pt x="235" y="688"/>
                    </a:lnTo>
                    <a:lnTo>
                      <a:pt x="252" y="696"/>
                    </a:lnTo>
                    <a:lnTo>
                      <a:pt x="270" y="705"/>
                    </a:lnTo>
                    <a:lnTo>
                      <a:pt x="287" y="714"/>
                    </a:lnTo>
                    <a:lnTo>
                      <a:pt x="304" y="724"/>
                    </a:lnTo>
                    <a:lnTo>
                      <a:pt x="320" y="735"/>
                    </a:lnTo>
                    <a:lnTo>
                      <a:pt x="336" y="745"/>
                    </a:lnTo>
                    <a:lnTo>
                      <a:pt x="352" y="756"/>
                    </a:lnTo>
                    <a:lnTo>
                      <a:pt x="368" y="767"/>
                    </a:lnTo>
                    <a:lnTo>
                      <a:pt x="384" y="779"/>
                    </a:lnTo>
                    <a:lnTo>
                      <a:pt x="398" y="792"/>
                    </a:lnTo>
                    <a:lnTo>
                      <a:pt x="413" y="804"/>
                    </a:lnTo>
                    <a:lnTo>
                      <a:pt x="427" y="817"/>
                    </a:lnTo>
                    <a:lnTo>
                      <a:pt x="440" y="831"/>
                    </a:lnTo>
                    <a:lnTo>
                      <a:pt x="453" y="845"/>
                    </a:lnTo>
                    <a:lnTo>
                      <a:pt x="466" y="859"/>
                    </a:lnTo>
                    <a:lnTo>
                      <a:pt x="478" y="874"/>
                    </a:lnTo>
                    <a:lnTo>
                      <a:pt x="490" y="890"/>
                    </a:lnTo>
                    <a:lnTo>
                      <a:pt x="502" y="906"/>
                    </a:lnTo>
                    <a:lnTo>
                      <a:pt x="513" y="921"/>
                    </a:lnTo>
                    <a:lnTo>
                      <a:pt x="523" y="938"/>
                    </a:lnTo>
                    <a:lnTo>
                      <a:pt x="884" y="964"/>
                    </a:lnTo>
                    <a:lnTo>
                      <a:pt x="1076" y="621"/>
                    </a:lnTo>
                    <a:lnTo>
                      <a:pt x="1066" y="604"/>
                    </a:lnTo>
                    <a:lnTo>
                      <a:pt x="1055" y="587"/>
                    </a:lnTo>
                    <a:lnTo>
                      <a:pt x="1033" y="553"/>
                    </a:lnTo>
                    <a:lnTo>
                      <a:pt x="1022" y="537"/>
                    </a:lnTo>
                    <a:lnTo>
                      <a:pt x="1009" y="521"/>
                    </a:lnTo>
                    <a:lnTo>
                      <a:pt x="997" y="505"/>
                    </a:lnTo>
                    <a:lnTo>
                      <a:pt x="985" y="489"/>
                    </a:lnTo>
                    <a:lnTo>
                      <a:pt x="973" y="474"/>
                    </a:lnTo>
                    <a:lnTo>
                      <a:pt x="960" y="458"/>
                    </a:lnTo>
                    <a:lnTo>
                      <a:pt x="947" y="443"/>
                    </a:lnTo>
                    <a:lnTo>
                      <a:pt x="934" y="428"/>
                    </a:lnTo>
                    <a:lnTo>
                      <a:pt x="907" y="398"/>
                    </a:lnTo>
                    <a:lnTo>
                      <a:pt x="894" y="384"/>
                    </a:lnTo>
                    <a:lnTo>
                      <a:pt x="880" y="370"/>
                    </a:lnTo>
                    <a:lnTo>
                      <a:pt x="850" y="342"/>
                    </a:lnTo>
                    <a:lnTo>
                      <a:pt x="821" y="316"/>
                    </a:lnTo>
                    <a:lnTo>
                      <a:pt x="806" y="303"/>
                    </a:lnTo>
                    <a:lnTo>
                      <a:pt x="790" y="290"/>
                    </a:lnTo>
                    <a:lnTo>
                      <a:pt x="759" y="266"/>
                    </a:lnTo>
                    <a:lnTo>
                      <a:pt x="727" y="242"/>
                    </a:lnTo>
                    <a:lnTo>
                      <a:pt x="694" y="218"/>
                    </a:lnTo>
                    <a:lnTo>
                      <a:pt x="677" y="207"/>
                    </a:lnTo>
                    <a:lnTo>
                      <a:pt x="661" y="196"/>
                    </a:lnTo>
                    <a:lnTo>
                      <a:pt x="627" y="176"/>
                    </a:lnTo>
                    <a:lnTo>
                      <a:pt x="592" y="156"/>
                    </a:lnTo>
                    <a:lnTo>
                      <a:pt x="574" y="147"/>
                    </a:lnTo>
                    <a:lnTo>
                      <a:pt x="557" y="137"/>
                    </a:lnTo>
                    <a:lnTo>
                      <a:pt x="520" y="120"/>
                    </a:lnTo>
                    <a:lnTo>
                      <a:pt x="501" y="112"/>
                    </a:lnTo>
                    <a:lnTo>
                      <a:pt x="483" y="103"/>
                    </a:lnTo>
                    <a:lnTo>
                      <a:pt x="446" y="88"/>
                    </a:lnTo>
                    <a:lnTo>
                      <a:pt x="427" y="81"/>
                    </a:lnTo>
                    <a:lnTo>
                      <a:pt x="408" y="73"/>
                    </a:lnTo>
                    <a:lnTo>
                      <a:pt x="368" y="60"/>
                    </a:lnTo>
                    <a:lnTo>
                      <a:pt x="330" y="48"/>
                    </a:lnTo>
                    <a:lnTo>
                      <a:pt x="310" y="43"/>
                    </a:lnTo>
                    <a:lnTo>
                      <a:pt x="290" y="38"/>
                    </a:lnTo>
                    <a:lnTo>
                      <a:pt x="270" y="33"/>
                    </a:lnTo>
                    <a:lnTo>
                      <a:pt x="250" y="29"/>
                    </a:lnTo>
                    <a:lnTo>
                      <a:pt x="230" y="24"/>
                    </a:lnTo>
                    <a:lnTo>
                      <a:pt x="209" y="21"/>
                    </a:lnTo>
                    <a:lnTo>
                      <a:pt x="168" y="14"/>
                    </a:lnTo>
                    <a:lnTo>
                      <a:pt x="127" y="8"/>
                    </a:lnTo>
                    <a:lnTo>
                      <a:pt x="106" y="6"/>
                    </a:lnTo>
                    <a:lnTo>
                      <a:pt x="85" y="4"/>
                    </a:lnTo>
                    <a:lnTo>
                      <a:pt x="64" y="3"/>
                    </a:lnTo>
                    <a:lnTo>
                      <a:pt x="42" y="1"/>
                    </a:lnTo>
                    <a:lnTo>
                      <a:pt x="21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1" y="6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1" name="Freeform 24"/>
              <p:cNvSpPr>
                <a:spLocks noChangeAspect="1"/>
              </p:cNvSpPr>
              <p:nvPr/>
            </p:nvSpPr>
            <p:spPr bwMode="auto">
              <a:xfrm>
                <a:off x="3694" y="2043"/>
                <a:ext cx="707" cy="1215"/>
              </a:xfrm>
              <a:custGeom>
                <a:avLst/>
                <a:gdLst>
                  <a:gd name="T0" fmla="*/ 355 w 707"/>
                  <a:gd name="T1" fmla="*/ 358 h 1215"/>
                  <a:gd name="T2" fmla="*/ 15 w 707"/>
                  <a:gd name="T3" fmla="*/ 334 h 1215"/>
                  <a:gd name="T4" fmla="*/ 29 w 707"/>
                  <a:gd name="T5" fmla="*/ 367 h 1215"/>
                  <a:gd name="T6" fmla="*/ 40 w 707"/>
                  <a:gd name="T7" fmla="*/ 400 h 1215"/>
                  <a:gd name="T8" fmla="*/ 50 w 707"/>
                  <a:gd name="T9" fmla="*/ 434 h 1215"/>
                  <a:gd name="T10" fmla="*/ 58 w 707"/>
                  <a:gd name="T11" fmla="*/ 469 h 1215"/>
                  <a:gd name="T12" fmla="*/ 64 w 707"/>
                  <a:gd name="T13" fmla="*/ 504 h 1215"/>
                  <a:gd name="T14" fmla="*/ 68 w 707"/>
                  <a:gd name="T15" fmla="*/ 541 h 1215"/>
                  <a:gd name="T16" fmla="*/ 70 w 707"/>
                  <a:gd name="T17" fmla="*/ 578 h 1215"/>
                  <a:gd name="T18" fmla="*/ 70 w 707"/>
                  <a:gd name="T19" fmla="*/ 616 h 1215"/>
                  <a:gd name="T20" fmla="*/ 68 w 707"/>
                  <a:gd name="T21" fmla="*/ 655 h 1215"/>
                  <a:gd name="T22" fmla="*/ 63 w 707"/>
                  <a:gd name="T23" fmla="*/ 694 h 1215"/>
                  <a:gd name="T24" fmla="*/ 57 w 707"/>
                  <a:gd name="T25" fmla="*/ 732 h 1215"/>
                  <a:gd name="T26" fmla="*/ 48 w 707"/>
                  <a:gd name="T27" fmla="*/ 769 h 1215"/>
                  <a:gd name="T28" fmla="*/ 36 w 707"/>
                  <a:gd name="T29" fmla="*/ 805 h 1215"/>
                  <a:gd name="T30" fmla="*/ 23 w 707"/>
                  <a:gd name="T31" fmla="*/ 841 h 1215"/>
                  <a:gd name="T32" fmla="*/ 8 w 707"/>
                  <a:gd name="T33" fmla="*/ 875 h 1215"/>
                  <a:gd name="T34" fmla="*/ 159 w 707"/>
                  <a:gd name="T35" fmla="*/ 1215 h 1215"/>
                  <a:gd name="T36" fmla="*/ 571 w 707"/>
                  <a:gd name="T37" fmla="*/ 1172 h 1215"/>
                  <a:gd name="T38" fmla="*/ 604 w 707"/>
                  <a:gd name="T39" fmla="*/ 1101 h 1215"/>
                  <a:gd name="T40" fmla="*/ 633 w 707"/>
                  <a:gd name="T41" fmla="*/ 1029 h 1215"/>
                  <a:gd name="T42" fmla="*/ 657 w 707"/>
                  <a:gd name="T43" fmla="*/ 954 h 1215"/>
                  <a:gd name="T44" fmla="*/ 667 w 707"/>
                  <a:gd name="T45" fmla="*/ 916 h 1215"/>
                  <a:gd name="T46" fmla="*/ 685 w 707"/>
                  <a:gd name="T47" fmla="*/ 839 h 1215"/>
                  <a:gd name="T48" fmla="*/ 697 w 707"/>
                  <a:gd name="T49" fmla="*/ 759 h 1215"/>
                  <a:gd name="T50" fmla="*/ 702 w 707"/>
                  <a:gd name="T51" fmla="*/ 719 h 1215"/>
                  <a:gd name="T52" fmla="*/ 707 w 707"/>
                  <a:gd name="T53" fmla="*/ 637 h 1215"/>
                  <a:gd name="T54" fmla="*/ 707 w 707"/>
                  <a:gd name="T55" fmla="*/ 597 h 1215"/>
                  <a:gd name="T56" fmla="*/ 705 w 707"/>
                  <a:gd name="T57" fmla="*/ 516 h 1215"/>
                  <a:gd name="T58" fmla="*/ 702 w 707"/>
                  <a:gd name="T59" fmla="*/ 477 h 1215"/>
                  <a:gd name="T60" fmla="*/ 698 w 707"/>
                  <a:gd name="T61" fmla="*/ 438 h 1215"/>
                  <a:gd name="T62" fmla="*/ 689 w 707"/>
                  <a:gd name="T63" fmla="*/ 380 h 1215"/>
                  <a:gd name="T64" fmla="*/ 678 w 707"/>
                  <a:gd name="T65" fmla="*/ 322 h 1215"/>
                  <a:gd name="T66" fmla="*/ 670 w 707"/>
                  <a:gd name="T67" fmla="*/ 284 h 1215"/>
                  <a:gd name="T68" fmla="*/ 660 w 707"/>
                  <a:gd name="T69" fmla="*/ 247 h 1215"/>
                  <a:gd name="T70" fmla="*/ 637 w 707"/>
                  <a:gd name="T71" fmla="*/ 174 h 1215"/>
                  <a:gd name="T72" fmla="*/ 609 w 707"/>
                  <a:gd name="T73" fmla="*/ 103 h 1215"/>
                  <a:gd name="T74" fmla="*/ 594 w 707"/>
                  <a:gd name="T75" fmla="*/ 68 h 1215"/>
                  <a:gd name="T76" fmla="*/ 561 w 707"/>
                  <a:gd name="T77" fmla="*/ 0 h 12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07"/>
                  <a:gd name="T118" fmla="*/ 0 h 1215"/>
                  <a:gd name="T119" fmla="*/ 707 w 707"/>
                  <a:gd name="T120" fmla="*/ 1215 h 121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07" h="1215">
                    <a:moveTo>
                      <a:pt x="561" y="0"/>
                    </a:moveTo>
                    <a:lnTo>
                      <a:pt x="355" y="358"/>
                    </a:lnTo>
                    <a:lnTo>
                      <a:pt x="8" y="318"/>
                    </a:lnTo>
                    <a:lnTo>
                      <a:pt x="15" y="334"/>
                    </a:lnTo>
                    <a:lnTo>
                      <a:pt x="22" y="350"/>
                    </a:lnTo>
                    <a:lnTo>
                      <a:pt x="29" y="367"/>
                    </a:lnTo>
                    <a:lnTo>
                      <a:pt x="35" y="384"/>
                    </a:lnTo>
                    <a:lnTo>
                      <a:pt x="40" y="400"/>
                    </a:lnTo>
                    <a:lnTo>
                      <a:pt x="46" y="417"/>
                    </a:lnTo>
                    <a:lnTo>
                      <a:pt x="50" y="434"/>
                    </a:lnTo>
                    <a:lnTo>
                      <a:pt x="54" y="452"/>
                    </a:lnTo>
                    <a:lnTo>
                      <a:pt x="58" y="469"/>
                    </a:lnTo>
                    <a:lnTo>
                      <a:pt x="61" y="487"/>
                    </a:lnTo>
                    <a:lnTo>
                      <a:pt x="64" y="504"/>
                    </a:lnTo>
                    <a:lnTo>
                      <a:pt x="67" y="523"/>
                    </a:lnTo>
                    <a:lnTo>
                      <a:pt x="68" y="541"/>
                    </a:lnTo>
                    <a:lnTo>
                      <a:pt x="70" y="560"/>
                    </a:lnTo>
                    <a:lnTo>
                      <a:pt x="70" y="578"/>
                    </a:lnTo>
                    <a:lnTo>
                      <a:pt x="71" y="597"/>
                    </a:lnTo>
                    <a:lnTo>
                      <a:pt x="70" y="616"/>
                    </a:lnTo>
                    <a:lnTo>
                      <a:pt x="70" y="636"/>
                    </a:lnTo>
                    <a:lnTo>
                      <a:pt x="68" y="655"/>
                    </a:lnTo>
                    <a:lnTo>
                      <a:pt x="66" y="674"/>
                    </a:lnTo>
                    <a:lnTo>
                      <a:pt x="63" y="694"/>
                    </a:lnTo>
                    <a:lnTo>
                      <a:pt x="60" y="713"/>
                    </a:lnTo>
                    <a:lnTo>
                      <a:pt x="57" y="732"/>
                    </a:lnTo>
                    <a:lnTo>
                      <a:pt x="52" y="750"/>
                    </a:lnTo>
                    <a:lnTo>
                      <a:pt x="48" y="769"/>
                    </a:lnTo>
                    <a:lnTo>
                      <a:pt x="42" y="787"/>
                    </a:lnTo>
                    <a:lnTo>
                      <a:pt x="36" y="805"/>
                    </a:lnTo>
                    <a:lnTo>
                      <a:pt x="30" y="822"/>
                    </a:lnTo>
                    <a:lnTo>
                      <a:pt x="23" y="841"/>
                    </a:lnTo>
                    <a:lnTo>
                      <a:pt x="16" y="858"/>
                    </a:lnTo>
                    <a:lnTo>
                      <a:pt x="8" y="875"/>
                    </a:lnTo>
                    <a:lnTo>
                      <a:pt x="0" y="891"/>
                    </a:lnTo>
                    <a:lnTo>
                      <a:pt x="159" y="1215"/>
                    </a:lnTo>
                    <a:lnTo>
                      <a:pt x="553" y="1206"/>
                    </a:lnTo>
                    <a:lnTo>
                      <a:pt x="571" y="1172"/>
                    </a:lnTo>
                    <a:lnTo>
                      <a:pt x="588" y="1136"/>
                    </a:lnTo>
                    <a:lnTo>
                      <a:pt x="604" y="1101"/>
                    </a:lnTo>
                    <a:lnTo>
                      <a:pt x="618" y="1065"/>
                    </a:lnTo>
                    <a:lnTo>
                      <a:pt x="633" y="1029"/>
                    </a:lnTo>
                    <a:lnTo>
                      <a:pt x="646" y="991"/>
                    </a:lnTo>
                    <a:lnTo>
                      <a:pt x="657" y="954"/>
                    </a:lnTo>
                    <a:lnTo>
                      <a:pt x="662" y="935"/>
                    </a:lnTo>
                    <a:lnTo>
                      <a:pt x="667" y="916"/>
                    </a:lnTo>
                    <a:lnTo>
                      <a:pt x="677" y="878"/>
                    </a:lnTo>
                    <a:lnTo>
                      <a:pt x="685" y="839"/>
                    </a:lnTo>
                    <a:lnTo>
                      <a:pt x="691" y="799"/>
                    </a:lnTo>
                    <a:lnTo>
                      <a:pt x="697" y="759"/>
                    </a:lnTo>
                    <a:lnTo>
                      <a:pt x="699" y="739"/>
                    </a:lnTo>
                    <a:lnTo>
                      <a:pt x="702" y="719"/>
                    </a:lnTo>
                    <a:lnTo>
                      <a:pt x="705" y="679"/>
                    </a:lnTo>
                    <a:lnTo>
                      <a:pt x="707" y="637"/>
                    </a:lnTo>
                    <a:lnTo>
                      <a:pt x="707" y="617"/>
                    </a:lnTo>
                    <a:lnTo>
                      <a:pt x="707" y="597"/>
                    </a:lnTo>
                    <a:lnTo>
                      <a:pt x="707" y="557"/>
                    </a:lnTo>
                    <a:lnTo>
                      <a:pt x="705" y="516"/>
                    </a:lnTo>
                    <a:lnTo>
                      <a:pt x="704" y="496"/>
                    </a:lnTo>
                    <a:lnTo>
                      <a:pt x="702" y="477"/>
                    </a:lnTo>
                    <a:lnTo>
                      <a:pt x="700" y="457"/>
                    </a:lnTo>
                    <a:lnTo>
                      <a:pt x="698" y="438"/>
                    </a:lnTo>
                    <a:lnTo>
                      <a:pt x="692" y="399"/>
                    </a:lnTo>
                    <a:lnTo>
                      <a:pt x="689" y="380"/>
                    </a:lnTo>
                    <a:lnTo>
                      <a:pt x="686" y="361"/>
                    </a:lnTo>
                    <a:lnTo>
                      <a:pt x="678" y="322"/>
                    </a:lnTo>
                    <a:lnTo>
                      <a:pt x="674" y="303"/>
                    </a:lnTo>
                    <a:lnTo>
                      <a:pt x="670" y="284"/>
                    </a:lnTo>
                    <a:lnTo>
                      <a:pt x="665" y="266"/>
                    </a:lnTo>
                    <a:lnTo>
                      <a:pt x="660" y="247"/>
                    </a:lnTo>
                    <a:lnTo>
                      <a:pt x="649" y="211"/>
                    </a:lnTo>
                    <a:lnTo>
                      <a:pt x="637" y="174"/>
                    </a:lnTo>
                    <a:lnTo>
                      <a:pt x="623" y="138"/>
                    </a:lnTo>
                    <a:lnTo>
                      <a:pt x="609" y="103"/>
                    </a:lnTo>
                    <a:lnTo>
                      <a:pt x="602" y="86"/>
                    </a:lnTo>
                    <a:lnTo>
                      <a:pt x="594" y="68"/>
                    </a:lnTo>
                    <a:lnTo>
                      <a:pt x="578" y="33"/>
                    </a:lnTo>
                    <a:lnTo>
                      <a:pt x="5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2" name="Freeform 25"/>
              <p:cNvSpPr>
                <a:spLocks noChangeAspect="1"/>
              </p:cNvSpPr>
              <p:nvPr/>
            </p:nvSpPr>
            <p:spPr bwMode="auto">
              <a:xfrm>
                <a:off x="3009" y="2989"/>
                <a:ext cx="1206" cy="930"/>
              </a:xfrm>
              <a:custGeom>
                <a:avLst/>
                <a:gdLst>
                  <a:gd name="T0" fmla="*/ 642 w 1206"/>
                  <a:gd name="T1" fmla="*/ 15 h 930"/>
                  <a:gd name="T2" fmla="*/ 622 w 1206"/>
                  <a:gd name="T3" fmla="*/ 42 h 930"/>
                  <a:gd name="T4" fmla="*/ 601 w 1206"/>
                  <a:gd name="T5" fmla="*/ 70 h 930"/>
                  <a:gd name="T6" fmla="*/ 578 w 1206"/>
                  <a:gd name="T7" fmla="*/ 95 h 930"/>
                  <a:gd name="T8" fmla="*/ 554 w 1206"/>
                  <a:gd name="T9" fmla="*/ 119 h 930"/>
                  <a:gd name="T10" fmla="*/ 528 w 1206"/>
                  <a:gd name="T11" fmla="*/ 142 h 930"/>
                  <a:gd name="T12" fmla="*/ 501 w 1206"/>
                  <a:gd name="T13" fmla="*/ 163 h 930"/>
                  <a:gd name="T14" fmla="*/ 473 w 1206"/>
                  <a:gd name="T15" fmla="*/ 183 h 930"/>
                  <a:gd name="T16" fmla="*/ 444 w 1206"/>
                  <a:gd name="T17" fmla="*/ 202 h 930"/>
                  <a:gd name="T18" fmla="*/ 414 w 1206"/>
                  <a:gd name="T19" fmla="*/ 220 h 930"/>
                  <a:gd name="T20" fmla="*/ 384 w 1206"/>
                  <a:gd name="T21" fmla="*/ 235 h 930"/>
                  <a:gd name="T22" fmla="*/ 352 w 1206"/>
                  <a:gd name="T23" fmla="*/ 249 h 930"/>
                  <a:gd name="T24" fmla="*/ 318 w 1206"/>
                  <a:gd name="T25" fmla="*/ 261 h 930"/>
                  <a:gd name="T26" fmla="*/ 285 w 1206"/>
                  <a:gd name="T27" fmla="*/ 271 h 930"/>
                  <a:gd name="T28" fmla="*/ 233 w 1206"/>
                  <a:gd name="T29" fmla="*/ 283 h 930"/>
                  <a:gd name="T30" fmla="*/ 198 w 1206"/>
                  <a:gd name="T31" fmla="*/ 289 h 930"/>
                  <a:gd name="T32" fmla="*/ 197 w 1206"/>
                  <a:gd name="T33" fmla="*/ 930 h 930"/>
                  <a:gd name="T34" fmla="*/ 237 w 1206"/>
                  <a:gd name="T35" fmla="*/ 926 h 930"/>
                  <a:gd name="T36" fmla="*/ 276 w 1206"/>
                  <a:gd name="T37" fmla="*/ 922 h 930"/>
                  <a:gd name="T38" fmla="*/ 334 w 1206"/>
                  <a:gd name="T39" fmla="*/ 913 h 930"/>
                  <a:gd name="T40" fmla="*/ 374 w 1206"/>
                  <a:gd name="T41" fmla="*/ 906 h 930"/>
                  <a:gd name="T42" fmla="*/ 412 w 1206"/>
                  <a:gd name="T43" fmla="*/ 897 h 930"/>
                  <a:gd name="T44" fmla="*/ 449 w 1206"/>
                  <a:gd name="T45" fmla="*/ 888 h 930"/>
                  <a:gd name="T46" fmla="*/ 505 w 1206"/>
                  <a:gd name="T47" fmla="*/ 871 h 930"/>
                  <a:gd name="T48" fmla="*/ 560 w 1206"/>
                  <a:gd name="T49" fmla="*/ 852 h 930"/>
                  <a:gd name="T50" fmla="*/ 613 w 1206"/>
                  <a:gd name="T51" fmla="*/ 830 h 930"/>
                  <a:gd name="T52" fmla="*/ 665 w 1206"/>
                  <a:gd name="T53" fmla="*/ 806 h 930"/>
                  <a:gd name="T54" fmla="*/ 717 w 1206"/>
                  <a:gd name="T55" fmla="*/ 780 h 930"/>
                  <a:gd name="T56" fmla="*/ 750 w 1206"/>
                  <a:gd name="T57" fmla="*/ 762 h 930"/>
                  <a:gd name="T58" fmla="*/ 798 w 1206"/>
                  <a:gd name="T59" fmla="*/ 733 h 930"/>
                  <a:gd name="T60" fmla="*/ 846 w 1206"/>
                  <a:gd name="T61" fmla="*/ 701 h 930"/>
                  <a:gd name="T62" fmla="*/ 906 w 1206"/>
                  <a:gd name="T63" fmla="*/ 655 h 930"/>
                  <a:gd name="T64" fmla="*/ 950 w 1206"/>
                  <a:gd name="T65" fmla="*/ 619 h 930"/>
                  <a:gd name="T66" fmla="*/ 978 w 1206"/>
                  <a:gd name="T67" fmla="*/ 594 h 930"/>
                  <a:gd name="T68" fmla="*/ 1006 w 1206"/>
                  <a:gd name="T69" fmla="*/ 568 h 930"/>
                  <a:gd name="T70" fmla="*/ 1045 w 1206"/>
                  <a:gd name="T71" fmla="*/ 527 h 930"/>
                  <a:gd name="T72" fmla="*/ 1095 w 1206"/>
                  <a:gd name="T73" fmla="*/ 471 h 930"/>
                  <a:gd name="T74" fmla="*/ 1119 w 1206"/>
                  <a:gd name="T75" fmla="*/ 441 h 930"/>
                  <a:gd name="T76" fmla="*/ 1142 w 1206"/>
                  <a:gd name="T77" fmla="*/ 412 h 930"/>
                  <a:gd name="T78" fmla="*/ 1175 w 1206"/>
                  <a:gd name="T79" fmla="*/ 364 h 930"/>
                  <a:gd name="T80" fmla="*/ 1206 w 1206"/>
                  <a:gd name="T81" fmla="*/ 317 h 930"/>
                  <a:gd name="T82" fmla="*/ 652 w 1206"/>
                  <a:gd name="T83" fmla="*/ 0 h 93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206"/>
                  <a:gd name="T127" fmla="*/ 0 h 930"/>
                  <a:gd name="T128" fmla="*/ 1206 w 1206"/>
                  <a:gd name="T129" fmla="*/ 930 h 93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206" h="930">
                    <a:moveTo>
                      <a:pt x="652" y="0"/>
                    </a:moveTo>
                    <a:lnTo>
                      <a:pt x="642" y="15"/>
                    </a:lnTo>
                    <a:lnTo>
                      <a:pt x="633" y="29"/>
                    </a:lnTo>
                    <a:lnTo>
                      <a:pt x="622" y="42"/>
                    </a:lnTo>
                    <a:lnTo>
                      <a:pt x="612" y="57"/>
                    </a:lnTo>
                    <a:lnTo>
                      <a:pt x="601" y="70"/>
                    </a:lnTo>
                    <a:lnTo>
                      <a:pt x="590" y="83"/>
                    </a:lnTo>
                    <a:lnTo>
                      <a:pt x="578" y="95"/>
                    </a:lnTo>
                    <a:lnTo>
                      <a:pt x="566" y="107"/>
                    </a:lnTo>
                    <a:lnTo>
                      <a:pt x="554" y="119"/>
                    </a:lnTo>
                    <a:lnTo>
                      <a:pt x="541" y="131"/>
                    </a:lnTo>
                    <a:lnTo>
                      <a:pt x="528" y="142"/>
                    </a:lnTo>
                    <a:lnTo>
                      <a:pt x="515" y="153"/>
                    </a:lnTo>
                    <a:lnTo>
                      <a:pt x="501" y="163"/>
                    </a:lnTo>
                    <a:lnTo>
                      <a:pt x="487" y="173"/>
                    </a:lnTo>
                    <a:lnTo>
                      <a:pt x="473" y="183"/>
                    </a:lnTo>
                    <a:lnTo>
                      <a:pt x="459" y="193"/>
                    </a:lnTo>
                    <a:lnTo>
                      <a:pt x="444" y="202"/>
                    </a:lnTo>
                    <a:lnTo>
                      <a:pt x="429" y="210"/>
                    </a:lnTo>
                    <a:lnTo>
                      <a:pt x="414" y="220"/>
                    </a:lnTo>
                    <a:lnTo>
                      <a:pt x="399" y="228"/>
                    </a:lnTo>
                    <a:lnTo>
                      <a:pt x="384" y="235"/>
                    </a:lnTo>
                    <a:lnTo>
                      <a:pt x="368" y="242"/>
                    </a:lnTo>
                    <a:lnTo>
                      <a:pt x="352" y="249"/>
                    </a:lnTo>
                    <a:lnTo>
                      <a:pt x="335" y="255"/>
                    </a:lnTo>
                    <a:lnTo>
                      <a:pt x="318" y="261"/>
                    </a:lnTo>
                    <a:lnTo>
                      <a:pt x="302" y="266"/>
                    </a:lnTo>
                    <a:lnTo>
                      <a:pt x="285" y="271"/>
                    </a:lnTo>
                    <a:lnTo>
                      <a:pt x="268" y="276"/>
                    </a:lnTo>
                    <a:lnTo>
                      <a:pt x="233" y="283"/>
                    </a:lnTo>
                    <a:lnTo>
                      <a:pt x="216" y="286"/>
                    </a:lnTo>
                    <a:lnTo>
                      <a:pt x="198" y="289"/>
                    </a:lnTo>
                    <a:lnTo>
                      <a:pt x="0" y="600"/>
                    </a:lnTo>
                    <a:lnTo>
                      <a:pt x="197" y="930"/>
                    </a:lnTo>
                    <a:lnTo>
                      <a:pt x="217" y="928"/>
                    </a:lnTo>
                    <a:lnTo>
                      <a:pt x="237" y="926"/>
                    </a:lnTo>
                    <a:lnTo>
                      <a:pt x="257" y="924"/>
                    </a:lnTo>
                    <a:lnTo>
                      <a:pt x="276" y="922"/>
                    </a:lnTo>
                    <a:lnTo>
                      <a:pt x="315" y="916"/>
                    </a:lnTo>
                    <a:lnTo>
                      <a:pt x="334" y="913"/>
                    </a:lnTo>
                    <a:lnTo>
                      <a:pt x="355" y="909"/>
                    </a:lnTo>
                    <a:lnTo>
                      <a:pt x="374" y="906"/>
                    </a:lnTo>
                    <a:lnTo>
                      <a:pt x="393" y="902"/>
                    </a:lnTo>
                    <a:lnTo>
                      <a:pt x="412" y="897"/>
                    </a:lnTo>
                    <a:lnTo>
                      <a:pt x="431" y="892"/>
                    </a:lnTo>
                    <a:lnTo>
                      <a:pt x="449" y="888"/>
                    </a:lnTo>
                    <a:lnTo>
                      <a:pt x="468" y="882"/>
                    </a:lnTo>
                    <a:lnTo>
                      <a:pt x="505" y="871"/>
                    </a:lnTo>
                    <a:lnTo>
                      <a:pt x="542" y="859"/>
                    </a:lnTo>
                    <a:lnTo>
                      <a:pt x="560" y="852"/>
                    </a:lnTo>
                    <a:lnTo>
                      <a:pt x="578" y="844"/>
                    </a:lnTo>
                    <a:lnTo>
                      <a:pt x="613" y="830"/>
                    </a:lnTo>
                    <a:lnTo>
                      <a:pt x="648" y="814"/>
                    </a:lnTo>
                    <a:lnTo>
                      <a:pt x="665" y="806"/>
                    </a:lnTo>
                    <a:lnTo>
                      <a:pt x="683" y="798"/>
                    </a:lnTo>
                    <a:lnTo>
                      <a:pt x="717" y="780"/>
                    </a:lnTo>
                    <a:lnTo>
                      <a:pt x="733" y="771"/>
                    </a:lnTo>
                    <a:lnTo>
                      <a:pt x="750" y="762"/>
                    </a:lnTo>
                    <a:lnTo>
                      <a:pt x="782" y="743"/>
                    </a:lnTo>
                    <a:lnTo>
                      <a:pt x="798" y="733"/>
                    </a:lnTo>
                    <a:lnTo>
                      <a:pt x="814" y="722"/>
                    </a:lnTo>
                    <a:lnTo>
                      <a:pt x="846" y="701"/>
                    </a:lnTo>
                    <a:lnTo>
                      <a:pt x="877" y="678"/>
                    </a:lnTo>
                    <a:lnTo>
                      <a:pt x="906" y="655"/>
                    </a:lnTo>
                    <a:lnTo>
                      <a:pt x="935" y="631"/>
                    </a:lnTo>
                    <a:lnTo>
                      <a:pt x="950" y="619"/>
                    </a:lnTo>
                    <a:lnTo>
                      <a:pt x="964" y="607"/>
                    </a:lnTo>
                    <a:lnTo>
                      <a:pt x="978" y="594"/>
                    </a:lnTo>
                    <a:lnTo>
                      <a:pt x="992" y="581"/>
                    </a:lnTo>
                    <a:lnTo>
                      <a:pt x="1006" y="568"/>
                    </a:lnTo>
                    <a:lnTo>
                      <a:pt x="1019" y="555"/>
                    </a:lnTo>
                    <a:lnTo>
                      <a:pt x="1045" y="527"/>
                    </a:lnTo>
                    <a:lnTo>
                      <a:pt x="1071" y="499"/>
                    </a:lnTo>
                    <a:lnTo>
                      <a:pt x="1095" y="471"/>
                    </a:lnTo>
                    <a:lnTo>
                      <a:pt x="1107" y="456"/>
                    </a:lnTo>
                    <a:lnTo>
                      <a:pt x="1119" y="441"/>
                    </a:lnTo>
                    <a:lnTo>
                      <a:pt x="1130" y="427"/>
                    </a:lnTo>
                    <a:lnTo>
                      <a:pt x="1142" y="412"/>
                    </a:lnTo>
                    <a:lnTo>
                      <a:pt x="1164" y="381"/>
                    </a:lnTo>
                    <a:lnTo>
                      <a:pt x="1175" y="364"/>
                    </a:lnTo>
                    <a:lnTo>
                      <a:pt x="1185" y="349"/>
                    </a:lnTo>
                    <a:lnTo>
                      <a:pt x="1206" y="317"/>
                    </a:lnTo>
                    <a:lnTo>
                      <a:pt x="795" y="321"/>
                    </a:lnTo>
                    <a:lnTo>
                      <a:pt x="6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3" name="Freeform 26"/>
              <p:cNvSpPr>
                <a:spLocks noChangeAspect="1"/>
              </p:cNvSpPr>
              <p:nvPr/>
            </p:nvSpPr>
            <p:spPr bwMode="auto">
              <a:xfrm>
                <a:off x="2074" y="3039"/>
                <a:ext cx="1067" cy="881"/>
              </a:xfrm>
              <a:custGeom>
                <a:avLst/>
                <a:gdLst>
                  <a:gd name="T0" fmla="*/ 1047 w 1067"/>
                  <a:gd name="T1" fmla="*/ 245 h 881"/>
                  <a:gd name="T2" fmla="*/ 1011 w 1067"/>
                  <a:gd name="T3" fmla="*/ 244 h 881"/>
                  <a:gd name="T4" fmla="*/ 956 w 1067"/>
                  <a:gd name="T5" fmla="*/ 238 h 881"/>
                  <a:gd name="T6" fmla="*/ 904 w 1067"/>
                  <a:gd name="T7" fmla="*/ 229 h 881"/>
                  <a:gd name="T8" fmla="*/ 871 w 1067"/>
                  <a:gd name="T9" fmla="*/ 220 h 881"/>
                  <a:gd name="T10" fmla="*/ 838 w 1067"/>
                  <a:gd name="T11" fmla="*/ 210 h 881"/>
                  <a:gd name="T12" fmla="*/ 789 w 1067"/>
                  <a:gd name="T13" fmla="*/ 191 h 881"/>
                  <a:gd name="T14" fmla="*/ 758 w 1067"/>
                  <a:gd name="T15" fmla="*/ 177 h 881"/>
                  <a:gd name="T16" fmla="*/ 728 w 1067"/>
                  <a:gd name="T17" fmla="*/ 160 h 881"/>
                  <a:gd name="T18" fmla="*/ 699 w 1067"/>
                  <a:gd name="T19" fmla="*/ 142 h 881"/>
                  <a:gd name="T20" fmla="*/ 671 w 1067"/>
                  <a:gd name="T21" fmla="*/ 123 h 881"/>
                  <a:gd name="T22" fmla="*/ 643 w 1067"/>
                  <a:gd name="T23" fmla="*/ 103 h 881"/>
                  <a:gd name="T24" fmla="*/ 617 w 1067"/>
                  <a:gd name="T25" fmla="*/ 81 h 881"/>
                  <a:gd name="T26" fmla="*/ 593 w 1067"/>
                  <a:gd name="T27" fmla="*/ 58 h 881"/>
                  <a:gd name="T28" fmla="*/ 558 w 1067"/>
                  <a:gd name="T29" fmla="*/ 20 h 881"/>
                  <a:gd name="T30" fmla="*/ 0 w 1067"/>
                  <a:gd name="T31" fmla="*/ 339 h 881"/>
                  <a:gd name="T32" fmla="*/ 34 w 1067"/>
                  <a:gd name="T33" fmla="*/ 385 h 881"/>
                  <a:gd name="T34" fmla="*/ 69 w 1067"/>
                  <a:gd name="T35" fmla="*/ 428 h 881"/>
                  <a:gd name="T36" fmla="*/ 119 w 1067"/>
                  <a:gd name="T37" fmla="*/ 485 h 881"/>
                  <a:gd name="T38" fmla="*/ 145 w 1067"/>
                  <a:gd name="T39" fmla="*/ 511 h 881"/>
                  <a:gd name="T40" fmla="*/ 173 w 1067"/>
                  <a:gd name="T41" fmla="*/ 537 h 881"/>
                  <a:gd name="T42" fmla="*/ 201 w 1067"/>
                  <a:gd name="T43" fmla="*/ 562 h 881"/>
                  <a:gd name="T44" fmla="*/ 229 w 1067"/>
                  <a:gd name="T45" fmla="*/ 587 h 881"/>
                  <a:gd name="T46" fmla="*/ 273 w 1067"/>
                  <a:gd name="T47" fmla="*/ 621 h 881"/>
                  <a:gd name="T48" fmla="*/ 303 w 1067"/>
                  <a:gd name="T49" fmla="*/ 645 h 881"/>
                  <a:gd name="T50" fmla="*/ 351 w 1067"/>
                  <a:gd name="T51" fmla="*/ 676 h 881"/>
                  <a:gd name="T52" fmla="*/ 415 w 1067"/>
                  <a:gd name="T53" fmla="*/ 715 h 881"/>
                  <a:gd name="T54" fmla="*/ 481 w 1067"/>
                  <a:gd name="T55" fmla="*/ 750 h 881"/>
                  <a:gd name="T56" fmla="*/ 551 w 1067"/>
                  <a:gd name="T57" fmla="*/ 782 h 881"/>
                  <a:gd name="T58" fmla="*/ 604 w 1067"/>
                  <a:gd name="T59" fmla="*/ 803 h 881"/>
                  <a:gd name="T60" fmla="*/ 640 w 1067"/>
                  <a:gd name="T61" fmla="*/ 816 h 881"/>
                  <a:gd name="T62" fmla="*/ 696 w 1067"/>
                  <a:gd name="T63" fmla="*/ 833 h 881"/>
                  <a:gd name="T64" fmla="*/ 771 w 1067"/>
                  <a:gd name="T65" fmla="*/ 852 h 881"/>
                  <a:gd name="T66" fmla="*/ 829 w 1067"/>
                  <a:gd name="T67" fmla="*/ 863 h 881"/>
                  <a:gd name="T68" fmla="*/ 887 w 1067"/>
                  <a:gd name="T69" fmla="*/ 871 h 881"/>
                  <a:gd name="T70" fmla="*/ 946 w 1067"/>
                  <a:gd name="T71" fmla="*/ 877 h 881"/>
                  <a:gd name="T72" fmla="*/ 987 w 1067"/>
                  <a:gd name="T73" fmla="*/ 880 h 881"/>
                  <a:gd name="T74" fmla="*/ 1027 w 1067"/>
                  <a:gd name="T75" fmla="*/ 881 h 881"/>
                  <a:gd name="T76" fmla="*/ 1067 w 1067"/>
                  <a:gd name="T77" fmla="*/ 881 h 881"/>
                  <a:gd name="T78" fmla="*/ 1065 w 1067"/>
                  <a:gd name="T79" fmla="*/ 244 h 8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67"/>
                  <a:gd name="T121" fmla="*/ 0 h 881"/>
                  <a:gd name="T122" fmla="*/ 1067 w 1067"/>
                  <a:gd name="T123" fmla="*/ 881 h 88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67" h="881">
                    <a:moveTo>
                      <a:pt x="1065" y="244"/>
                    </a:moveTo>
                    <a:lnTo>
                      <a:pt x="1047" y="245"/>
                    </a:lnTo>
                    <a:lnTo>
                      <a:pt x="1029" y="244"/>
                    </a:lnTo>
                    <a:lnTo>
                      <a:pt x="1011" y="244"/>
                    </a:lnTo>
                    <a:lnTo>
                      <a:pt x="975" y="241"/>
                    </a:lnTo>
                    <a:lnTo>
                      <a:pt x="956" y="238"/>
                    </a:lnTo>
                    <a:lnTo>
                      <a:pt x="939" y="236"/>
                    </a:lnTo>
                    <a:lnTo>
                      <a:pt x="904" y="229"/>
                    </a:lnTo>
                    <a:lnTo>
                      <a:pt x="887" y="225"/>
                    </a:lnTo>
                    <a:lnTo>
                      <a:pt x="871" y="220"/>
                    </a:lnTo>
                    <a:lnTo>
                      <a:pt x="854" y="215"/>
                    </a:lnTo>
                    <a:lnTo>
                      <a:pt x="838" y="210"/>
                    </a:lnTo>
                    <a:lnTo>
                      <a:pt x="804" y="198"/>
                    </a:lnTo>
                    <a:lnTo>
                      <a:pt x="789" y="191"/>
                    </a:lnTo>
                    <a:lnTo>
                      <a:pt x="773" y="184"/>
                    </a:lnTo>
                    <a:lnTo>
                      <a:pt x="758" y="177"/>
                    </a:lnTo>
                    <a:lnTo>
                      <a:pt x="743" y="169"/>
                    </a:lnTo>
                    <a:lnTo>
                      <a:pt x="728" y="160"/>
                    </a:lnTo>
                    <a:lnTo>
                      <a:pt x="713" y="151"/>
                    </a:lnTo>
                    <a:lnTo>
                      <a:pt x="699" y="142"/>
                    </a:lnTo>
                    <a:lnTo>
                      <a:pt x="685" y="133"/>
                    </a:lnTo>
                    <a:lnTo>
                      <a:pt x="671" y="123"/>
                    </a:lnTo>
                    <a:lnTo>
                      <a:pt x="657" y="113"/>
                    </a:lnTo>
                    <a:lnTo>
                      <a:pt x="643" y="103"/>
                    </a:lnTo>
                    <a:lnTo>
                      <a:pt x="630" y="92"/>
                    </a:lnTo>
                    <a:lnTo>
                      <a:pt x="617" y="81"/>
                    </a:lnTo>
                    <a:lnTo>
                      <a:pt x="605" y="69"/>
                    </a:lnTo>
                    <a:lnTo>
                      <a:pt x="593" y="58"/>
                    </a:lnTo>
                    <a:lnTo>
                      <a:pt x="581" y="45"/>
                    </a:lnTo>
                    <a:lnTo>
                      <a:pt x="558" y="20"/>
                    </a:lnTo>
                    <a:lnTo>
                      <a:pt x="177" y="0"/>
                    </a:lnTo>
                    <a:lnTo>
                      <a:pt x="0" y="339"/>
                    </a:lnTo>
                    <a:lnTo>
                      <a:pt x="23" y="370"/>
                    </a:lnTo>
                    <a:lnTo>
                      <a:pt x="34" y="385"/>
                    </a:lnTo>
                    <a:lnTo>
                      <a:pt x="46" y="399"/>
                    </a:lnTo>
                    <a:lnTo>
                      <a:pt x="69" y="428"/>
                    </a:lnTo>
                    <a:lnTo>
                      <a:pt x="94" y="456"/>
                    </a:lnTo>
                    <a:lnTo>
                      <a:pt x="119" y="485"/>
                    </a:lnTo>
                    <a:lnTo>
                      <a:pt x="132" y="498"/>
                    </a:lnTo>
                    <a:lnTo>
                      <a:pt x="145" y="511"/>
                    </a:lnTo>
                    <a:lnTo>
                      <a:pt x="159" y="524"/>
                    </a:lnTo>
                    <a:lnTo>
                      <a:pt x="173" y="537"/>
                    </a:lnTo>
                    <a:lnTo>
                      <a:pt x="187" y="550"/>
                    </a:lnTo>
                    <a:lnTo>
                      <a:pt x="201" y="562"/>
                    </a:lnTo>
                    <a:lnTo>
                      <a:pt x="215" y="575"/>
                    </a:lnTo>
                    <a:lnTo>
                      <a:pt x="229" y="587"/>
                    </a:lnTo>
                    <a:lnTo>
                      <a:pt x="258" y="610"/>
                    </a:lnTo>
                    <a:lnTo>
                      <a:pt x="273" y="621"/>
                    </a:lnTo>
                    <a:lnTo>
                      <a:pt x="288" y="633"/>
                    </a:lnTo>
                    <a:lnTo>
                      <a:pt x="303" y="645"/>
                    </a:lnTo>
                    <a:lnTo>
                      <a:pt x="319" y="655"/>
                    </a:lnTo>
                    <a:lnTo>
                      <a:pt x="351" y="676"/>
                    </a:lnTo>
                    <a:lnTo>
                      <a:pt x="383" y="696"/>
                    </a:lnTo>
                    <a:lnTo>
                      <a:pt x="415" y="715"/>
                    </a:lnTo>
                    <a:lnTo>
                      <a:pt x="448" y="733"/>
                    </a:lnTo>
                    <a:lnTo>
                      <a:pt x="481" y="750"/>
                    </a:lnTo>
                    <a:lnTo>
                      <a:pt x="517" y="766"/>
                    </a:lnTo>
                    <a:lnTo>
                      <a:pt x="551" y="782"/>
                    </a:lnTo>
                    <a:lnTo>
                      <a:pt x="586" y="796"/>
                    </a:lnTo>
                    <a:lnTo>
                      <a:pt x="604" y="803"/>
                    </a:lnTo>
                    <a:lnTo>
                      <a:pt x="622" y="810"/>
                    </a:lnTo>
                    <a:lnTo>
                      <a:pt x="640" y="816"/>
                    </a:lnTo>
                    <a:lnTo>
                      <a:pt x="659" y="822"/>
                    </a:lnTo>
                    <a:lnTo>
                      <a:pt x="696" y="833"/>
                    </a:lnTo>
                    <a:lnTo>
                      <a:pt x="733" y="843"/>
                    </a:lnTo>
                    <a:lnTo>
                      <a:pt x="771" y="852"/>
                    </a:lnTo>
                    <a:lnTo>
                      <a:pt x="810" y="859"/>
                    </a:lnTo>
                    <a:lnTo>
                      <a:pt x="829" y="863"/>
                    </a:lnTo>
                    <a:lnTo>
                      <a:pt x="848" y="866"/>
                    </a:lnTo>
                    <a:lnTo>
                      <a:pt x="887" y="871"/>
                    </a:lnTo>
                    <a:lnTo>
                      <a:pt x="926" y="876"/>
                    </a:lnTo>
                    <a:lnTo>
                      <a:pt x="946" y="877"/>
                    </a:lnTo>
                    <a:lnTo>
                      <a:pt x="967" y="879"/>
                    </a:lnTo>
                    <a:lnTo>
                      <a:pt x="987" y="880"/>
                    </a:lnTo>
                    <a:lnTo>
                      <a:pt x="1007" y="881"/>
                    </a:lnTo>
                    <a:lnTo>
                      <a:pt x="1027" y="881"/>
                    </a:lnTo>
                    <a:lnTo>
                      <a:pt x="1047" y="881"/>
                    </a:lnTo>
                    <a:lnTo>
                      <a:pt x="1067" y="881"/>
                    </a:lnTo>
                    <a:lnTo>
                      <a:pt x="865" y="540"/>
                    </a:lnTo>
                    <a:lnTo>
                      <a:pt x="1065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5" name="Oval 94"/>
            <p:cNvSpPr/>
            <p:nvPr/>
          </p:nvSpPr>
          <p:spPr>
            <a:xfrm>
              <a:off x="3175085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887465" y="3661693"/>
            <a:ext cx="2015999" cy="2016000"/>
            <a:chOff x="4887465" y="3661693"/>
            <a:chExt cx="2015999" cy="2016000"/>
          </a:xfrm>
        </p:grpSpPr>
        <p:grpSp>
          <p:nvGrpSpPr>
            <p:cNvPr id="74" name="Group 27"/>
            <p:cNvGrpSpPr>
              <a:grpSpLocks/>
            </p:cNvGrpSpPr>
            <p:nvPr/>
          </p:nvGrpSpPr>
          <p:grpSpPr bwMode="auto">
            <a:xfrm>
              <a:off x="4887465" y="3661693"/>
              <a:ext cx="2015999" cy="2016000"/>
              <a:chOff x="1840" y="1377"/>
              <a:chExt cx="2561" cy="2561"/>
            </a:xfrm>
            <a:solidFill>
              <a:srgbClr val="2F52A0"/>
            </a:solidFill>
          </p:grpSpPr>
          <p:sp>
            <p:nvSpPr>
              <p:cNvPr id="75" name="Freeform 28"/>
              <p:cNvSpPr>
                <a:spLocks noChangeAspect="1"/>
              </p:cNvSpPr>
              <p:nvPr/>
            </p:nvSpPr>
            <p:spPr bwMode="auto">
              <a:xfrm>
                <a:off x="3141" y="1377"/>
                <a:ext cx="947" cy="849"/>
              </a:xfrm>
              <a:custGeom>
                <a:avLst/>
                <a:gdLst>
                  <a:gd name="T0" fmla="*/ 38 w 947"/>
                  <a:gd name="T1" fmla="*/ 1 h 849"/>
                  <a:gd name="T2" fmla="*/ 108 w 947"/>
                  <a:gd name="T3" fmla="*/ 6 h 849"/>
                  <a:gd name="T4" fmla="*/ 176 w 947"/>
                  <a:gd name="T5" fmla="*/ 15 h 849"/>
                  <a:gd name="T6" fmla="*/ 210 w 947"/>
                  <a:gd name="T7" fmla="*/ 21 h 849"/>
                  <a:gd name="T8" fmla="*/ 277 w 947"/>
                  <a:gd name="T9" fmla="*/ 34 h 849"/>
                  <a:gd name="T10" fmla="*/ 342 w 947"/>
                  <a:gd name="T11" fmla="*/ 52 h 849"/>
                  <a:gd name="T12" fmla="*/ 407 w 947"/>
                  <a:gd name="T13" fmla="*/ 72 h 849"/>
                  <a:gd name="T14" fmla="*/ 469 w 947"/>
                  <a:gd name="T15" fmla="*/ 97 h 849"/>
                  <a:gd name="T16" fmla="*/ 529 w 947"/>
                  <a:gd name="T17" fmla="*/ 124 h 849"/>
                  <a:gd name="T18" fmla="*/ 589 w 947"/>
                  <a:gd name="T19" fmla="*/ 154 h 849"/>
                  <a:gd name="T20" fmla="*/ 646 w 947"/>
                  <a:gd name="T21" fmla="*/ 187 h 849"/>
                  <a:gd name="T22" fmla="*/ 702 w 947"/>
                  <a:gd name="T23" fmla="*/ 222 h 849"/>
                  <a:gd name="T24" fmla="*/ 755 w 947"/>
                  <a:gd name="T25" fmla="*/ 262 h 849"/>
                  <a:gd name="T26" fmla="*/ 781 w 947"/>
                  <a:gd name="T27" fmla="*/ 282 h 849"/>
                  <a:gd name="T28" fmla="*/ 831 w 947"/>
                  <a:gd name="T29" fmla="*/ 324 h 849"/>
                  <a:gd name="T30" fmla="*/ 855 w 947"/>
                  <a:gd name="T31" fmla="*/ 346 h 849"/>
                  <a:gd name="T32" fmla="*/ 903 w 947"/>
                  <a:gd name="T33" fmla="*/ 392 h 849"/>
                  <a:gd name="T34" fmla="*/ 947 w 947"/>
                  <a:gd name="T35" fmla="*/ 441 h 849"/>
                  <a:gd name="T36" fmla="*/ 457 w 947"/>
                  <a:gd name="T37" fmla="*/ 849 h 849"/>
                  <a:gd name="T38" fmla="*/ 435 w 947"/>
                  <a:gd name="T39" fmla="*/ 826 h 849"/>
                  <a:gd name="T40" fmla="*/ 412 w 947"/>
                  <a:gd name="T41" fmla="*/ 804 h 849"/>
                  <a:gd name="T42" fmla="*/ 388 w 947"/>
                  <a:gd name="T43" fmla="*/ 784 h 849"/>
                  <a:gd name="T44" fmla="*/ 363 w 947"/>
                  <a:gd name="T45" fmla="*/ 764 h 849"/>
                  <a:gd name="T46" fmla="*/ 323 w 947"/>
                  <a:gd name="T47" fmla="*/ 737 h 849"/>
                  <a:gd name="T48" fmla="*/ 296 w 947"/>
                  <a:gd name="T49" fmla="*/ 720 h 849"/>
                  <a:gd name="T50" fmla="*/ 268 w 947"/>
                  <a:gd name="T51" fmla="*/ 705 h 849"/>
                  <a:gd name="T52" fmla="*/ 240 w 947"/>
                  <a:gd name="T53" fmla="*/ 691 h 849"/>
                  <a:gd name="T54" fmla="*/ 209 w 947"/>
                  <a:gd name="T55" fmla="*/ 679 h 849"/>
                  <a:gd name="T56" fmla="*/ 179 w 947"/>
                  <a:gd name="T57" fmla="*/ 668 h 849"/>
                  <a:gd name="T58" fmla="*/ 148 w 947"/>
                  <a:gd name="T59" fmla="*/ 659 h 849"/>
                  <a:gd name="T60" fmla="*/ 116 w 947"/>
                  <a:gd name="T61" fmla="*/ 651 h 849"/>
                  <a:gd name="T62" fmla="*/ 84 w 947"/>
                  <a:gd name="T63" fmla="*/ 645 h 849"/>
                  <a:gd name="T64" fmla="*/ 34 w 947"/>
                  <a:gd name="T65" fmla="*/ 639 h 849"/>
                  <a:gd name="T66" fmla="*/ 0 w 947"/>
                  <a:gd name="T67" fmla="*/ 637 h 849"/>
                  <a:gd name="T68" fmla="*/ 3 w 947"/>
                  <a:gd name="T69" fmla="*/ 0 h 8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7"/>
                  <a:gd name="T106" fmla="*/ 0 h 849"/>
                  <a:gd name="T107" fmla="*/ 947 w 947"/>
                  <a:gd name="T108" fmla="*/ 849 h 84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7" h="849">
                    <a:moveTo>
                      <a:pt x="3" y="0"/>
                    </a:moveTo>
                    <a:lnTo>
                      <a:pt x="38" y="1"/>
                    </a:lnTo>
                    <a:lnTo>
                      <a:pt x="74" y="3"/>
                    </a:lnTo>
                    <a:lnTo>
                      <a:pt x="108" y="6"/>
                    </a:lnTo>
                    <a:lnTo>
                      <a:pt x="142" y="10"/>
                    </a:lnTo>
                    <a:lnTo>
                      <a:pt x="176" y="15"/>
                    </a:lnTo>
                    <a:lnTo>
                      <a:pt x="193" y="18"/>
                    </a:lnTo>
                    <a:lnTo>
                      <a:pt x="210" y="21"/>
                    </a:lnTo>
                    <a:lnTo>
                      <a:pt x="244" y="27"/>
                    </a:lnTo>
                    <a:lnTo>
                      <a:pt x="277" y="34"/>
                    </a:lnTo>
                    <a:lnTo>
                      <a:pt x="310" y="43"/>
                    </a:lnTo>
                    <a:lnTo>
                      <a:pt x="342" y="52"/>
                    </a:lnTo>
                    <a:lnTo>
                      <a:pt x="374" y="62"/>
                    </a:lnTo>
                    <a:lnTo>
                      <a:pt x="407" y="72"/>
                    </a:lnTo>
                    <a:lnTo>
                      <a:pt x="438" y="85"/>
                    </a:lnTo>
                    <a:lnTo>
                      <a:pt x="469" y="97"/>
                    </a:lnTo>
                    <a:lnTo>
                      <a:pt x="499" y="110"/>
                    </a:lnTo>
                    <a:lnTo>
                      <a:pt x="529" y="124"/>
                    </a:lnTo>
                    <a:lnTo>
                      <a:pt x="560" y="139"/>
                    </a:lnTo>
                    <a:lnTo>
                      <a:pt x="589" y="154"/>
                    </a:lnTo>
                    <a:lnTo>
                      <a:pt x="618" y="170"/>
                    </a:lnTo>
                    <a:lnTo>
                      <a:pt x="646" y="187"/>
                    </a:lnTo>
                    <a:lnTo>
                      <a:pt x="674" y="204"/>
                    </a:lnTo>
                    <a:lnTo>
                      <a:pt x="702" y="222"/>
                    </a:lnTo>
                    <a:lnTo>
                      <a:pt x="729" y="242"/>
                    </a:lnTo>
                    <a:lnTo>
                      <a:pt x="755" y="262"/>
                    </a:lnTo>
                    <a:lnTo>
                      <a:pt x="768" y="272"/>
                    </a:lnTo>
                    <a:lnTo>
                      <a:pt x="781" y="282"/>
                    </a:lnTo>
                    <a:lnTo>
                      <a:pt x="806" y="303"/>
                    </a:lnTo>
                    <a:lnTo>
                      <a:pt x="831" y="324"/>
                    </a:lnTo>
                    <a:lnTo>
                      <a:pt x="843" y="335"/>
                    </a:lnTo>
                    <a:lnTo>
                      <a:pt x="855" y="346"/>
                    </a:lnTo>
                    <a:lnTo>
                      <a:pt x="880" y="369"/>
                    </a:lnTo>
                    <a:lnTo>
                      <a:pt x="903" y="392"/>
                    </a:lnTo>
                    <a:lnTo>
                      <a:pt x="925" y="417"/>
                    </a:lnTo>
                    <a:lnTo>
                      <a:pt x="947" y="441"/>
                    </a:lnTo>
                    <a:lnTo>
                      <a:pt x="817" y="814"/>
                    </a:lnTo>
                    <a:lnTo>
                      <a:pt x="457" y="849"/>
                    </a:lnTo>
                    <a:lnTo>
                      <a:pt x="446" y="837"/>
                    </a:lnTo>
                    <a:lnTo>
                      <a:pt x="435" y="826"/>
                    </a:lnTo>
                    <a:lnTo>
                      <a:pt x="424" y="815"/>
                    </a:lnTo>
                    <a:lnTo>
                      <a:pt x="412" y="804"/>
                    </a:lnTo>
                    <a:lnTo>
                      <a:pt x="400" y="794"/>
                    </a:lnTo>
                    <a:lnTo>
                      <a:pt x="388" y="784"/>
                    </a:lnTo>
                    <a:lnTo>
                      <a:pt x="375" y="774"/>
                    </a:lnTo>
                    <a:lnTo>
                      <a:pt x="363" y="764"/>
                    </a:lnTo>
                    <a:lnTo>
                      <a:pt x="337" y="746"/>
                    </a:lnTo>
                    <a:lnTo>
                      <a:pt x="323" y="737"/>
                    </a:lnTo>
                    <a:lnTo>
                      <a:pt x="310" y="729"/>
                    </a:lnTo>
                    <a:lnTo>
                      <a:pt x="296" y="720"/>
                    </a:lnTo>
                    <a:lnTo>
                      <a:pt x="282" y="712"/>
                    </a:lnTo>
                    <a:lnTo>
                      <a:pt x="268" y="705"/>
                    </a:lnTo>
                    <a:lnTo>
                      <a:pt x="254" y="698"/>
                    </a:lnTo>
                    <a:lnTo>
                      <a:pt x="240" y="691"/>
                    </a:lnTo>
                    <a:lnTo>
                      <a:pt x="225" y="685"/>
                    </a:lnTo>
                    <a:lnTo>
                      <a:pt x="209" y="679"/>
                    </a:lnTo>
                    <a:lnTo>
                      <a:pt x="194" y="673"/>
                    </a:lnTo>
                    <a:lnTo>
                      <a:pt x="179" y="668"/>
                    </a:lnTo>
                    <a:lnTo>
                      <a:pt x="163" y="663"/>
                    </a:lnTo>
                    <a:lnTo>
                      <a:pt x="148" y="659"/>
                    </a:lnTo>
                    <a:lnTo>
                      <a:pt x="132" y="655"/>
                    </a:lnTo>
                    <a:lnTo>
                      <a:pt x="116" y="651"/>
                    </a:lnTo>
                    <a:lnTo>
                      <a:pt x="100" y="648"/>
                    </a:lnTo>
                    <a:lnTo>
                      <a:pt x="84" y="645"/>
                    </a:lnTo>
                    <a:lnTo>
                      <a:pt x="68" y="642"/>
                    </a:lnTo>
                    <a:lnTo>
                      <a:pt x="34" y="639"/>
                    </a:lnTo>
                    <a:lnTo>
                      <a:pt x="17" y="638"/>
                    </a:lnTo>
                    <a:lnTo>
                      <a:pt x="0" y="637"/>
                    </a:lnTo>
                    <a:lnTo>
                      <a:pt x="198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6" name="Freeform 29"/>
              <p:cNvSpPr>
                <a:spLocks noChangeAspect="1"/>
              </p:cNvSpPr>
              <p:nvPr/>
            </p:nvSpPr>
            <p:spPr bwMode="auto">
              <a:xfrm>
                <a:off x="3643" y="1874"/>
                <a:ext cx="758" cy="1132"/>
              </a:xfrm>
              <a:custGeom>
                <a:avLst/>
                <a:gdLst>
                  <a:gd name="T0" fmla="*/ 14 w 758"/>
                  <a:gd name="T1" fmla="*/ 428 h 1132"/>
                  <a:gd name="T2" fmla="*/ 41 w 758"/>
                  <a:gd name="T3" fmla="*/ 469 h 1132"/>
                  <a:gd name="T4" fmla="*/ 63 w 758"/>
                  <a:gd name="T5" fmla="*/ 513 h 1132"/>
                  <a:gd name="T6" fmla="*/ 77 w 758"/>
                  <a:gd name="T7" fmla="*/ 548 h 1132"/>
                  <a:gd name="T8" fmla="*/ 90 w 758"/>
                  <a:gd name="T9" fmla="*/ 583 h 1132"/>
                  <a:gd name="T10" fmla="*/ 104 w 758"/>
                  <a:gd name="T11" fmla="*/ 631 h 1132"/>
                  <a:gd name="T12" fmla="*/ 114 w 758"/>
                  <a:gd name="T13" fmla="*/ 680 h 1132"/>
                  <a:gd name="T14" fmla="*/ 120 w 758"/>
                  <a:gd name="T15" fmla="*/ 732 h 1132"/>
                  <a:gd name="T16" fmla="*/ 122 w 758"/>
                  <a:gd name="T17" fmla="*/ 784 h 1132"/>
                  <a:gd name="T18" fmla="*/ 120 w 758"/>
                  <a:gd name="T19" fmla="*/ 829 h 1132"/>
                  <a:gd name="T20" fmla="*/ 116 w 758"/>
                  <a:gd name="T21" fmla="*/ 874 h 1132"/>
                  <a:gd name="T22" fmla="*/ 740 w 758"/>
                  <a:gd name="T23" fmla="*/ 1002 h 1132"/>
                  <a:gd name="T24" fmla="*/ 748 w 758"/>
                  <a:gd name="T25" fmla="*/ 948 h 1132"/>
                  <a:gd name="T26" fmla="*/ 754 w 758"/>
                  <a:gd name="T27" fmla="*/ 894 h 1132"/>
                  <a:gd name="T28" fmla="*/ 757 w 758"/>
                  <a:gd name="T29" fmla="*/ 839 h 1132"/>
                  <a:gd name="T30" fmla="*/ 758 w 758"/>
                  <a:gd name="T31" fmla="*/ 784 h 1132"/>
                  <a:gd name="T32" fmla="*/ 757 w 758"/>
                  <a:gd name="T33" fmla="*/ 729 h 1132"/>
                  <a:gd name="T34" fmla="*/ 754 w 758"/>
                  <a:gd name="T35" fmla="*/ 674 h 1132"/>
                  <a:gd name="T36" fmla="*/ 748 w 758"/>
                  <a:gd name="T37" fmla="*/ 621 h 1132"/>
                  <a:gd name="T38" fmla="*/ 740 w 758"/>
                  <a:gd name="T39" fmla="*/ 568 h 1132"/>
                  <a:gd name="T40" fmla="*/ 730 w 758"/>
                  <a:gd name="T41" fmla="*/ 515 h 1132"/>
                  <a:gd name="T42" fmla="*/ 718 w 758"/>
                  <a:gd name="T43" fmla="*/ 464 h 1132"/>
                  <a:gd name="T44" fmla="*/ 704 w 758"/>
                  <a:gd name="T45" fmla="*/ 413 h 1132"/>
                  <a:gd name="T46" fmla="*/ 688 w 758"/>
                  <a:gd name="T47" fmla="*/ 362 h 1132"/>
                  <a:gd name="T48" fmla="*/ 669 w 758"/>
                  <a:gd name="T49" fmla="*/ 314 h 1132"/>
                  <a:gd name="T50" fmla="*/ 649 w 758"/>
                  <a:gd name="T51" fmla="*/ 266 h 1132"/>
                  <a:gd name="T52" fmla="*/ 627 w 758"/>
                  <a:gd name="T53" fmla="*/ 218 h 1132"/>
                  <a:gd name="T54" fmla="*/ 603 w 758"/>
                  <a:gd name="T55" fmla="*/ 172 h 1132"/>
                  <a:gd name="T56" fmla="*/ 578 w 758"/>
                  <a:gd name="T57" fmla="*/ 128 h 1132"/>
                  <a:gd name="T58" fmla="*/ 551 w 758"/>
                  <a:gd name="T59" fmla="*/ 84 h 1132"/>
                  <a:gd name="T60" fmla="*/ 522 w 758"/>
                  <a:gd name="T61" fmla="*/ 41 h 1132"/>
                  <a:gd name="T62" fmla="*/ 491 w 758"/>
                  <a:gd name="T63" fmla="*/ 0 h 1132"/>
                  <a:gd name="T64" fmla="*/ 0 w 758"/>
                  <a:gd name="T65" fmla="*/ 408 h 11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8"/>
                  <a:gd name="T100" fmla="*/ 0 h 1132"/>
                  <a:gd name="T101" fmla="*/ 758 w 758"/>
                  <a:gd name="T102" fmla="*/ 1132 h 11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8" h="1132">
                    <a:moveTo>
                      <a:pt x="0" y="408"/>
                    </a:moveTo>
                    <a:lnTo>
                      <a:pt x="14" y="428"/>
                    </a:lnTo>
                    <a:lnTo>
                      <a:pt x="27" y="448"/>
                    </a:lnTo>
                    <a:lnTo>
                      <a:pt x="41" y="469"/>
                    </a:lnTo>
                    <a:lnTo>
                      <a:pt x="52" y="491"/>
                    </a:lnTo>
                    <a:lnTo>
                      <a:pt x="63" y="513"/>
                    </a:lnTo>
                    <a:lnTo>
                      <a:pt x="73" y="535"/>
                    </a:lnTo>
                    <a:lnTo>
                      <a:pt x="77" y="548"/>
                    </a:lnTo>
                    <a:lnTo>
                      <a:pt x="82" y="559"/>
                    </a:lnTo>
                    <a:lnTo>
                      <a:pt x="90" y="583"/>
                    </a:lnTo>
                    <a:lnTo>
                      <a:pt x="97" y="607"/>
                    </a:lnTo>
                    <a:lnTo>
                      <a:pt x="104" y="631"/>
                    </a:lnTo>
                    <a:lnTo>
                      <a:pt x="109" y="655"/>
                    </a:lnTo>
                    <a:lnTo>
                      <a:pt x="114" y="680"/>
                    </a:lnTo>
                    <a:lnTo>
                      <a:pt x="117" y="706"/>
                    </a:lnTo>
                    <a:lnTo>
                      <a:pt x="120" y="732"/>
                    </a:lnTo>
                    <a:lnTo>
                      <a:pt x="121" y="758"/>
                    </a:lnTo>
                    <a:lnTo>
                      <a:pt x="122" y="784"/>
                    </a:lnTo>
                    <a:lnTo>
                      <a:pt x="121" y="806"/>
                    </a:lnTo>
                    <a:lnTo>
                      <a:pt x="120" y="829"/>
                    </a:lnTo>
                    <a:lnTo>
                      <a:pt x="118" y="851"/>
                    </a:lnTo>
                    <a:lnTo>
                      <a:pt x="116" y="874"/>
                    </a:lnTo>
                    <a:lnTo>
                      <a:pt x="370" y="1132"/>
                    </a:lnTo>
                    <a:lnTo>
                      <a:pt x="740" y="1002"/>
                    </a:lnTo>
                    <a:lnTo>
                      <a:pt x="744" y="975"/>
                    </a:lnTo>
                    <a:lnTo>
                      <a:pt x="748" y="948"/>
                    </a:lnTo>
                    <a:lnTo>
                      <a:pt x="751" y="922"/>
                    </a:lnTo>
                    <a:lnTo>
                      <a:pt x="754" y="894"/>
                    </a:lnTo>
                    <a:lnTo>
                      <a:pt x="756" y="867"/>
                    </a:lnTo>
                    <a:lnTo>
                      <a:pt x="757" y="839"/>
                    </a:lnTo>
                    <a:lnTo>
                      <a:pt x="758" y="811"/>
                    </a:lnTo>
                    <a:lnTo>
                      <a:pt x="758" y="784"/>
                    </a:lnTo>
                    <a:lnTo>
                      <a:pt x="758" y="756"/>
                    </a:lnTo>
                    <a:lnTo>
                      <a:pt x="757" y="729"/>
                    </a:lnTo>
                    <a:lnTo>
                      <a:pt x="756" y="701"/>
                    </a:lnTo>
                    <a:lnTo>
                      <a:pt x="754" y="674"/>
                    </a:lnTo>
                    <a:lnTo>
                      <a:pt x="751" y="647"/>
                    </a:lnTo>
                    <a:lnTo>
                      <a:pt x="748" y="621"/>
                    </a:lnTo>
                    <a:lnTo>
                      <a:pt x="744" y="594"/>
                    </a:lnTo>
                    <a:lnTo>
                      <a:pt x="740" y="568"/>
                    </a:lnTo>
                    <a:lnTo>
                      <a:pt x="735" y="541"/>
                    </a:lnTo>
                    <a:lnTo>
                      <a:pt x="730" y="515"/>
                    </a:lnTo>
                    <a:lnTo>
                      <a:pt x="724" y="489"/>
                    </a:lnTo>
                    <a:lnTo>
                      <a:pt x="718" y="464"/>
                    </a:lnTo>
                    <a:lnTo>
                      <a:pt x="711" y="438"/>
                    </a:lnTo>
                    <a:lnTo>
                      <a:pt x="704" y="413"/>
                    </a:lnTo>
                    <a:lnTo>
                      <a:pt x="696" y="388"/>
                    </a:lnTo>
                    <a:lnTo>
                      <a:pt x="688" y="362"/>
                    </a:lnTo>
                    <a:lnTo>
                      <a:pt x="679" y="338"/>
                    </a:lnTo>
                    <a:lnTo>
                      <a:pt x="669" y="314"/>
                    </a:lnTo>
                    <a:lnTo>
                      <a:pt x="659" y="290"/>
                    </a:lnTo>
                    <a:lnTo>
                      <a:pt x="649" y="266"/>
                    </a:lnTo>
                    <a:lnTo>
                      <a:pt x="638" y="242"/>
                    </a:lnTo>
                    <a:lnTo>
                      <a:pt x="627" y="218"/>
                    </a:lnTo>
                    <a:lnTo>
                      <a:pt x="615" y="195"/>
                    </a:lnTo>
                    <a:lnTo>
                      <a:pt x="603" y="172"/>
                    </a:lnTo>
                    <a:lnTo>
                      <a:pt x="591" y="150"/>
                    </a:lnTo>
                    <a:lnTo>
                      <a:pt x="578" y="128"/>
                    </a:lnTo>
                    <a:lnTo>
                      <a:pt x="565" y="106"/>
                    </a:lnTo>
                    <a:lnTo>
                      <a:pt x="551" y="84"/>
                    </a:lnTo>
                    <a:lnTo>
                      <a:pt x="537" y="62"/>
                    </a:lnTo>
                    <a:lnTo>
                      <a:pt x="522" y="41"/>
                    </a:lnTo>
                    <a:lnTo>
                      <a:pt x="506" y="20"/>
                    </a:lnTo>
                    <a:lnTo>
                      <a:pt x="491" y="0"/>
                    </a:lnTo>
                    <a:lnTo>
                      <a:pt x="350" y="388"/>
                    </a:lnTo>
                    <a:lnTo>
                      <a:pt x="0" y="4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7" name="Freeform 30"/>
              <p:cNvSpPr>
                <a:spLocks noChangeAspect="1"/>
              </p:cNvSpPr>
              <p:nvPr/>
            </p:nvSpPr>
            <p:spPr bwMode="auto">
              <a:xfrm>
                <a:off x="3435" y="2824"/>
                <a:ext cx="934" cy="943"/>
              </a:xfrm>
              <a:custGeom>
                <a:avLst/>
                <a:gdLst>
                  <a:gd name="T0" fmla="*/ 0 w 934"/>
                  <a:gd name="T1" fmla="*/ 736 h 943"/>
                  <a:gd name="T2" fmla="*/ 52 w 934"/>
                  <a:gd name="T3" fmla="*/ 365 h 943"/>
                  <a:gd name="T4" fmla="*/ 88 w 934"/>
                  <a:gd name="T5" fmla="*/ 339 h 943"/>
                  <a:gd name="T6" fmla="*/ 132 w 934"/>
                  <a:gd name="T7" fmla="*/ 301 h 943"/>
                  <a:gd name="T8" fmla="*/ 162 w 934"/>
                  <a:gd name="T9" fmla="*/ 270 h 943"/>
                  <a:gd name="T10" fmla="*/ 181 w 934"/>
                  <a:gd name="T11" fmla="*/ 248 h 943"/>
                  <a:gd name="T12" fmla="*/ 199 w 934"/>
                  <a:gd name="T13" fmla="*/ 224 h 943"/>
                  <a:gd name="T14" fmla="*/ 224 w 934"/>
                  <a:gd name="T15" fmla="*/ 188 h 943"/>
                  <a:gd name="T16" fmla="*/ 239 w 934"/>
                  <a:gd name="T17" fmla="*/ 164 h 943"/>
                  <a:gd name="T18" fmla="*/ 261 w 934"/>
                  <a:gd name="T19" fmla="*/ 125 h 943"/>
                  <a:gd name="T20" fmla="*/ 274 w 934"/>
                  <a:gd name="T21" fmla="*/ 99 h 943"/>
                  <a:gd name="T22" fmla="*/ 290 w 934"/>
                  <a:gd name="T23" fmla="*/ 56 h 943"/>
                  <a:gd name="T24" fmla="*/ 300 w 934"/>
                  <a:gd name="T25" fmla="*/ 28 h 943"/>
                  <a:gd name="T26" fmla="*/ 308 w 934"/>
                  <a:gd name="T27" fmla="*/ 0 h 943"/>
                  <a:gd name="T28" fmla="*/ 934 w 934"/>
                  <a:gd name="T29" fmla="*/ 123 h 943"/>
                  <a:gd name="T30" fmla="*/ 917 w 934"/>
                  <a:gd name="T31" fmla="*/ 188 h 943"/>
                  <a:gd name="T32" fmla="*/ 897 w 934"/>
                  <a:gd name="T33" fmla="*/ 252 h 943"/>
                  <a:gd name="T34" fmla="*/ 886 w 934"/>
                  <a:gd name="T35" fmla="*/ 283 h 943"/>
                  <a:gd name="T36" fmla="*/ 867 w 934"/>
                  <a:gd name="T37" fmla="*/ 329 h 943"/>
                  <a:gd name="T38" fmla="*/ 847 w 934"/>
                  <a:gd name="T39" fmla="*/ 374 h 943"/>
                  <a:gd name="T40" fmla="*/ 833 w 934"/>
                  <a:gd name="T41" fmla="*/ 405 h 943"/>
                  <a:gd name="T42" fmla="*/ 802 w 934"/>
                  <a:gd name="T43" fmla="*/ 462 h 943"/>
                  <a:gd name="T44" fmla="*/ 769 w 934"/>
                  <a:gd name="T45" fmla="*/ 518 h 943"/>
                  <a:gd name="T46" fmla="*/ 733 w 934"/>
                  <a:gd name="T47" fmla="*/ 573 h 943"/>
                  <a:gd name="T48" fmla="*/ 693 w 934"/>
                  <a:gd name="T49" fmla="*/ 625 h 943"/>
                  <a:gd name="T50" fmla="*/ 663 w 934"/>
                  <a:gd name="T51" fmla="*/ 662 h 943"/>
                  <a:gd name="T52" fmla="*/ 631 w 934"/>
                  <a:gd name="T53" fmla="*/ 699 h 943"/>
                  <a:gd name="T54" fmla="*/ 586 w 934"/>
                  <a:gd name="T55" fmla="*/ 746 h 943"/>
                  <a:gd name="T56" fmla="*/ 538 w 934"/>
                  <a:gd name="T57" fmla="*/ 790 h 943"/>
                  <a:gd name="T58" fmla="*/ 488 w 934"/>
                  <a:gd name="T59" fmla="*/ 832 h 943"/>
                  <a:gd name="T60" fmla="*/ 437 w 934"/>
                  <a:gd name="T61" fmla="*/ 871 h 943"/>
                  <a:gd name="T62" fmla="*/ 382 w 934"/>
                  <a:gd name="T63" fmla="*/ 909 h 943"/>
                  <a:gd name="T64" fmla="*/ 355 w 934"/>
                  <a:gd name="T65" fmla="*/ 926 h 943"/>
                  <a:gd name="T66" fmla="*/ 327 w 934"/>
                  <a:gd name="T67" fmla="*/ 943 h 9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34"/>
                  <a:gd name="T103" fmla="*/ 0 h 943"/>
                  <a:gd name="T104" fmla="*/ 934 w 934"/>
                  <a:gd name="T105" fmla="*/ 943 h 9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34" h="943">
                    <a:moveTo>
                      <a:pt x="327" y="943"/>
                    </a:moveTo>
                    <a:lnTo>
                      <a:pt x="0" y="736"/>
                    </a:lnTo>
                    <a:lnTo>
                      <a:pt x="40" y="374"/>
                    </a:lnTo>
                    <a:lnTo>
                      <a:pt x="52" y="365"/>
                    </a:lnTo>
                    <a:lnTo>
                      <a:pt x="64" y="357"/>
                    </a:lnTo>
                    <a:lnTo>
                      <a:pt x="88" y="339"/>
                    </a:lnTo>
                    <a:lnTo>
                      <a:pt x="111" y="321"/>
                    </a:lnTo>
                    <a:lnTo>
                      <a:pt x="132" y="301"/>
                    </a:lnTo>
                    <a:lnTo>
                      <a:pt x="152" y="281"/>
                    </a:lnTo>
                    <a:lnTo>
                      <a:pt x="162" y="270"/>
                    </a:lnTo>
                    <a:lnTo>
                      <a:pt x="172" y="259"/>
                    </a:lnTo>
                    <a:lnTo>
                      <a:pt x="181" y="248"/>
                    </a:lnTo>
                    <a:lnTo>
                      <a:pt x="190" y="237"/>
                    </a:lnTo>
                    <a:lnTo>
                      <a:pt x="199" y="224"/>
                    </a:lnTo>
                    <a:lnTo>
                      <a:pt x="208" y="213"/>
                    </a:lnTo>
                    <a:lnTo>
                      <a:pt x="224" y="188"/>
                    </a:lnTo>
                    <a:lnTo>
                      <a:pt x="232" y="176"/>
                    </a:lnTo>
                    <a:lnTo>
                      <a:pt x="239" y="164"/>
                    </a:lnTo>
                    <a:lnTo>
                      <a:pt x="255" y="138"/>
                    </a:lnTo>
                    <a:lnTo>
                      <a:pt x="261" y="125"/>
                    </a:lnTo>
                    <a:lnTo>
                      <a:pt x="268" y="112"/>
                    </a:lnTo>
                    <a:lnTo>
                      <a:pt x="274" y="99"/>
                    </a:lnTo>
                    <a:lnTo>
                      <a:pt x="280" y="85"/>
                    </a:lnTo>
                    <a:lnTo>
                      <a:pt x="290" y="56"/>
                    </a:lnTo>
                    <a:lnTo>
                      <a:pt x="295" y="42"/>
                    </a:lnTo>
                    <a:lnTo>
                      <a:pt x="300" y="28"/>
                    </a:lnTo>
                    <a:lnTo>
                      <a:pt x="304" y="14"/>
                    </a:lnTo>
                    <a:lnTo>
                      <a:pt x="308" y="0"/>
                    </a:lnTo>
                    <a:lnTo>
                      <a:pt x="544" y="255"/>
                    </a:lnTo>
                    <a:lnTo>
                      <a:pt x="934" y="123"/>
                    </a:lnTo>
                    <a:lnTo>
                      <a:pt x="926" y="156"/>
                    </a:lnTo>
                    <a:lnTo>
                      <a:pt x="917" y="188"/>
                    </a:lnTo>
                    <a:lnTo>
                      <a:pt x="907" y="220"/>
                    </a:lnTo>
                    <a:lnTo>
                      <a:pt x="897" y="252"/>
                    </a:lnTo>
                    <a:lnTo>
                      <a:pt x="891" y="268"/>
                    </a:lnTo>
                    <a:lnTo>
                      <a:pt x="886" y="283"/>
                    </a:lnTo>
                    <a:lnTo>
                      <a:pt x="873" y="314"/>
                    </a:lnTo>
                    <a:lnTo>
                      <a:pt x="867" y="329"/>
                    </a:lnTo>
                    <a:lnTo>
                      <a:pt x="860" y="344"/>
                    </a:lnTo>
                    <a:lnTo>
                      <a:pt x="847" y="374"/>
                    </a:lnTo>
                    <a:lnTo>
                      <a:pt x="840" y="389"/>
                    </a:lnTo>
                    <a:lnTo>
                      <a:pt x="833" y="405"/>
                    </a:lnTo>
                    <a:lnTo>
                      <a:pt x="818" y="434"/>
                    </a:lnTo>
                    <a:lnTo>
                      <a:pt x="802" y="462"/>
                    </a:lnTo>
                    <a:lnTo>
                      <a:pt x="786" y="490"/>
                    </a:lnTo>
                    <a:lnTo>
                      <a:pt x="769" y="518"/>
                    </a:lnTo>
                    <a:lnTo>
                      <a:pt x="751" y="545"/>
                    </a:lnTo>
                    <a:lnTo>
                      <a:pt x="733" y="573"/>
                    </a:lnTo>
                    <a:lnTo>
                      <a:pt x="713" y="599"/>
                    </a:lnTo>
                    <a:lnTo>
                      <a:pt x="693" y="625"/>
                    </a:lnTo>
                    <a:lnTo>
                      <a:pt x="673" y="650"/>
                    </a:lnTo>
                    <a:lnTo>
                      <a:pt x="663" y="662"/>
                    </a:lnTo>
                    <a:lnTo>
                      <a:pt x="652" y="675"/>
                    </a:lnTo>
                    <a:lnTo>
                      <a:pt x="631" y="699"/>
                    </a:lnTo>
                    <a:lnTo>
                      <a:pt x="609" y="723"/>
                    </a:lnTo>
                    <a:lnTo>
                      <a:pt x="586" y="746"/>
                    </a:lnTo>
                    <a:lnTo>
                      <a:pt x="562" y="768"/>
                    </a:lnTo>
                    <a:lnTo>
                      <a:pt x="538" y="790"/>
                    </a:lnTo>
                    <a:lnTo>
                      <a:pt x="513" y="811"/>
                    </a:lnTo>
                    <a:lnTo>
                      <a:pt x="488" y="832"/>
                    </a:lnTo>
                    <a:lnTo>
                      <a:pt x="463" y="852"/>
                    </a:lnTo>
                    <a:lnTo>
                      <a:pt x="437" y="871"/>
                    </a:lnTo>
                    <a:lnTo>
                      <a:pt x="410" y="891"/>
                    </a:lnTo>
                    <a:lnTo>
                      <a:pt x="382" y="909"/>
                    </a:lnTo>
                    <a:lnTo>
                      <a:pt x="368" y="918"/>
                    </a:lnTo>
                    <a:lnTo>
                      <a:pt x="355" y="926"/>
                    </a:lnTo>
                    <a:lnTo>
                      <a:pt x="341" y="934"/>
                    </a:lnTo>
                    <a:lnTo>
                      <a:pt x="327" y="9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8" name="Freeform 31"/>
              <p:cNvSpPr>
                <a:spLocks noChangeAspect="1"/>
              </p:cNvSpPr>
              <p:nvPr/>
            </p:nvSpPr>
            <p:spPr bwMode="auto">
              <a:xfrm>
                <a:off x="2621" y="3236"/>
                <a:ext cx="1076" cy="702"/>
              </a:xfrm>
              <a:custGeom>
                <a:avLst/>
                <a:gdLst>
                  <a:gd name="T0" fmla="*/ 0 w 1076"/>
                  <a:gd name="T1" fmla="*/ 237 h 702"/>
                  <a:gd name="T2" fmla="*/ 344 w 1076"/>
                  <a:gd name="T3" fmla="*/ 47 h 702"/>
                  <a:gd name="T4" fmla="*/ 387 w 1076"/>
                  <a:gd name="T5" fmla="*/ 56 h 702"/>
                  <a:gd name="T6" fmla="*/ 432 w 1076"/>
                  <a:gd name="T7" fmla="*/ 62 h 702"/>
                  <a:gd name="T8" fmla="*/ 477 w 1076"/>
                  <a:gd name="T9" fmla="*/ 65 h 702"/>
                  <a:gd name="T10" fmla="*/ 519 w 1076"/>
                  <a:gd name="T11" fmla="*/ 65 h 702"/>
                  <a:gd name="T12" fmla="*/ 557 w 1076"/>
                  <a:gd name="T13" fmla="*/ 63 h 702"/>
                  <a:gd name="T14" fmla="*/ 595 w 1076"/>
                  <a:gd name="T15" fmla="*/ 59 h 702"/>
                  <a:gd name="T16" fmla="*/ 632 w 1076"/>
                  <a:gd name="T17" fmla="*/ 53 h 702"/>
                  <a:gd name="T18" fmla="*/ 659 w 1076"/>
                  <a:gd name="T19" fmla="*/ 47 h 702"/>
                  <a:gd name="T20" fmla="*/ 685 w 1076"/>
                  <a:gd name="T21" fmla="*/ 39 h 702"/>
                  <a:gd name="T22" fmla="*/ 720 w 1076"/>
                  <a:gd name="T23" fmla="*/ 28 h 702"/>
                  <a:gd name="T24" fmla="*/ 754 w 1076"/>
                  <a:gd name="T25" fmla="*/ 15 h 702"/>
                  <a:gd name="T26" fmla="*/ 787 w 1076"/>
                  <a:gd name="T27" fmla="*/ 0 h 702"/>
                  <a:gd name="T28" fmla="*/ 1076 w 1076"/>
                  <a:gd name="T29" fmla="*/ 566 h 702"/>
                  <a:gd name="T30" fmla="*/ 1042 w 1076"/>
                  <a:gd name="T31" fmla="*/ 581 h 702"/>
                  <a:gd name="T32" fmla="*/ 976 w 1076"/>
                  <a:gd name="T33" fmla="*/ 610 h 702"/>
                  <a:gd name="T34" fmla="*/ 907 w 1076"/>
                  <a:gd name="T35" fmla="*/ 636 h 702"/>
                  <a:gd name="T36" fmla="*/ 836 w 1076"/>
                  <a:gd name="T37" fmla="*/ 658 h 702"/>
                  <a:gd name="T38" fmla="*/ 764 w 1076"/>
                  <a:gd name="T39" fmla="*/ 675 h 702"/>
                  <a:gd name="T40" fmla="*/ 727 w 1076"/>
                  <a:gd name="T41" fmla="*/ 682 h 702"/>
                  <a:gd name="T42" fmla="*/ 690 w 1076"/>
                  <a:gd name="T43" fmla="*/ 688 h 702"/>
                  <a:gd name="T44" fmla="*/ 615 w 1076"/>
                  <a:gd name="T45" fmla="*/ 697 h 702"/>
                  <a:gd name="T46" fmla="*/ 538 w 1076"/>
                  <a:gd name="T47" fmla="*/ 702 h 702"/>
                  <a:gd name="T48" fmla="*/ 500 w 1076"/>
                  <a:gd name="T49" fmla="*/ 702 h 702"/>
                  <a:gd name="T50" fmla="*/ 437 w 1076"/>
                  <a:gd name="T51" fmla="*/ 701 h 702"/>
                  <a:gd name="T52" fmla="*/ 375 w 1076"/>
                  <a:gd name="T53" fmla="*/ 696 h 702"/>
                  <a:gd name="T54" fmla="*/ 314 w 1076"/>
                  <a:gd name="T55" fmla="*/ 689 h 702"/>
                  <a:gd name="T56" fmla="*/ 253 w 1076"/>
                  <a:gd name="T57" fmla="*/ 679 h 702"/>
                  <a:gd name="T58" fmla="*/ 195 w 1076"/>
                  <a:gd name="T59" fmla="*/ 666 h 702"/>
                  <a:gd name="T60" fmla="*/ 137 w 1076"/>
                  <a:gd name="T61" fmla="*/ 651 h 702"/>
                  <a:gd name="T62" fmla="*/ 80 w 1076"/>
                  <a:gd name="T63" fmla="*/ 632 h 702"/>
                  <a:gd name="T64" fmla="*/ 24 w 1076"/>
                  <a:gd name="T65" fmla="*/ 610 h 70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76"/>
                  <a:gd name="T100" fmla="*/ 0 h 702"/>
                  <a:gd name="T101" fmla="*/ 1076 w 1076"/>
                  <a:gd name="T102" fmla="*/ 702 h 70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76" h="702">
                    <a:moveTo>
                      <a:pt x="24" y="610"/>
                    </a:moveTo>
                    <a:lnTo>
                      <a:pt x="0" y="237"/>
                    </a:lnTo>
                    <a:lnTo>
                      <a:pt x="323" y="41"/>
                    </a:lnTo>
                    <a:lnTo>
                      <a:pt x="344" y="47"/>
                    </a:lnTo>
                    <a:lnTo>
                      <a:pt x="365" y="52"/>
                    </a:lnTo>
                    <a:lnTo>
                      <a:pt x="387" y="56"/>
                    </a:lnTo>
                    <a:lnTo>
                      <a:pt x="409" y="59"/>
                    </a:lnTo>
                    <a:lnTo>
                      <a:pt x="432" y="62"/>
                    </a:lnTo>
                    <a:lnTo>
                      <a:pt x="454" y="64"/>
                    </a:lnTo>
                    <a:lnTo>
                      <a:pt x="477" y="65"/>
                    </a:lnTo>
                    <a:lnTo>
                      <a:pt x="500" y="66"/>
                    </a:lnTo>
                    <a:lnTo>
                      <a:pt x="519" y="65"/>
                    </a:lnTo>
                    <a:lnTo>
                      <a:pt x="538" y="64"/>
                    </a:lnTo>
                    <a:lnTo>
                      <a:pt x="557" y="63"/>
                    </a:lnTo>
                    <a:lnTo>
                      <a:pt x="576" y="61"/>
                    </a:lnTo>
                    <a:lnTo>
                      <a:pt x="595" y="59"/>
                    </a:lnTo>
                    <a:lnTo>
                      <a:pt x="614" y="56"/>
                    </a:lnTo>
                    <a:lnTo>
                      <a:pt x="632" y="53"/>
                    </a:lnTo>
                    <a:lnTo>
                      <a:pt x="650" y="49"/>
                    </a:lnTo>
                    <a:lnTo>
                      <a:pt x="659" y="47"/>
                    </a:lnTo>
                    <a:lnTo>
                      <a:pt x="668" y="44"/>
                    </a:lnTo>
                    <a:lnTo>
                      <a:pt x="685" y="39"/>
                    </a:lnTo>
                    <a:lnTo>
                      <a:pt x="703" y="34"/>
                    </a:lnTo>
                    <a:lnTo>
                      <a:pt x="720" y="28"/>
                    </a:lnTo>
                    <a:lnTo>
                      <a:pt x="737" y="22"/>
                    </a:lnTo>
                    <a:lnTo>
                      <a:pt x="754" y="15"/>
                    </a:lnTo>
                    <a:lnTo>
                      <a:pt x="771" y="7"/>
                    </a:lnTo>
                    <a:lnTo>
                      <a:pt x="787" y="0"/>
                    </a:lnTo>
                    <a:lnTo>
                      <a:pt x="734" y="348"/>
                    </a:lnTo>
                    <a:lnTo>
                      <a:pt x="1076" y="566"/>
                    </a:lnTo>
                    <a:lnTo>
                      <a:pt x="1060" y="574"/>
                    </a:lnTo>
                    <a:lnTo>
                      <a:pt x="1042" y="581"/>
                    </a:lnTo>
                    <a:lnTo>
                      <a:pt x="1009" y="596"/>
                    </a:lnTo>
                    <a:lnTo>
                      <a:pt x="976" y="610"/>
                    </a:lnTo>
                    <a:lnTo>
                      <a:pt x="942" y="624"/>
                    </a:lnTo>
                    <a:lnTo>
                      <a:pt x="907" y="636"/>
                    </a:lnTo>
                    <a:lnTo>
                      <a:pt x="872" y="648"/>
                    </a:lnTo>
                    <a:lnTo>
                      <a:pt x="836" y="658"/>
                    </a:lnTo>
                    <a:lnTo>
                      <a:pt x="801" y="667"/>
                    </a:lnTo>
                    <a:lnTo>
                      <a:pt x="764" y="675"/>
                    </a:lnTo>
                    <a:lnTo>
                      <a:pt x="746" y="679"/>
                    </a:lnTo>
                    <a:lnTo>
                      <a:pt x="727" y="682"/>
                    </a:lnTo>
                    <a:lnTo>
                      <a:pt x="708" y="685"/>
                    </a:lnTo>
                    <a:lnTo>
                      <a:pt x="690" y="688"/>
                    </a:lnTo>
                    <a:lnTo>
                      <a:pt x="653" y="693"/>
                    </a:lnTo>
                    <a:lnTo>
                      <a:pt x="615" y="697"/>
                    </a:lnTo>
                    <a:lnTo>
                      <a:pt x="576" y="700"/>
                    </a:lnTo>
                    <a:lnTo>
                      <a:pt x="538" y="702"/>
                    </a:lnTo>
                    <a:lnTo>
                      <a:pt x="519" y="702"/>
                    </a:lnTo>
                    <a:lnTo>
                      <a:pt x="500" y="702"/>
                    </a:lnTo>
                    <a:lnTo>
                      <a:pt x="468" y="702"/>
                    </a:lnTo>
                    <a:lnTo>
                      <a:pt x="437" y="701"/>
                    </a:lnTo>
                    <a:lnTo>
                      <a:pt x="405" y="699"/>
                    </a:lnTo>
                    <a:lnTo>
                      <a:pt x="375" y="696"/>
                    </a:lnTo>
                    <a:lnTo>
                      <a:pt x="344" y="693"/>
                    </a:lnTo>
                    <a:lnTo>
                      <a:pt x="314" y="689"/>
                    </a:lnTo>
                    <a:lnTo>
                      <a:pt x="284" y="684"/>
                    </a:lnTo>
                    <a:lnTo>
                      <a:pt x="253" y="679"/>
                    </a:lnTo>
                    <a:lnTo>
                      <a:pt x="224" y="673"/>
                    </a:lnTo>
                    <a:lnTo>
                      <a:pt x="195" y="666"/>
                    </a:lnTo>
                    <a:lnTo>
                      <a:pt x="166" y="659"/>
                    </a:lnTo>
                    <a:lnTo>
                      <a:pt x="137" y="651"/>
                    </a:lnTo>
                    <a:lnTo>
                      <a:pt x="109" y="642"/>
                    </a:lnTo>
                    <a:lnTo>
                      <a:pt x="80" y="632"/>
                    </a:lnTo>
                    <a:lnTo>
                      <a:pt x="52" y="621"/>
                    </a:lnTo>
                    <a:lnTo>
                      <a:pt x="24" y="6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9" name="Freeform 32"/>
              <p:cNvSpPr>
                <a:spLocks noChangeAspect="1"/>
              </p:cNvSpPr>
              <p:nvPr/>
            </p:nvSpPr>
            <p:spPr bwMode="auto">
              <a:xfrm>
                <a:off x="1894" y="2774"/>
                <a:ext cx="971" cy="1043"/>
              </a:xfrm>
              <a:custGeom>
                <a:avLst/>
                <a:gdLst>
                  <a:gd name="T0" fmla="*/ 957 w 971"/>
                  <a:gd name="T1" fmla="*/ 469 h 1043"/>
                  <a:gd name="T2" fmla="*/ 929 w 971"/>
                  <a:gd name="T3" fmla="*/ 455 h 1043"/>
                  <a:gd name="T4" fmla="*/ 889 w 971"/>
                  <a:gd name="T5" fmla="*/ 432 h 1043"/>
                  <a:gd name="T6" fmla="*/ 863 w 971"/>
                  <a:gd name="T7" fmla="*/ 415 h 1043"/>
                  <a:gd name="T8" fmla="*/ 838 w 971"/>
                  <a:gd name="T9" fmla="*/ 397 h 1043"/>
                  <a:gd name="T10" fmla="*/ 802 w 971"/>
                  <a:gd name="T11" fmla="*/ 368 h 1043"/>
                  <a:gd name="T12" fmla="*/ 769 w 971"/>
                  <a:gd name="T13" fmla="*/ 336 h 1043"/>
                  <a:gd name="T14" fmla="*/ 748 w 971"/>
                  <a:gd name="T15" fmla="*/ 314 h 1043"/>
                  <a:gd name="T16" fmla="*/ 728 w 971"/>
                  <a:gd name="T17" fmla="*/ 291 h 1043"/>
                  <a:gd name="T18" fmla="*/ 709 w 971"/>
                  <a:gd name="T19" fmla="*/ 266 h 1043"/>
                  <a:gd name="T20" fmla="*/ 691 w 971"/>
                  <a:gd name="T21" fmla="*/ 241 h 1043"/>
                  <a:gd name="T22" fmla="*/ 675 w 971"/>
                  <a:gd name="T23" fmla="*/ 215 h 1043"/>
                  <a:gd name="T24" fmla="*/ 645 w 971"/>
                  <a:gd name="T25" fmla="*/ 161 h 1043"/>
                  <a:gd name="T26" fmla="*/ 632 w 971"/>
                  <a:gd name="T27" fmla="*/ 133 h 1043"/>
                  <a:gd name="T28" fmla="*/ 0 w 971"/>
                  <a:gd name="T29" fmla="*/ 249 h 1043"/>
                  <a:gd name="T30" fmla="*/ 21 w 971"/>
                  <a:gd name="T31" fmla="*/ 315 h 1043"/>
                  <a:gd name="T32" fmla="*/ 46 w 971"/>
                  <a:gd name="T33" fmla="*/ 378 h 1043"/>
                  <a:gd name="T34" fmla="*/ 60 w 971"/>
                  <a:gd name="T35" fmla="*/ 409 h 1043"/>
                  <a:gd name="T36" fmla="*/ 74 w 971"/>
                  <a:gd name="T37" fmla="*/ 440 h 1043"/>
                  <a:gd name="T38" fmla="*/ 105 w 971"/>
                  <a:gd name="T39" fmla="*/ 500 h 1043"/>
                  <a:gd name="T40" fmla="*/ 138 w 971"/>
                  <a:gd name="T41" fmla="*/ 558 h 1043"/>
                  <a:gd name="T42" fmla="*/ 156 w 971"/>
                  <a:gd name="T43" fmla="*/ 586 h 1043"/>
                  <a:gd name="T44" fmla="*/ 185 w 971"/>
                  <a:gd name="T45" fmla="*/ 629 h 1043"/>
                  <a:gd name="T46" fmla="*/ 216 w 971"/>
                  <a:gd name="T47" fmla="*/ 669 h 1043"/>
                  <a:gd name="T48" fmla="*/ 258 w 971"/>
                  <a:gd name="T49" fmla="*/ 720 h 1043"/>
                  <a:gd name="T50" fmla="*/ 303 w 971"/>
                  <a:gd name="T51" fmla="*/ 771 h 1043"/>
                  <a:gd name="T52" fmla="*/ 351 w 971"/>
                  <a:gd name="T53" fmla="*/ 818 h 1043"/>
                  <a:gd name="T54" fmla="*/ 388 w 971"/>
                  <a:gd name="T55" fmla="*/ 851 h 1043"/>
                  <a:gd name="T56" fmla="*/ 426 w 971"/>
                  <a:gd name="T57" fmla="*/ 883 h 1043"/>
                  <a:gd name="T58" fmla="*/ 479 w 971"/>
                  <a:gd name="T59" fmla="*/ 923 h 1043"/>
                  <a:gd name="T60" fmla="*/ 536 w 971"/>
                  <a:gd name="T61" fmla="*/ 962 h 1043"/>
                  <a:gd name="T62" fmla="*/ 593 w 971"/>
                  <a:gd name="T63" fmla="*/ 997 h 1043"/>
                  <a:gd name="T64" fmla="*/ 652 w 971"/>
                  <a:gd name="T65" fmla="*/ 1028 h 1043"/>
                  <a:gd name="T66" fmla="*/ 659 w 971"/>
                  <a:gd name="T67" fmla="*/ 657 h 10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71"/>
                  <a:gd name="T103" fmla="*/ 0 h 1043"/>
                  <a:gd name="T104" fmla="*/ 971 w 971"/>
                  <a:gd name="T105" fmla="*/ 1043 h 10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71" h="1043">
                    <a:moveTo>
                      <a:pt x="971" y="475"/>
                    </a:moveTo>
                    <a:lnTo>
                      <a:pt x="957" y="469"/>
                    </a:lnTo>
                    <a:lnTo>
                      <a:pt x="943" y="462"/>
                    </a:lnTo>
                    <a:lnTo>
                      <a:pt x="929" y="455"/>
                    </a:lnTo>
                    <a:lnTo>
                      <a:pt x="915" y="448"/>
                    </a:lnTo>
                    <a:lnTo>
                      <a:pt x="889" y="432"/>
                    </a:lnTo>
                    <a:lnTo>
                      <a:pt x="876" y="423"/>
                    </a:lnTo>
                    <a:lnTo>
                      <a:pt x="863" y="415"/>
                    </a:lnTo>
                    <a:lnTo>
                      <a:pt x="851" y="406"/>
                    </a:lnTo>
                    <a:lnTo>
                      <a:pt x="838" y="397"/>
                    </a:lnTo>
                    <a:lnTo>
                      <a:pt x="814" y="378"/>
                    </a:lnTo>
                    <a:lnTo>
                      <a:pt x="802" y="368"/>
                    </a:lnTo>
                    <a:lnTo>
                      <a:pt x="791" y="358"/>
                    </a:lnTo>
                    <a:lnTo>
                      <a:pt x="769" y="336"/>
                    </a:lnTo>
                    <a:lnTo>
                      <a:pt x="758" y="326"/>
                    </a:lnTo>
                    <a:lnTo>
                      <a:pt x="748" y="314"/>
                    </a:lnTo>
                    <a:lnTo>
                      <a:pt x="738" y="303"/>
                    </a:lnTo>
                    <a:lnTo>
                      <a:pt x="728" y="291"/>
                    </a:lnTo>
                    <a:lnTo>
                      <a:pt x="718" y="278"/>
                    </a:lnTo>
                    <a:lnTo>
                      <a:pt x="709" y="266"/>
                    </a:lnTo>
                    <a:lnTo>
                      <a:pt x="700" y="254"/>
                    </a:lnTo>
                    <a:lnTo>
                      <a:pt x="691" y="241"/>
                    </a:lnTo>
                    <a:lnTo>
                      <a:pt x="683" y="228"/>
                    </a:lnTo>
                    <a:lnTo>
                      <a:pt x="675" y="215"/>
                    </a:lnTo>
                    <a:lnTo>
                      <a:pt x="659" y="188"/>
                    </a:lnTo>
                    <a:lnTo>
                      <a:pt x="645" y="161"/>
                    </a:lnTo>
                    <a:lnTo>
                      <a:pt x="638" y="147"/>
                    </a:lnTo>
                    <a:lnTo>
                      <a:pt x="632" y="133"/>
                    </a:lnTo>
                    <a:lnTo>
                      <a:pt x="279" y="0"/>
                    </a:lnTo>
                    <a:lnTo>
                      <a:pt x="0" y="249"/>
                    </a:lnTo>
                    <a:lnTo>
                      <a:pt x="10" y="281"/>
                    </a:lnTo>
                    <a:lnTo>
                      <a:pt x="21" y="315"/>
                    </a:lnTo>
                    <a:lnTo>
                      <a:pt x="33" y="347"/>
                    </a:lnTo>
                    <a:lnTo>
                      <a:pt x="46" y="378"/>
                    </a:lnTo>
                    <a:lnTo>
                      <a:pt x="53" y="394"/>
                    </a:lnTo>
                    <a:lnTo>
                      <a:pt x="60" y="409"/>
                    </a:lnTo>
                    <a:lnTo>
                      <a:pt x="67" y="424"/>
                    </a:lnTo>
                    <a:lnTo>
                      <a:pt x="74" y="440"/>
                    </a:lnTo>
                    <a:lnTo>
                      <a:pt x="89" y="471"/>
                    </a:lnTo>
                    <a:lnTo>
                      <a:pt x="105" y="500"/>
                    </a:lnTo>
                    <a:lnTo>
                      <a:pt x="121" y="530"/>
                    </a:lnTo>
                    <a:lnTo>
                      <a:pt x="138" y="558"/>
                    </a:lnTo>
                    <a:lnTo>
                      <a:pt x="147" y="572"/>
                    </a:lnTo>
                    <a:lnTo>
                      <a:pt x="156" y="586"/>
                    </a:lnTo>
                    <a:lnTo>
                      <a:pt x="175" y="615"/>
                    </a:lnTo>
                    <a:lnTo>
                      <a:pt x="185" y="629"/>
                    </a:lnTo>
                    <a:lnTo>
                      <a:pt x="195" y="642"/>
                    </a:lnTo>
                    <a:lnTo>
                      <a:pt x="216" y="669"/>
                    </a:lnTo>
                    <a:lnTo>
                      <a:pt x="236" y="695"/>
                    </a:lnTo>
                    <a:lnTo>
                      <a:pt x="258" y="720"/>
                    </a:lnTo>
                    <a:lnTo>
                      <a:pt x="280" y="745"/>
                    </a:lnTo>
                    <a:lnTo>
                      <a:pt x="303" y="771"/>
                    </a:lnTo>
                    <a:lnTo>
                      <a:pt x="326" y="794"/>
                    </a:lnTo>
                    <a:lnTo>
                      <a:pt x="351" y="818"/>
                    </a:lnTo>
                    <a:lnTo>
                      <a:pt x="375" y="840"/>
                    </a:lnTo>
                    <a:lnTo>
                      <a:pt x="388" y="851"/>
                    </a:lnTo>
                    <a:lnTo>
                      <a:pt x="401" y="862"/>
                    </a:lnTo>
                    <a:lnTo>
                      <a:pt x="426" y="883"/>
                    </a:lnTo>
                    <a:lnTo>
                      <a:pt x="453" y="904"/>
                    </a:lnTo>
                    <a:lnTo>
                      <a:pt x="479" y="923"/>
                    </a:lnTo>
                    <a:lnTo>
                      <a:pt x="508" y="944"/>
                    </a:lnTo>
                    <a:lnTo>
                      <a:pt x="536" y="962"/>
                    </a:lnTo>
                    <a:lnTo>
                      <a:pt x="564" y="980"/>
                    </a:lnTo>
                    <a:lnTo>
                      <a:pt x="593" y="997"/>
                    </a:lnTo>
                    <a:lnTo>
                      <a:pt x="622" y="1013"/>
                    </a:lnTo>
                    <a:lnTo>
                      <a:pt x="652" y="1028"/>
                    </a:lnTo>
                    <a:lnTo>
                      <a:pt x="684" y="1043"/>
                    </a:lnTo>
                    <a:lnTo>
                      <a:pt x="659" y="657"/>
                    </a:lnTo>
                    <a:lnTo>
                      <a:pt x="971" y="4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0" name="Freeform 33"/>
              <p:cNvSpPr>
                <a:spLocks noChangeAspect="1"/>
              </p:cNvSpPr>
              <p:nvPr/>
            </p:nvSpPr>
            <p:spPr bwMode="auto">
              <a:xfrm>
                <a:off x="1840" y="1913"/>
                <a:ext cx="726" cy="1039"/>
              </a:xfrm>
              <a:custGeom>
                <a:avLst/>
                <a:gdLst>
                  <a:gd name="T0" fmla="*/ 715 w 726"/>
                  <a:gd name="T1" fmla="*/ 436 h 1039"/>
                  <a:gd name="T2" fmla="*/ 696 w 726"/>
                  <a:gd name="T3" fmla="*/ 474 h 1039"/>
                  <a:gd name="T4" fmla="*/ 680 w 726"/>
                  <a:gd name="T5" fmla="*/ 513 h 1039"/>
                  <a:gd name="T6" fmla="*/ 666 w 726"/>
                  <a:gd name="T7" fmla="*/ 553 h 1039"/>
                  <a:gd name="T8" fmla="*/ 654 w 726"/>
                  <a:gd name="T9" fmla="*/ 593 h 1039"/>
                  <a:gd name="T10" fmla="*/ 646 w 726"/>
                  <a:gd name="T11" fmla="*/ 635 h 1039"/>
                  <a:gd name="T12" fmla="*/ 640 w 726"/>
                  <a:gd name="T13" fmla="*/ 679 h 1039"/>
                  <a:gd name="T14" fmla="*/ 637 w 726"/>
                  <a:gd name="T15" fmla="*/ 722 h 1039"/>
                  <a:gd name="T16" fmla="*/ 637 w 726"/>
                  <a:gd name="T17" fmla="*/ 767 h 1039"/>
                  <a:gd name="T18" fmla="*/ 640 w 726"/>
                  <a:gd name="T19" fmla="*/ 811 h 1039"/>
                  <a:gd name="T20" fmla="*/ 646 w 726"/>
                  <a:gd name="T21" fmla="*/ 856 h 1039"/>
                  <a:gd name="T22" fmla="*/ 655 w 726"/>
                  <a:gd name="T23" fmla="*/ 898 h 1039"/>
                  <a:gd name="T24" fmla="*/ 324 w 726"/>
                  <a:gd name="T25" fmla="*/ 783 h 1039"/>
                  <a:gd name="T26" fmla="*/ 26 w 726"/>
                  <a:gd name="T27" fmla="*/ 1004 h 1039"/>
                  <a:gd name="T28" fmla="*/ 19 w 726"/>
                  <a:gd name="T29" fmla="*/ 967 h 1039"/>
                  <a:gd name="T30" fmla="*/ 9 w 726"/>
                  <a:gd name="T31" fmla="*/ 894 h 1039"/>
                  <a:gd name="T32" fmla="*/ 2 w 726"/>
                  <a:gd name="T33" fmla="*/ 820 h 1039"/>
                  <a:gd name="T34" fmla="*/ 0 w 726"/>
                  <a:gd name="T35" fmla="*/ 745 h 1039"/>
                  <a:gd name="T36" fmla="*/ 1 w 726"/>
                  <a:gd name="T37" fmla="*/ 693 h 1039"/>
                  <a:gd name="T38" fmla="*/ 4 w 726"/>
                  <a:gd name="T39" fmla="*/ 641 h 1039"/>
                  <a:gd name="T40" fmla="*/ 9 w 726"/>
                  <a:gd name="T41" fmla="*/ 590 h 1039"/>
                  <a:gd name="T42" fmla="*/ 16 w 726"/>
                  <a:gd name="T43" fmla="*/ 541 h 1039"/>
                  <a:gd name="T44" fmla="*/ 25 w 726"/>
                  <a:gd name="T45" fmla="*/ 490 h 1039"/>
                  <a:gd name="T46" fmla="*/ 36 w 726"/>
                  <a:gd name="T47" fmla="*/ 442 h 1039"/>
                  <a:gd name="T48" fmla="*/ 49 w 726"/>
                  <a:gd name="T49" fmla="*/ 394 h 1039"/>
                  <a:gd name="T50" fmla="*/ 63 w 726"/>
                  <a:gd name="T51" fmla="*/ 347 h 1039"/>
                  <a:gd name="T52" fmla="*/ 79 w 726"/>
                  <a:gd name="T53" fmla="*/ 300 h 1039"/>
                  <a:gd name="T54" fmla="*/ 98 w 726"/>
                  <a:gd name="T55" fmla="*/ 255 h 1039"/>
                  <a:gd name="T56" fmla="*/ 118 w 726"/>
                  <a:gd name="T57" fmla="*/ 210 h 1039"/>
                  <a:gd name="T58" fmla="*/ 139 w 726"/>
                  <a:gd name="T59" fmla="*/ 166 h 1039"/>
                  <a:gd name="T60" fmla="*/ 162 w 726"/>
                  <a:gd name="T61" fmla="*/ 123 h 1039"/>
                  <a:gd name="T62" fmla="*/ 186 w 726"/>
                  <a:gd name="T63" fmla="*/ 81 h 1039"/>
                  <a:gd name="T64" fmla="*/ 212 w 726"/>
                  <a:gd name="T65" fmla="*/ 41 h 1039"/>
                  <a:gd name="T66" fmla="*/ 239 w 726"/>
                  <a:gd name="T67" fmla="*/ 0 h 1039"/>
                  <a:gd name="T68" fmla="*/ 726 w 726"/>
                  <a:gd name="T69" fmla="*/ 418 h 103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26"/>
                  <a:gd name="T106" fmla="*/ 0 h 1039"/>
                  <a:gd name="T107" fmla="*/ 726 w 726"/>
                  <a:gd name="T108" fmla="*/ 1039 h 103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26" h="1039">
                    <a:moveTo>
                      <a:pt x="726" y="418"/>
                    </a:moveTo>
                    <a:lnTo>
                      <a:pt x="715" y="436"/>
                    </a:lnTo>
                    <a:lnTo>
                      <a:pt x="705" y="455"/>
                    </a:lnTo>
                    <a:lnTo>
                      <a:pt x="696" y="474"/>
                    </a:lnTo>
                    <a:lnTo>
                      <a:pt x="687" y="493"/>
                    </a:lnTo>
                    <a:lnTo>
                      <a:pt x="680" y="513"/>
                    </a:lnTo>
                    <a:lnTo>
                      <a:pt x="672" y="533"/>
                    </a:lnTo>
                    <a:lnTo>
                      <a:pt x="666" y="553"/>
                    </a:lnTo>
                    <a:lnTo>
                      <a:pt x="660" y="573"/>
                    </a:lnTo>
                    <a:lnTo>
                      <a:pt x="654" y="593"/>
                    </a:lnTo>
                    <a:lnTo>
                      <a:pt x="650" y="614"/>
                    </a:lnTo>
                    <a:lnTo>
                      <a:pt x="646" y="635"/>
                    </a:lnTo>
                    <a:lnTo>
                      <a:pt x="643" y="656"/>
                    </a:lnTo>
                    <a:lnTo>
                      <a:pt x="640" y="679"/>
                    </a:lnTo>
                    <a:lnTo>
                      <a:pt x="638" y="701"/>
                    </a:lnTo>
                    <a:lnTo>
                      <a:pt x="637" y="722"/>
                    </a:lnTo>
                    <a:lnTo>
                      <a:pt x="637" y="745"/>
                    </a:lnTo>
                    <a:lnTo>
                      <a:pt x="637" y="767"/>
                    </a:lnTo>
                    <a:lnTo>
                      <a:pt x="638" y="789"/>
                    </a:lnTo>
                    <a:lnTo>
                      <a:pt x="640" y="811"/>
                    </a:lnTo>
                    <a:lnTo>
                      <a:pt x="643" y="834"/>
                    </a:lnTo>
                    <a:lnTo>
                      <a:pt x="646" y="856"/>
                    </a:lnTo>
                    <a:lnTo>
                      <a:pt x="650" y="877"/>
                    </a:lnTo>
                    <a:lnTo>
                      <a:pt x="655" y="898"/>
                    </a:lnTo>
                    <a:lnTo>
                      <a:pt x="660" y="919"/>
                    </a:lnTo>
                    <a:lnTo>
                      <a:pt x="324" y="783"/>
                    </a:lnTo>
                    <a:lnTo>
                      <a:pt x="34" y="1039"/>
                    </a:lnTo>
                    <a:lnTo>
                      <a:pt x="26" y="1004"/>
                    </a:lnTo>
                    <a:lnTo>
                      <a:pt x="23" y="986"/>
                    </a:lnTo>
                    <a:lnTo>
                      <a:pt x="19" y="967"/>
                    </a:lnTo>
                    <a:lnTo>
                      <a:pt x="14" y="931"/>
                    </a:lnTo>
                    <a:lnTo>
                      <a:pt x="9" y="894"/>
                    </a:lnTo>
                    <a:lnTo>
                      <a:pt x="5" y="858"/>
                    </a:lnTo>
                    <a:lnTo>
                      <a:pt x="2" y="820"/>
                    </a:lnTo>
                    <a:lnTo>
                      <a:pt x="1" y="782"/>
                    </a:lnTo>
                    <a:lnTo>
                      <a:pt x="0" y="745"/>
                    </a:lnTo>
                    <a:lnTo>
                      <a:pt x="0" y="719"/>
                    </a:lnTo>
                    <a:lnTo>
                      <a:pt x="1" y="693"/>
                    </a:lnTo>
                    <a:lnTo>
                      <a:pt x="2" y="667"/>
                    </a:lnTo>
                    <a:lnTo>
                      <a:pt x="4" y="641"/>
                    </a:lnTo>
                    <a:lnTo>
                      <a:pt x="6" y="616"/>
                    </a:lnTo>
                    <a:lnTo>
                      <a:pt x="9" y="590"/>
                    </a:lnTo>
                    <a:lnTo>
                      <a:pt x="13" y="565"/>
                    </a:lnTo>
                    <a:lnTo>
                      <a:pt x="16" y="541"/>
                    </a:lnTo>
                    <a:lnTo>
                      <a:pt x="20" y="516"/>
                    </a:lnTo>
                    <a:lnTo>
                      <a:pt x="25" y="490"/>
                    </a:lnTo>
                    <a:lnTo>
                      <a:pt x="30" y="466"/>
                    </a:lnTo>
                    <a:lnTo>
                      <a:pt x="36" y="442"/>
                    </a:lnTo>
                    <a:lnTo>
                      <a:pt x="42" y="418"/>
                    </a:lnTo>
                    <a:lnTo>
                      <a:pt x="49" y="394"/>
                    </a:lnTo>
                    <a:lnTo>
                      <a:pt x="56" y="371"/>
                    </a:lnTo>
                    <a:lnTo>
                      <a:pt x="63" y="347"/>
                    </a:lnTo>
                    <a:lnTo>
                      <a:pt x="71" y="323"/>
                    </a:lnTo>
                    <a:lnTo>
                      <a:pt x="79" y="300"/>
                    </a:lnTo>
                    <a:lnTo>
                      <a:pt x="89" y="277"/>
                    </a:lnTo>
                    <a:lnTo>
                      <a:pt x="98" y="255"/>
                    </a:lnTo>
                    <a:lnTo>
                      <a:pt x="108" y="232"/>
                    </a:lnTo>
                    <a:lnTo>
                      <a:pt x="118" y="210"/>
                    </a:lnTo>
                    <a:lnTo>
                      <a:pt x="128" y="188"/>
                    </a:lnTo>
                    <a:lnTo>
                      <a:pt x="139" y="166"/>
                    </a:lnTo>
                    <a:lnTo>
                      <a:pt x="150" y="144"/>
                    </a:lnTo>
                    <a:lnTo>
                      <a:pt x="162" y="123"/>
                    </a:lnTo>
                    <a:lnTo>
                      <a:pt x="174" y="102"/>
                    </a:lnTo>
                    <a:lnTo>
                      <a:pt x="186" y="81"/>
                    </a:lnTo>
                    <a:lnTo>
                      <a:pt x="199" y="61"/>
                    </a:lnTo>
                    <a:lnTo>
                      <a:pt x="212" y="41"/>
                    </a:lnTo>
                    <a:lnTo>
                      <a:pt x="226" y="20"/>
                    </a:lnTo>
                    <a:lnTo>
                      <a:pt x="239" y="0"/>
                    </a:lnTo>
                    <a:lnTo>
                      <a:pt x="609" y="61"/>
                    </a:lnTo>
                    <a:lnTo>
                      <a:pt x="726" y="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1" name="Freeform 34"/>
              <p:cNvSpPr>
                <a:spLocks noChangeAspect="1"/>
              </p:cNvSpPr>
              <p:nvPr/>
            </p:nvSpPr>
            <p:spPr bwMode="auto">
              <a:xfrm>
                <a:off x="2123" y="1378"/>
                <a:ext cx="1148" cy="882"/>
              </a:xfrm>
              <a:custGeom>
                <a:avLst/>
                <a:gdLst>
                  <a:gd name="T0" fmla="*/ 502 w 1148"/>
                  <a:gd name="T1" fmla="*/ 868 h 882"/>
                  <a:gd name="T2" fmla="*/ 524 w 1148"/>
                  <a:gd name="T3" fmla="*/ 843 h 882"/>
                  <a:gd name="T4" fmla="*/ 547 w 1148"/>
                  <a:gd name="T5" fmla="*/ 819 h 882"/>
                  <a:gd name="T6" fmla="*/ 571 w 1148"/>
                  <a:gd name="T7" fmla="*/ 797 h 882"/>
                  <a:gd name="T8" fmla="*/ 598 w 1148"/>
                  <a:gd name="T9" fmla="*/ 775 h 882"/>
                  <a:gd name="T10" fmla="*/ 624 w 1148"/>
                  <a:gd name="T11" fmla="*/ 755 h 882"/>
                  <a:gd name="T12" fmla="*/ 651 w 1148"/>
                  <a:gd name="T13" fmla="*/ 737 h 882"/>
                  <a:gd name="T14" fmla="*/ 680 w 1148"/>
                  <a:gd name="T15" fmla="*/ 719 h 882"/>
                  <a:gd name="T16" fmla="*/ 709 w 1148"/>
                  <a:gd name="T17" fmla="*/ 703 h 882"/>
                  <a:gd name="T18" fmla="*/ 740 w 1148"/>
                  <a:gd name="T19" fmla="*/ 689 h 882"/>
                  <a:gd name="T20" fmla="*/ 772 w 1148"/>
                  <a:gd name="T21" fmla="*/ 676 h 882"/>
                  <a:gd name="T22" fmla="*/ 804 w 1148"/>
                  <a:gd name="T23" fmla="*/ 665 h 882"/>
                  <a:gd name="T24" fmla="*/ 836 w 1148"/>
                  <a:gd name="T25" fmla="*/ 656 h 882"/>
                  <a:gd name="T26" fmla="*/ 870 w 1148"/>
                  <a:gd name="T27" fmla="*/ 648 h 882"/>
                  <a:gd name="T28" fmla="*/ 904 w 1148"/>
                  <a:gd name="T29" fmla="*/ 642 h 882"/>
                  <a:gd name="T30" fmla="*/ 939 w 1148"/>
                  <a:gd name="T31" fmla="*/ 638 h 882"/>
                  <a:gd name="T32" fmla="*/ 1148 w 1148"/>
                  <a:gd name="T33" fmla="*/ 334 h 882"/>
                  <a:gd name="T34" fmla="*/ 918 w 1148"/>
                  <a:gd name="T35" fmla="*/ 1 h 882"/>
                  <a:gd name="T36" fmla="*/ 847 w 1148"/>
                  <a:gd name="T37" fmla="*/ 8 h 882"/>
                  <a:gd name="T38" fmla="*/ 777 w 1148"/>
                  <a:gd name="T39" fmla="*/ 18 h 882"/>
                  <a:gd name="T40" fmla="*/ 708 w 1148"/>
                  <a:gd name="T41" fmla="*/ 32 h 882"/>
                  <a:gd name="T42" fmla="*/ 675 w 1148"/>
                  <a:gd name="T43" fmla="*/ 40 h 882"/>
                  <a:gd name="T44" fmla="*/ 609 w 1148"/>
                  <a:gd name="T45" fmla="*/ 59 h 882"/>
                  <a:gd name="T46" fmla="*/ 543 w 1148"/>
                  <a:gd name="T47" fmla="*/ 83 h 882"/>
                  <a:gd name="T48" fmla="*/ 480 w 1148"/>
                  <a:gd name="T49" fmla="*/ 109 h 882"/>
                  <a:gd name="T50" fmla="*/ 417 w 1148"/>
                  <a:gd name="T51" fmla="*/ 138 h 882"/>
                  <a:gd name="T52" fmla="*/ 373 w 1148"/>
                  <a:gd name="T53" fmla="*/ 162 h 882"/>
                  <a:gd name="T54" fmla="*/ 343 w 1148"/>
                  <a:gd name="T55" fmla="*/ 178 h 882"/>
                  <a:gd name="T56" fmla="*/ 300 w 1148"/>
                  <a:gd name="T57" fmla="*/ 205 h 882"/>
                  <a:gd name="T58" fmla="*/ 271 w 1148"/>
                  <a:gd name="T59" fmla="*/ 224 h 882"/>
                  <a:gd name="T60" fmla="*/ 244 w 1148"/>
                  <a:gd name="T61" fmla="*/ 244 h 882"/>
                  <a:gd name="T62" fmla="*/ 204 w 1148"/>
                  <a:gd name="T63" fmla="*/ 275 h 882"/>
                  <a:gd name="T64" fmla="*/ 165 w 1148"/>
                  <a:gd name="T65" fmla="*/ 306 h 882"/>
                  <a:gd name="T66" fmla="*/ 114 w 1148"/>
                  <a:gd name="T67" fmla="*/ 351 h 882"/>
                  <a:gd name="T68" fmla="*/ 67 w 1148"/>
                  <a:gd name="T69" fmla="*/ 398 h 882"/>
                  <a:gd name="T70" fmla="*/ 22 w 1148"/>
                  <a:gd name="T71" fmla="*/ 449 h 882"/>
                  <a:gd name="T72" fmla="*/ 382 w 1148"/>
                  <a:gd name="T73" fmla="*/ 539 h 8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48"/>
                  <a:gd name="T112" fmla="*/ 0 h 882"/>
                  <a:gd name="T113" fmla="*/ 1148 w 1148"/>
                  <a:gd name="T114" fmla="*/ 882 h 88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48" h="882">
                    <a:moveTo>
                      <a:pt x="492" y="882"/>
                    </a:moveTo>
                    <a:lnTo>
                      <a:pt x="502" y="868"/>
                    </a:lnTo>
                    <a:lnTo>
                      <a:pt x="513" y="855"/>
                    </a:lnTo>
                    <a:lnTo>
                      <a:pt x="524" y="843"/>
                    </a:lnTo>
                    <a:lnTo>
                      <a:pt x="535" y="831"/>
                    </a:lnTo>
                    <a:lnTo>
                      <a:pt x="547" y="819"/>
                    </a:lnTo>
                    <a:lnTo>
                      <a:pt x="559" y="808"/>
                    </a:lnTo>
                    <a:lnTo>
                      <a:pt x="571" y="797"/>
                    </a:lnTo>
                    <a:lnTo>
                      <a:pt x="584" y="786"/>
                    </a:lnTo>
                    <a:lnTo>
                      <a:pt x="598" y="775"/>
                    </a:lnTo>
                    <a:lnTo>
                      <a:pt x="611" y="765"/>
                    </a:lnTo>
                    <a:lnTo>
                      <a:pt x="624" y="755"/>
                    </a:lnTo>
                    <a:lnTo>
                      <a:pt x="638" y="746"/>
                    </a:lnTo>
                    <a:lnTo>
                      <a:pt x="651" y="737"/>
                    </a:lnTo>
                    <a:lnTo>
                      <a:pt x="666" y="728"/>
                    </a:lnTo>
                    <a:lnTo>
                      <a:pt x="680" y="719"/>
                    </a:lnTo>
                    <a:lnTo>
                      <a:pt x="695" y="711"/>
                    </a:lnTo>
                    <a:lnTo>
                      <a:pt x="709" y="703"/>
                    </a:lnTo>
                    <a:lnTo>
                      <a:pt x="724" y="696"/>
                    </a:lnTo>
                    <a:lnTo>
                      <a:pt x="740" y="689"/>
                    </a:lnTo>
                    <a:lnTo>
                      <a:pt x="755" y="682"/>
                    </a:lnTo>
                    <a:lnTo>
                      <a:pt x="772" y="676"/>
                    </a:lnTo>
                    <a:lnTo>
                      <a:pt x="788" y="670"/>
                    </a:lnTo>
                    <a:lnTo>
                      <a:pt x="804" y="665"/>
                    </a:lnTo>
                    <a:lnTo>
                      <a:pt x="820" y="660"/>
                    </a:lnTo>
                    <a:lnTo>
                      <a:pt x="836" y="656"/>
                    </a:lnTo>
                    <a:lnTo>
                      <a:pt x="853" y="652"/>
                    </a:lnTo>
                    <a:lnTo>
                      <a:pt x="870" y="648"/>
                    </a:lnTo>
                    <a:lnTo>
                      <a:pt x="887" y="645"/>
                    </a:lnTo>
                    <a:lnTo>
                      <a:pt x="904" y="642"/>
                    </a:lnTo>
                    <a:lnTo>
                      <a:pt x="922" y="640"/>
                    </a:lnTo>
                    <a:lnTo>
                      <a:pt x="939" y="638"/>
                    </a:lnTo>
                    <a:lnTo>
                      <a:pt x="957" y="637"/>
                    </a:lnTo>
                    <a:lnTo>
                      <a:pt x="1148" y="334"/>
                    </a:lnTo>
                    <a:lnTo>
                      <a:pt x="954" y="0"/>
                    </a:lnTo>
                    <a:lnTo>
                      <a:pt x="918" y="1"/>
                    </a:lnTo>
                    <a:lnTo>
                      <a:pt x="882" y="4"/>
                    </a:lnTo>
                    <a:lnTo>
                      <a:pt x="847" y="8"/>
                    </a:lnTo>
                    <a:lnTo>
                      <a:pt x="812" y="12"/>
                    </a:lnTo>
                    <a:lnTo>
                      <a:pt x="777" y="18"/>
                    </a:lnTo>
                    <a:lnTo>
                      <a:pt x="742" y="24"/>
                    </a:lnTo>
                    <a:lnTo>
                      <a:pt x="708" y="32"/>
                    </a:lnTo>
                    <a:lnTo>
                      <a:pt x="691" y="36"/>
                    </a:lnTo>
                    <a:lnTo>
                      <a:pt x="675" y="40"/>
                    </a:lnTo>
                    <a:lnTo>
                      <a:pt x="641" y="49"/>
                    </a:lnTo>
                    <a:lnTo>
                      <a:pt x="609" y="59"/>
                    </a:lnTo>
                    <a:lnTo>
                      <a:pt x="575" y="70"/>
                    </a:lnTo>
                    <a:lnTo>
                      <a:pt x="543" y="83"/>
                    </a:lnTo>
                    <a:lnTo>
                      <a:pt x="511" y="95"/>
                    </a:lnTo>
                    <a:lnTo>
                      <a:pt x="480" y="109"/>
                    </a:lnTo>
                    <a:lnTo>
                      <a:pt x="449" y="123"/>
                    </a:lnTo>
                    <a:lnTo>
                      <a:pt x="417" y="138"/>
                    </a:lnTo>
                    <a:lnTo>
                      <a:pt x="387" y="153"/>
                    </a:lnTo>
                    <a:lnTo>
                      <a:pt x="373" y="162"/>
                    </a:lnTo>
                    <a:lnTo>
                      <a:pt x="358" y="170"/>
                    </a:lnTo>
                    <a:lnTo>
                      <a:pt x="343" y="178"/>
                    </a:lnTo>
                    <a:lnTo>
                      <a:pt x="329" y="187"/>
                    </a:lnTo>
                    <a:lnTo>
                      <a:pt x="300" y="205"/>
                    </a:lnTo>
                    <a:lnTo>
                      <a:pt x="286" y="214"/>
                    </a:lnTo>
                    <a:lnTo>
                      <a:pt x="271" y="224"/>
                    </a:lnTo>
                    <a:lnTo>
                      <a:pt x="258" y="233"/>
                    </a:lnTo>
                    <a:lnTo>
                      <a:pt x="244" y="244"/>
                    </a:lnTo>
                    <a:lnTo>
                      <a:pt x="217" y="264"/>
                    </a:lnTo>
                    <a:lnTo>
                      <a:pt x="204" y="275"/>
                    </a:lnTo>
                    <a:lnTo>
                      <a:pt x="191" y="285"/>
                    </a:lnTo>
                    <a:lnTo>
                      <a:pt x="165" y="306"/>
                    </a:lnTo>
                    <a:lnTo>
                      <a:pt x="140" y="328"/>
                    </a:lnTo>
                    <a:lnTo>
                      <a:pt x="114" y="351"/>
                    </a:lnTo>
                    <a:lnTo>
                      <a:pt x="90" y="374"/>
                    </a:lnTo>
                    <a:lnTo>
                      <a:pt x="67" y="398"/>
                    </a:lnTo>
                    <a:lnTo>
                      <a:pt x="44" y="424"/>
                    </a:lnTo>
                    <a:lnTo>
                      <a:pt x="22" y="449"/>
                    </a:lnTo>
                    <a:lnTo>
                      <a:pt x="0" y="475"/>
                    </a:lnTo>
                    <a:lnTo>
                      <a:pt x="382" y="539"/>
                    </a:lnTo>
                    <a:lnTo>
                      <a:pt x="492" y="8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6" name="Oval 95"/>
            <p:cNvSpPr/>
            <p:nvPr/>
          </p:nvSpPr>
          <p:spPr>
            <a:xfrm>
              <a:off x="5494942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7248353" y="3683918"/>
            <a:ext cx="2015999" cy="2016000"/>
            <a:chOff x="7248353" y="3683918"/>
            <a:chExt cx="2015999" cy="2016000"/>
          </a:xfrm>
        </p:grpSpPr>
        <p:grpSp>
          <p:nvGrpSpPr>
            <p:cNvPr id="82" name="Group 35"/>
            <p:cNvGrpSpPr>
              <a:grpSpLocks/>
            </p:cNvGrpSpPr>
            <p:nvPr/>
          </p:nvGrpSpPr>
          <p:grpSpPr bwMode="auto">
            <a:xfrm>
              <a:off x="7248353" y="3683918"/>
              <a:ext cx="2015999" cy="2016000"/>
              <a:chOff x="1840" y="1318"/>
              <a:chExt cx="2561" cy="2560"/>
            </a:xfrm>
            <a:solidFill>
              <a:srgbClr val="2F52A0"/>
            </a:solidFill>
          </p:grpSpPr>
          <p:sp>
            <p:nvSpPr>
              <p:cNvPr id="83" name="Freeform 36"/>
              <p:cNvSpPr>
                <a:spLocks noChangeAspect="1"/>
              </p:cNvSpPr>
              <p:nvPr/>
            </p:nvSpPr>
            <p:spPr bwMode="auto">
              <a:xfrm>
                <a:off x="2184" y="1320"/>
                <a:ext cx="1087" cy="857"/>
              </a:xfrm>
              <a:custGeom>
                <a:avLst/>
                <a:gdLst>
                  <a:gd name="T0" fmla="*/ 459 w 1087"/>
                  <a:gd name="T1" fmla="*/ 845 h 857"/>
                  <a:gd name="T2" fmla="*/ 492 w 1087"/>
                  <a:gd name="T3" fmla="*/ 812 h 857"/>
                  <a:gd name="T4" fmla="*/ 515 w 1087"/>
                  <a:gd name="T5" fmla="*/ 791 h 857"/>
                  <a:gd name="T6" fmla="*/ 552 w 1087"/>
                  <a:gd name="T7" fmla="*/ 761 h 857"/>
                  <a:gd name="T8" fmla="*/ 578 w 1087"/>
                  <a:gd name="T9" fmla="*/ 743 h 857"/>
                  <a:gd name="T10" fmla="*/ 605 w 1087"/>
                  <a:gd name="T11" fmla="*/ 726 h 857"/>
                  <a:gd name="T12" fmla="*/ 646 w 1087"/>
                  <a:gd name="T13" fmla="*/ 702 h 857"/>
                  <a:gd name="T14" fmla="*/ 689 w 1087"/>
                  <a:gd name="T15" fmla="*/ 682 h 857"/>
                  <a:gd name="T16" fmla="*/ 720 w 1087"/>
                  <a:gd name="T17" fmla="*/ 671 h 857"/>
                  <a:gd name="T18" fmla="*/ 750 w 1087"/>
                  <a:gd name="T19" fmla="*/ 661 h 857"/>
                  <a:gd name="T20" fmla="*/ 781 w 1087"/>
                  <a:gd name="T21" fmla="*/ 652 h 857"/>
                  <a:gd name="T22" fmla="*/ 813 w 1087"/>
                  <a:gd name="T23" fmla="*/ 645 h 857"/>
                  <a:gd name="T24" fmla="*/ 845 w 1087"/>
                  <a:gd name="T25" fmla="*/ 640 h 857"/>
                  <a:gd name="T26" fmla="*/ 896 w 1087"/>
                  <a:gd name="T27" fmla="*/ 635 h 857"/>
                  <a:gd name="T28" fmla="*/ 898 w 1087"/>
                  <a:gd name="T29" fmla="*/ 0 h 857"/>
                  <a:gd name="T30" fmla="*/ 865 w 1087"/>
                  <a:gd name="T31" fmla="*/ 1 h 857"/>
                  <a:gd name="T32" fmla="*/ 799 w 1087"/>
                  <a:gd name="T33" fmla="*/ 6 h 857"/>
                  <a:gd name="T34" fmla="*/ 735 w 1087"/>
                  <a:gd name="T35" fmla="*/ 15 h 857"/>
                  <a:gd name="T36" fmla="*/ 671 w 1087"/>
                  <a:gd name="T37" fmla="*/ 26 h 857"/>
                  <a:gd name="T38" fmla="*/ 609 w 1087"/>
                  <a:gd name="T39" fmla="*/ 41 h 857"/>
                  <a:gd name="T40" fmla="*/ 548 w 1087"/>
                  <a:gd name="T41" fmla="*/ 59 h 857"/>
                  <a:gd name="T42" fmla="*/ 487 w 1087"/>
                  <a:gd name="T43" fmla="*/ 80 h 857"/>
                  <a:gd name="T44" fmla="*/ 429 w 1087"/>
                  <a:gd name="T45" fmla="*/ 103 h 857"/>
                  <a:gd name="T46" fmla="*/ 372 w 1087"/>
                  <a:gd name="T47" fmla="*/ 129 h 857"/>
                  <a:gd name="T48" fmla="*/ 317 w 1087"/>
                  <a:gd name="T49" fmla="*/ 158 h 857"/>
                  <a:gd name="T50" fmla="*/ 263 w 1087"/>
                  <a:gd name="T51" fmla="*/ 189 h 857"/>
                  <a:gd name="T52" fmla="*/ 224 w 1087"/>
                  <a:gd name="T53" fmla="*/ 214 h 857"/>
                  <a:gd name="T54" fmla="*/ 185 w 1087"/>
                  <a:gd name="T55" fmla="*/ 241 h 857"/>
                  <a:gd name="T56" fmla="*/ 136 w 1087"/>
                  <a:gd name="T57" fmla="*/ 279 h 857"/>
                  <a:gd name="T58" fmla="*/ 89 w 1087"/>
                  <a:gd name="T59" fmla="*/ 318 h 857"/>
                  <a:gd name="T60" fmla="*/ 43 w 1087"/>
                  <a:gd name="T61" fmla="*/ 360 h 857"/>
                  <a:gd name="T62" fmla="*/ 0 w 1087"/>
                  <a:gd name="T63" fmla="*/ 405 h 857"/>
                  <a:gd name="T64" fmla="*/ 449 w 1087"/>
                  <a:gd name="T65" fmla="*/ 857 h 8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87"/>
                  <a:gd name="T100" fmla="*/ 0 h 857"/>
                  <a:gd name="T101" fmla="*/ 1087 w 1087"/>
                  <a:gd name="T102" fmla="*/ 857 h 8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87" h="857">
                    <a:moveTo>
                      <a:pt x="449" y="857"/>
                    </a:moveTo>
                    <a:lnTo>
                      <a:pt x="459" y="845"/>
                    </a:lnTo>
                    <a:lnTo>
                      <a:pt x="470" y="834"/>
                    </a:lnTo>
                    <a:lnTo>
                      <a:pt x="492" y="812"/>
                    </a:lnTo>
                    <a:lnTo>
                      <a:pt x="503" y="801"/>
                    </a:lnTo>
                    <a:lnTo>
                      <a:pt x="515" y="791"/>
                    </a:lnTo>
                    <a:lnTo>
                      <a:pt x="540" y="771"/>
                    </a:lnTo>
                    <a:lnTo>
                      <a:pt x="552" y="761"/>
                    </a:lnTo>
                    <a:lnTo>
                      <a:pt x="565" y="752"/>
                    </a:lnTo>
                    <a:lnTo>
                      <a:pt x="578" y="743"/>
                    </a:lnTo>
                    <a:lnTo>
                      <a:pt x="591" y="735"/>
                    </a:lnTo>
                    <a:lnTo>
                      <a:pt x="605" y="726"/>
                    </a:lnTo>
                    <a:lnTo>
                      <a:pt x="618" y="717"/>
                    </a:lnTo>
                    <a:lnTo>
                      <a:pt x="646" y="702"/>
                    </a:lnTo>
                    <a:lnTo>
                      <a:pt x="675" y="689"/>
                    </a:lnTo>
                    <a:lnTo>
                      <a:pt x="689" y="682"/>
                    </a:lnTo>
                    <a:lnTo>
                      <a:pt x="705" y="677"/>
                    </a:lnTo>
                    <a:lnTo>
                      <a:pt x="720" y="671"/>
                    </a:lnTo>
                    <a:lnTo>
                      <a:pt x="735" y="666"/>
                    </a:lnTo>
                    <a:lnTo>
                      <a:pt x="750" y="661"/>
                    </a:lnTo>
                    <a:lnTo>
                      <a:pt x="766" y="656"/>
                    </a:lnTo>
                    <a:lnTo>
                      <a:pt x="781" y="652"/>
                    </a:lnTo>
                    <a:lnTo>
                      <a:pt x="797" y="649"/>
                    </a:lnTo>
                    <a:lnTo>
                      <a:pt x="813" y="645"/>
                    </a:lnTo>
                    <a:lnTo>
                      <a:pt x="829" y="642"/>
                    </a:lnTo>
                    <a:lnTo>
                      <a:pt x="845" y="640"/>
                    </a:lnTo>
                    <a:lnTo>
                      <a:pt x="863" y="638"/>
                    </a:lnTo>
                    <a:lnTo>
                      <a:pt x="896" y="635"/>
                    </a:lnTo>
                    <a:lnTo>
                      <a:pt x="1087" y="332"/>
                    </a:lnTo>
                    <a:lnTo>
                      <a:pt x="898" y="0"/>
                    </a:lnTo>
                    <a:lnTo>
                      <a:pt x="881" y="0"/>
                    </a:lnTo>
                    <a:lnTo>
                      <a:pt x="865" y="1"/>
                    </a:lnTo>
                    <a:lnTo>
                      <a:pt x="831" y="3"/>
                    </a:lnTo>
                    <a:lnTo>
                      <a:pt x="799" y="6"/>
                    </a:lnTo>
                    <a:lnTo>
                      <a:pt x="767" y="10"/>
                    </a:lnTo>
                    <a:lnTo>
                      <a:pt x="735" y="15"/>
                    </a:lnTo>
                    <a:lnTo>
                      <a:pt x="703" y="20"/>
                    </a:lnTo>
                    <a:lnTo>
                      <a:pt x="671" y="26"/>
                    </a:lnTo>
                    <a:lnTo>
                      <a:pt x="640" y="33"/>
                    </a:lnTo>
                    <a:lnTo>
                      <a:pt x="609" y="41"/>
                    </a:lnTo>
                    <a:lnTo>
                      <a:pt x="578" y="50"/>
                    </a:lnTo>
                    <a:lnTo>
                      <a:pt x="548" y="59"/>
                    </a:lnTo>
                    <a:lnTo>
                      <a:pt x="517" y="69"/>
                    </a:lnTo>
                    <a:lnTo>
                      <a:pt x="487" y="80"/>
                    </a:lnTo>
                    <a:lnTo>
                      <a:pt x="458" y="91"/>
                    </a:lnTo>
                    <a:lnTo>
                      <a:pt x="429" y="103"/>
                    </a:lnTo>
                    <a:lnTo>
                      <a:pt x="401" y="116"/>
                    </a:lnTo>
                    <a:lnTo>
                      <a:pt x="372" y="129"/>
                    </a:lnTo>
                    <a:lnTo>
                      <a:pt x="344" y="143"/>
                    </a:lnTo>
                    <a:lnTo>
                      <a:pt x="317" y="158"/>
                    </a:lnTo>
                    <a:lnTo>
                      <a:pt x="290" y="173"/>
                    </a:lnTo>
                    <a:lnTo>
                      <a:pt x="263" y="189"/>
                    </a:lnTo>
                    <a:lnTo>
                      <a:pt x="237" y="206"/>
                    </a:lnTo>
                    <a:lnTo>
                      <a:pt x="224" y="214"/>
                    </a:lnTo>
                    <a:lnTo>
                      <a:pt x="210" y="223"/>
                    </a:lnTo>
                    <a:lnTo>
                      <a:pt x="185" y="241"/>
                    </a:lnTo>
                    <a:lnTo>
                      <a:pt x="160" y="260"/>
                    </a:lnTo>
                    <a:lnTo>
                      <a:pt x="136" y="279"/>
                    </a:lnTo>
                    <a:lnTo>
                      <a:pt x="112" y="298"/>
                    </a:lnTo>
                    <a:lnTo>
                      <a:pt x="89" y="318"/>
                    </a:lnTo>
                    <a:lnTo>
                      <a:pt x="66" y="339"/>
                    </a:lnTo>
                    <a:lnTo>
                      <a:pt x="43" y="360"/>
                    </a:lnTo>
                    <a:lnTo>
                      <a:pt x="21" y="382"/>
                    </a:lnTo>
                    <a:lnTo>
                      <a:pt x="0" y="405"/>
                    </a:lnTo>
                    <a:lnTo>
                      <a:pt x="374" y="501"/>
                    </a:lnTo>
                    <a:lnTo>
                      <a:pt x="449" y="8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4" name="Freeform 37"/>
              <p:cNvSpPr>
                <a:spLocks noChangeAspect="1"/>
              </p:cNvSpPr>
              <p:nvPr/>
            </p:nvSpPr>
            <p:spPr bwMode="auto">
              <a:xfrm>
                <a:off x="3142" y="1318"/>
                <a:ext cx="852" cy="795"/>
              </a:xfrm>
              <a:custGeom>
                <a:avLst/>
                <a:gdLst>
                  <a:gd name="T0" fmla="*/ 1 w 852"/>
                  <a:gd name="T1" fmla="*/ 0 h 795"/>
                  <a:gd name="T2" fmla="*/ 197 w 852"/>
                  <a:gd name="T3" fmla="*/ 347 h 795"/>
                  <a:gd name="T4" fmla="*/ 0 w 852"/>
                  <a:gd name="T5" fmla="*/ 636 h 795"/>
                  <a:gd name="T6" fmla="*/ 14 w 852"/>
                  <a:gd name="T7" fmla="*/ 637 h 795"/>
                  <a:gd name="T8" fmla="*/ 28 w 852"/>
                  <a:gd name="T9" fmla="*/ 638 h 795"/>
                  <a:gd name="T10" fmla="*/ 42 w 852"/>
                  <a:gd name="T11" fmla="*/ 639 h 795"/>
                  <a:gd name="T12" fmla="*/ 56 w 852"/>
                  <a:gd name="T13" fmla="*/ 641 h 795"/>
                  <a:gd name="T14" fmla="*/ 85 w 852"/>
                  <a:gd name="T15" fmla="*/ 645 h 795"/>
                  <a:gd name="T16" fmla="*/ 112 w 852"/>
                  <a:gd name="T17" fmla="*/ 650 h 795"/>
                  <a:gd name="T18" fmla="*/ 139 w 852"/>
                  <a:gd name="T19" fmla="*/ 656 h 795"/>
                  <a:gd name="T20" fmla="*/ 152 w 852"/>
                  <a:gd name="T21" fmla="*/ 660 h 795"/>
                  <a:gd name="T22" fmla="*/ 166 w 852"/>
                  <a:gd name="T23" fmla="*/ 664 h 795"/>
                  <a:gd name="T24" fmla="*/ 192 w 852"/>
                  <a:gd name="T25" fmla="*/ 672 h 795"/>
                  <a:gd name="T26" fmla="*/ 217 w 852"/>
                  <a:gd name="T27" fmla="*/ 682 h 795"/>
                  <a:gd name="T28" fmla="*/ 244 w 852"/>
                  <a:gd name="T29" fmla="*/ 693 h 795"/>
                  <a:gd name="T30" fmla="*/ 268 w 852"/>
                  <a:gd name="T31" fmla="*/ 704 h 795"/>
                  <a:gd name="T32" fmla="*/ 292 w 852"/>
                  <a:gd name="T33" fmla="*/ 717 h 795"/>
                  <a:gd name="T34" fmla="*/ 304 w 852"/>
                  <a:gd name="T35" fmla="*/ 724 h 795"/>
                  <a:gd name="T36" fmla="*/ 315 w 852"/>
                  <a:gd name="T37" fmla="*/ 731 h 795"/>
                  <a:gd name="T38" fmla="*/ 338 w 852"/>
                  <a:gd name="T39" fmla="*/ 746 h 795"/>
                  <a:gd name="T40" fmla="*/ 349 w 852"/>
                  <a:gd name="T41" fmla="*/ 753 h 795"/>
                  <a:gd name="T42" fmla="*/ 360 w 852"/>
                  <a:gd name="T43" fmla="*/ 761 h 795"/>
                  <a:gd name="T44" fmla="*/ 382 w 852"/>
                  <a:gd name="T45" fmla="*/ 777 h 795"/>
                  <a:gd name="T46" fmla="*/ 403 w 852"/>
                  <a:gd name="T47" fmla="*/ 795 h 795"/>
                  <a:gd name="T48" fmla="*/ 754 w 852"/>
                  <a:gd name="T49" fmla="*/ 716 h 795"/>
                  <a:gd name="T50" fmla="*/ 852 w 852"/>
                  <a:gd name="T51" fmla="*/ 343 h 795"/>
                  <a:gd name="T52" fmla="*/ 831 w 852"/>
                  <a:gd name="T53" fmla="*/ 324 h 795"/>
                  <a:gd name="T54" fmla="*/ 810 w 852"/>
                  <a:gd name="T55" fmla="*/ 306 h 795"/>
                  <a:gd name="T56" fmla="*/ 788 w 852"/>
                  <a:gd name="T57" fmla="*/ 287 h 795"/>
                  <a:gd name="T58" fmla="*/ 766 w 852"/>
                  <a:gd name="T59" fmla="*/ 270 h 795"/>
                  <a:gd name="T60" fmla="*/ 743 w 852"/>
                  <a:gd name="T61" fmla="*/ 252 h 795"/>
                  <a:gd name="T62" fmla="*/ 720 w 852"/>
                  <a:gd name="T63" fmla="*/ 235 h 795"/>
                  <a:gd name="T64" fmla="*/ 695 w 852"/>
                  <a:gd name="T65" fmla="*/ 218 h 795"/>
                  <a:gd name="T66" fmla="*/ 671 w 852"/>
                  <a:gd name="T67" fmla="*/ 203 h 795"/>
                  <a:gd name="T68" fmla="*/ 647 w 852"/>
                  <a:gd name="T69" fmla="*/ 187 h 795"/>
                  <a:gd name="T70" fmla="*/ 622 w 852"/>
                  <a:gd name="T71" fmla="*/ 173 h 795"/>
                  <a:gd name="T72" fmla="*/ 597 w 852"/>
                  <a:gd name="T73" fmla="*/ 159 h 795"/>
                  <a:gd name="T74" fmla="*/ 585 w 852"/>
                  <a:gd name="T75" fmla="*/ 152 h 795"/>
                  <a:gd name="T76" fmla="*/ 572 w 852"/>
                  <a:gd name="T77" fmla="*/ 145 h 795"/>
                  <a:gd name="T78" fmla="*/ 546 w 852"/>
                  <a:gd name="T79" fmla="*/ 132 h 795"/>
                  <a:gd name="T80" fmla="*/ 519 w 852"/>
                  <a:gd name="T81" fmla="*/ 120 h 795"/>
                  <a:gd name="T82" fmla="*/ 493 w 852"/>
                  <a:gd name="T83" fmla="*/ 108 h 795"/>
                  <a:gd name="T84" fmla="*/ 466 w 852"/>
                  <a:gd name="T85" fmla="*/ 96 h 795"/>
                  <a:gd name="T86" fmla="*/ 439 w 852"/>
                  <a:gd name="T87" fmla="*/ 86 h 795"/>
                  <a:gd name="T88" fmla="*/ 412 w 852"/>
                  <a:gd name="T89" fmla="*/ 75 h 795"/>
                  <a:gd name="T90" fmla="*/ 384 w 852"/>
                  <a:gd name="T91" fmla="*/ 65 h 795"/>
                  <a:gd name="T92" fmla="*/ 355 w 852"/>
                  <a:gd name="T93" fmla="*/ 56 h 795"/>
                  <a:gd name="T94" fmla="*/ 327 w 852"/>
                  <a:gd name="T95" fmla="*/ 48 h 795"/>
                  <a:gd name="T96" fmla="*/ 299 w 852"/>
                  <a:gd name="T97" fmla="*/ 40 h 795"/>
                  <a:gd name="T98" fmla="*/ 270 w 852"/>
                  <a:gd name="T99" fmla="*/ 33 h 795"/>
                  <a:gd name="T100" fmla="*/ 241 w 852"/>
                  <a:gd name="T101" fmla="*/ 27 h 795"/>
                  <a:gd name="T102" fmla="*/ 211 w 852"/>
                  <a:gd name="T103" fmla="*/ 21 h 795"/>
                  <a:gd name="T104" fmla="*/ 182 w 852"/>
                  <a:gd name="T105" fmla="*/ 16 h 795"/>
                  <a:gd name="T106" fmla="*/ 152 w 852"/>
                  <a:gd name="T107" fmla="*/ 12 h 795"/>
                  <a:gd name="T108" fmla="*/ 122 w 852"/>
                  <a:gd name="T109" fmla="*/ 8 h 795"/>
                  <a:gd name="T110" fmla="*/ 92 w 852"/>
                  <a:gd name="T111" fmla="*/ 5 h 795"/>
                  <a:gd name="T112" fmla="*/ 62 w 852"/>
                  <a:gd name="T113" fmla="*/ 3 h 795"/>
                  <a:gd name="T114" fmla="*/ 31 w 852"/>
                  <a:gd name="T115" fmla="*/ 1 h 795"/>
                  <a:gd name="T116" fmla="*/ 1 w 852"/>
                  <a:gd name="T117" fmla="*/ 0 h 79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52"/>
                  <a:gd name="T178" fmla="*/ 0 h 795"/>
                  <a:gd name="T179" fmla="*/ 852 w 852"/>
                  <a:gd name="T180" fmla="*/ 795 h 79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52" h="795">
                    <a:moveTo>
                      <a:pt x="1" y="0"/>
                    </a:moveTo>
                    <a:lnTo>
                      <a:pt x="197" y="347"/>
                    </a:lnTo>
                    <a:lnTo>
                      <a:pt x="0" y="636"/>
                    </a:lnTo>
                    <a:lnTo>
                      <a:pt x="14" y="637"/>
                    </a:lnTo>
                    <a:lnTo>
                      <a:pt x="28" y="638"/>
                    </a:lnTo>
                    <a:lnTo>
                      <a:pt x="42" y="639"/>
                    </a:lnTo>
                    <a:lnTo>
                      <a:pt x="56" y="641"/>
                    </a:lnTo>
                    <a:lnTo>
                      <a:pt x="85" y="645"/>
                    </a:lnTo>
                    <a:lnTo>
                      <a:pt x="112" y="650"/>
                    </a:lnTo>
                    <a:lnTo>
                      <a:pt x="139" y="656"/>
                    </a:lnTo>
                    <a:lnTo>
                      <a:pt x="152" y="660"/>
                    </a:lnTo>
                    <a:lnTo>
                      <a:pt x="166" y="664"/>
                    </a:lnTo>
                    <a:lnTo>
                      <a:pt x="192" y="672"/>
                    </a:lnTo>
                    <a:lnTo>
                      <a:pt x="217" y="682"/>
                    </a:lnTo>
                    <a:lnTo>
                      <a:pt x="244" y="693"/>
                    </a:lnTo>
                    <a:lnTo>
                      <a:pt x="268" y="704"/>
                    </a:lnTo>
                    <a:lnTo>
                      <a:pt x="292" y="717"/>
                    </a:lnTo>
                    <a:lnTo>
                      <a:pt x="304" y="724"/>
                    </a:lnTo>
                    <a:lnTo>
                      <a:pt x="315" y="731"/>
                    </a:lnTo>
                    <a:lnTo>
                      <a:pt x="338" y="746"/>
                    </a:lnTo>
                    <a:lnTo>
                      <a:pt x="349" y="753"/>
                    </a:lnTo>
                    <a:lnTo>
                      <a:pt x="360" y="761"/>
                    </a:lnTo>
                    <a:lnTo>
                      <a:pt x="382" y="777"/>
                    </a:lnTo>
                    <a:lnTo>
                      <a:pt x="403" y="795"/>
                    </a:lnTo>
                    <a:lnTo>
                      <a:pt x="754" y="716"/>
                    </a:lnTo>
                    <a:lnTo>
                      <a:pt x="852" y="343"/>
                    </a:lnTo>
                    <a:lnTo>
                      <a:pt x="831" y="324"/>
                    </a:lnTo>
                    <a:lnTo>
                      <a:pt x="810" y="306"/>
                    </a:lnTo>
                    <a:lnTo>
                      <a:pt x="788" y="287"/>
                    </a:lnTo>
                    <a:lnTo>
                      <a:pt x="766" y="270"/>
                    </a:lnTo>
                    <a:lnTo>
                      <a:pt x="743" y="252"/>
                    </a:lnTo>
                    <a:lnTo>
                      <a:pt x="720" y="235"/>
                    </a:lnTo>
                    <a:lnTo>
                      <a:pt x="695" y="218"/>
                    </a:lnTo>
                    <a:lnTo>
                      <a:pt x="671" y="203"/>
                    </a:lnTo>
                    <a:lnTo>
                      <a:pt x="647" y="187"/>
                    </a:lnTo>
                    <a:lnTo>
                      <a:pt x="622" y="173"/>
                    </a:lnTo>
                    <a:lnTo>
                      <a:pt x="597" y="159"/>
                    </a:lnTo>
                    <a:lnTo>
                      <a:pt x="585" y="152"/>
                    </a:lnTo>
                    <a:lnTo>
                      <a:pt x="572" y="145"/>
                    </a:lnTo>
                    <a:lnTo>
                      <a:pt x="546" y="132"/>
                    </a:lnTo>
                    <a:lnTo>
                      <a:pt x="519" y="120"/>
                    </a:lnTo>
                    <a:lnTo>
                      <a:pt x="493" y="108"/>
                    </a:lnTo>
                    <a:lnTo>
                      <a:pt x="466" y="96"/>
                    </a:lnTo>
                    <a:lnTo>
                      <a:pt x="439" y="86"/>
                    </a:lnTo>
                    <a:lnTo>
                      <a:pt x="412" y="75"/>
                    </a:lnTo>
                    <a:lnTo>
                      <a:pt x="384" y="65"/>
                    </a:lnTo>
                    <a:lnTo>
                      <a:pt x="355" y="56"/>
                    </a:lnTo>
                    <a:lnTo>
                      <a:pt x="327" y="48"/>
                    </a:lnTo>
                    <a:lnTo>
                      <a:pt x="299" y="40"/>
                    </a:lnTo>
                    <a:lnTo>
                      <a:pt x="270" y="33"/>
                    </a:lnTo>
                    <a:lnTo>
                      <a:pt x="241" y="27"/>
                    </a:lnTo>
                    <a:lnTo>
                      <a:pt x="211" y="21"/>
                    </a:lnTo>
                    <a:lnTo>
                      <a:pt x="182" y="16"/>
                    </a:lnTo>
                    <a:lnTo>
                      <a:pt x="152" y="12"/>
                    </a:lnTo>
                    <a:lnTo>
                      <a:pt x="122" y="8"/>
                    </a:lnTo>
                    <a:lnTo>
                      <a:pt x="92" y="5"/>
                    </a:lnTo>
                    <a:lnTo>
                      <a:pt x="62" y="3"/>
                    </a:lnTo>
                    <a:lnTo>
                      <a:pt x="3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5" name="Freeform 38"/>
              <p:cNvSpPr>
                <a:spLocks noChangeAspect="1"/>
              </p:cNvSpPr>
              <p:nvPr/>
            </p:nvSpPr>
            <p:spPr bwMode="auto">
              <a:xfrm>
                <a:off x="3590" y="1706"/>
                <a:ext cx="811" cy="1062"/>
              </a:xfrm>
              <a:custGeom>
                <a:avLst/>
                <a:gdLst>
                  <a:gd name="T0" fmla="*/ 811 w 811"/>
                  <a:gd name="T1" fmla="*/ 873 h 1062"/>
                  <a:gd name="T2" fmla="*/ 474 w 811"/>
                  <a:gd name="T3" fmla="*/ 1062 h 1062"/>
                  <a:gd name="T4" fmla="*/ 174 w 811"/>
                  <a:gd name="T5" fmla="*/ 863 h 1062"/>
                  <a:gd name="T6" fmla="*/ 173 w 811"/>
                  <a:gd name="T7" fmla="*/ 848 h 1062"/>
                  <a:gd name="T8" fmla="*/ 172 w 811"/>
                  <a:gd name="T9" fmla="*/ 833 h 1062"/>
                  <a:gd name="T10" fmla="*/ 171 w 811"/>
                  <a:gd name="T11" fmla="*/ 819 h 1062"/>
                  <a:gd name="T12" fmla="*/ 169 w 811"/>
                  <a:gd name="T13" fmla="*/ 803 h 1062"/>
                  <a:gd name="T14" fmla="*/ 167 w 811"/>
                  <a:gd name="T15" fmla="*/ 789 h 1062"/>
                  <a:gd name="T16" fmla="*/ 164 w 811"/>
                  <a:gd name="T17" fmla="*/ 774 h 1062"/>
                  <a:gd name="T18" fmla="*/ 159 w 811"/>
                  <a:gd name="T19" fmla="*/ 746 h 1062"/>
                  <a:gd name="T20" fmla="*/ 152 w 811"/>
                  <a:gd name="T21" fmla="*/ 718 h 1062"/>
                  <a:gd name="T22" fmla="*/ 148 w 811"/>
                  <a:gd name="T23" fmla="*/ 704 h 1062"/>
                  <a:gd name="T24" fmla="*/ 143 w 811"/>
                  <a:gd name="T25" fmla="*/ 691 h 1062"/>
                  <a:gd name="T26" fmla="*/ 134 w 811"/>
                  <a:gd name="T27" fmla="*/ 664 h 1062"/>
                  <a:gd name="T28" fmla="*/ 124 w 811"/>
                  <a:gd name="T29" fmla="*/ 637 h 1062"/>
                  <a:gd name="T30" fmla="*/ 112 w 811"/>
                  <a:gd name="T31" fmla="*/ 611 h 1062"/>
                  <a:gd name="T32" fmla="*/ 106 w 811"/>
                  <a:gd name="T33" fmla="*/ 599 h 1062"/>
                  <a:gd name="T34" fmla="*/ 99 w 811"/>
                  <a:gd name="T35" fmla="*/ 586 h 1062"/>
                  <a:gd name="T36" fmla="*/ 85 w 811"/>
                  <a:gd name="T37" fmla="*/ 562 h 1062"/>
                  <a:gd name="T38" fmla="*/ 70 w 811"/>
                  <a:gd name="T39" fmla="*/ 538 h 1062"/>
                  <a:gd name="T40" fmla="*/ 54 w 811"/>
                  <a:gd name="T41" fmla="*/ 516 h 1062"/>
                  <a:gd name="T42" fmla="*/ 37 w 811"/>
                  <a:gd name="T43" fmla="*/ 493 h 1062"/>
                  <a:gd name="T44" fmla="*/ 19 w 811"/>
                  <a:gd name="T45" fmla="*/ 471 h 1062"/>
                  <a:gd name="T46" fmla="*/ 10 w 811"/>
                  <a:gd name="T47" fmla="*/ 460 h 1062"/>
                  <a:gd name="T48" fmla="*/ 0 w 811"/>
                  <a:gd name="T49" fmla="*/ 450 h 1062"/>
                  <a:gd name="T50" fmla="*/ 344 w 811"/>
                  <a:gd name="T51" fmla="*/ 386 h 1062"/>
                  <a:gd name="T52" fmla="*/ 451 w 811"/>
                  <a:gd name="T53" fmla="*/ 0 h 1062"/>
                  <a:gd name="T54" fmla="*/ 471 w 811"/>
                  <a:gd name="T55" fmla="*/ 22 h 1062"/>
                  <a:gd name="T56" fmla="*/ 490 w 811"/>
                  <a:gd name="T57" fmla="*/ 44 h 1062"/>
                  <a:gd name="T58" fmla="*/ 510 w 811"/>
                  <a:gd name="T59" fmla="*/ 66 h 1062"/>
                  <a:gd name="T60" fmla="*/ 528 w 811"/>
                  <a:gd name="T61" fmla="*/ 89 h 1062"/>
                  <a:gd name="T62" fmla="*/ 546 w 811"/>
                  <a:gd name="T63" fmla="*/ 112 h 1062"/>
                  <a:gd name="T64" fmla="*/ 564 w 811"/>
                  <a:gd name="T65" fmla="*/ 136 h 1062"/>
                  <a:gd name="T66" fmla="*/ 582 w 811"/>
                  <a:gd name="T67" fmla="*/ 160 h 1062"/>
                  <a:gd name="T68" fmla="*/ 599 w 811"/>
                  <a:gd name="T69" fmla="*/ 185 h 1062"/>
                  <a:gd name="T70" fmla="*/ 615 w 811"/>
                  <a:gd name="T71" fmla="*/ 210 h 1062"/>
                  <a:gd name="T72" fmla="*/ 630 w 811"/>
                  <a:gd name="T73" fmla="*/ 235 h 1062"/>
                  <a:gd name="T74" fmla="*/ 645 w 811"/>
                  <a:gd name="T75" fmla="*/ 261 h 1062"/>
                  <a:gd name="T76" fmla="*/ 659 w 811"/>
                  <a:gd name="T77" fmla="*/ 286 h 1062"/>
                  <a:gd name="T78" fmla="*/ 673 w 811"/>
                  <a:gd name="T79" fmla="*/ 313 h 1062"/>
                  <a:gd name="T80" fmla="*/ 686 w 811"/>
                  <a:gd name="T81" fmla="*/ 340 h 1062"/>
                  <a:gd name="T82" fmla="*/ 698 w 811"/>
                  <a:gd name="T83" fmla="*/ 367 h 1062"/>
                  <a:gd name="T84" fmla="*/ 710 w 811"/>
                  <a:gd name="T85" fmla="*/ 395 h 1062"/>
                  <a:gd name="T86" fmla="*/ 722 w 811"/>
                  <a:gd name="T87" fmla="*/ 422 h 1062"/>
                  <a:gd name="T88" fmla="*/ 727 w 811"/>
                  <a:gd name="T89" fmla="*/ 436 h 1062"/>
                  <a:gd name="T90" fmla="*/ 733 w 811"/>
                  <a:gd name="T91" fmla="*/ 450 h 1062"/>
                  <a:gd name="T92" fmla="*/ 743 w 811"/>
                  <a:gd name="T93" fmla="*/ 479 h 1062"/>
                  <a:gd name="T94" fmla="*/ 752 w 811"/>
                  <a:gd name="T95" fmla="*/ 508 h 1062"/>
                  <a:gd name="T96" fmla="*/ 761 w 811"/>
                  <a:gd name="T97" fmla="*/ 537 h 1062"/>
                  <a:gd name="T98" fmla="*/ 769 w 811"/>
                  <a:gd name="T99" fmla="*/ 566 h 1062"/>
                  <a:gd name="T100" fmla="*/ 776 w 811"/>
                  <a:gd name="T101" fmla="*/ 596 h 1062"/>
                  <a:gd name="T102" fmla="*/ 783 w 811"/>
                  <a:gd name="T103" fmla="*/ 626 h 1062"/>
                  <a:gd name="T104" fmla="*/ 789 w 811"/>
                  <a:gd name="T105" fmla="*/ 656 h 1062"/>
                  <a:gd name="T106" fmla="*/ 792 w 811"/>
                  <a:gd name="T107" fmla="*/ 672 h 1062"/>
                  <a:gd name="T108" fmla="*/ 794 w 811"/>
                  <a:gd name="T109" fmla="*/ 687 h 1062"/>
                  <a:gd name="T110" fmla="*/ 797 w 811"/>
                  <a:gd name="T111" fmla="*/ 702 h 1062"/>
                  <a:gd name="T112" fmla="*/ 799 w 811"/>
                  <a:gd name="T113" fmla="*/ 717 h 1062"/>
                  <a:gd name="T114" fmla="*/ 803 w 811"/>
                  <a:gd name="T115" fmla="*/ 748 h 1062"/>
                  <a:gd name="T116" fmla="*/ 806 w 811"/>
                  <a:gd name="T117" fmla="*/ 779 h 1062"/>
                  <a:gd name="T118" fmla="*/ 808 w 811"/>
                  <a:gd name="T119" fmla="*/ 810 h 1062"/>
                  <a:gd name="T120" fmla="*/ 810 w 811"/>
                  <a:gd name="T121" fmla="*/ 842 h 1062"/>
                  <a:gd name="T122" fmla="*/ 811 w 811"/>
                  <a:gd name="T123" fmla="*/ 873 h 10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811"/>
                  <a:gd name="T187" fmla="*/ 0 h 1062"/>
                  <a:gd name="T188" fmla="*/ 811 w 811"/>
                  <a:gd name="T189" fmla="*/ 1062 h 10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811" h="1062">
                    <a:moveTo>
                      <a:pt x="811" y="873"/>
                    </a:moveTo>
                    <a:lnTo>
                      <a:pt x="474" y="1062"/>
                    </a:lnTo>
                    <a:lnTo>
                      <a:pt x="174" y="863"/>
                    </a:lnTo>
                    <a:lnTo>
                      <a:pt x="173" y="848"/>
                    </a:lnTo>
                    <a:lnTo>
                      <a:pt x="172" y="833"/>
                    </a:lnTo>
                    <a:lnTo>
                      <a:pt x="171" y="819"/>
                    </a:lnTo>
                    <a:lnTo>
                      <a:pt x="169" y="803"/>
                    </a:lnTo>
                    <a:lnTo>
                      <a:pt x="167" y="789"/>
                    </a:lnTo>
                    <a:lnTo>
                      <a:pt x="164" y="774"/>
                    </a:lnTo>
                    <a:lnTo>
                      <a:pt x="159" y="746"/>
                    </a:lnTo>
                    <a:lnTo>
                      <a:pt x="152" y="718"/>
                    </a:lnTo>
                    <a:lnTo>
                      <a:pt x="148" y="704"/>
                    </a:lnTo>
                    <a:lnTo>
                      <a:pt x="143" y="691"/>
                    </a:lnTo>
                    <a:lnTo>
                      <a:pt x="134" y="664"/>
                    </a:lnTo>
                    <a:lnTo>
                      <a:pt x="124" y="637"/>
                    </a:lnTo>
                    <a:lnTo>
                      <a:pt x="112" y="611"/>
                    </a:lnTo>
                    <a:lnTo>
                      <a:pt x="106" y="599"/>
                    </a:lnTo>
                    <a:lnTo>
                      <a:pt x="99" y="586"/>
                    </a:lnTo>
                    <a:lnTo>
                      <a:pt x="85" y="562"/>
                    </a:lnTo>
                    <a:lnTo>
                      <a:pt x="70" y="538"/>
                    </a:lnTo>
                    <a:lnTo>
                      <a:pt x="54" y="516"/>
                    </a:lnTo>
                    <a:lnTo>
                      <a:pt x="37" y="493"/>
                    </a:lnTo>
                    <a:lnTo>
                      <a:pt x="19" y="471"/>
                    </a:lnTo>
                    <a:lnTo>
                      <a:pt x="10" y="460"/>
                    </a:lnTo>
                    <a:lnTo>
                      <a:pt x="0" y="450"/>
                    </a:lnTo>
                    <a:lnTo>
                      <a:pt x="344" y="386"/>
                    </a:lnTo>
                    <a:lnTo>
                      <a:pt x="451" y="0"/>
                    </a:lnTo>
                    <a:lnTo>
                      <a:pt x="471" y="22"/>
                    </a:lnTo>
                    <a:lnTo>
                      <a:pt x="490" y="44"/>
                    </a:lnTo>
                    <a:lnTo>
                      <a:pt x="510" y="66"/>
                    </a:lnTo>
                    <a:lnTo>
                      <a:pt x="528" y="89"/>
                    </a:lnTo>
                    <a:lnTo>
                      <a:pt x="546" y="112"/>
                    </a:lnTo>
                    <a:lnTo>
                      <a:pt x="564" y="136"/>
                    </a:lnTo>
                    <a:lnTo>
                      <a:pt x="582" y="160"/>
                    </a:lnTo>
                    <a:lnTo>
                      <a:pt x="599" y="185"/>
                    </a:lnTo>
                    <a:lnTo>
                      <a:pt x="615" y="210"/>
                    </a:lnTo>
                    <a:lnTo>
                      <a:pt x="630" y="235"/>
                    </a:lnTo>
                    <a:lnTo>
                      <a:pt x="645" y="261"/>
                    </a:lnTo>
                    <a:lnTo>
                      <a:pt x="659" y="286"/>
                    </a:lnTo>
                    <a:lnTo>
                      <a:pt x="673" y="313"/>
                    </a:lnTo>
                    <a:lnTo>
                      <a:pt x="686" y="340"/>
                    </a:lnTo>
                    <a:lnTo>
                      <a:pt x="698" y="367"/>
                    </a:lnTo>
                    <a:lnTo>
                      <a:pt x="710" y="395"/>
                    </a:lnTo>
                    <a:lnTo>
                      <a:pt x="722" y="422"/>
                    </a:lnTo>
                    <a:lnTo>
                      <a:pt x="727" y="436"/>
                    </a:lnTo>
                    <a:lnTo>
                      <a:pt x="733" y="450"/>
                    </a:lnTo>
                    <a:lnTo>
                      <a:pt x="743" y="479"/>
                    </a:lnTo>
                    <a:lnTo>
                      <a:pt x="752" y="508"/>
                    </a:lnTo>
                    <a:lnTo>
                      <a:pt x="761" y="537"/>
                    </a:lnTo>
                    <a:lnTo>
                      <a:pt x="769" y="566"/>
                    </a:lnTo>
                    <a:lnTo>
                      <a:pt x="776" y="596"/>
                    </a:lnTo>
                    <a:lnTo>
                      <a:pt x="783" y="626"/>
                    </a:lnTo>
                    <a:lnTo>
                      <a:pt x="789" y="656"/>
                    </a:lnTo>
                    <a:lnTo>
                      <a:pt x="792" y="672"/>
                    </a:lnTo>
                    <a:lnTo>
                      <a:pt x="794" y="687"/>
                    </a:lnTo>
                    <a:lnTo>
                      <a:pt x="797" y="702"/>
                    </a:lnTo>
                    <a:lnTo>
                      <a:pt x="799" y="717"/>
                    </a:lnTo>
                    <a:lnTo>
                      <a:pt x="803" y="748"/>
                    </a:lnTo>
                    <a:lnTo>
                      <a:pt x="806" y="779"/>
                    </a:lnTo>
                    <a:lnTo>
                      <a:pt x="808" y="810"/>
                    </a:lnTo>
                    <a:lnTo>
                      <a:pt x="810" y="842"/>
                    </a:lnTo>
                    <a:lnTo>
                      <a:pt x="811" y="8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6" name="Freeform 39"/>
              <p:cNvSpPr>
                <a:spLocks noChangeAspect="1"/>
              </p:cNvSpPr>
              <p:nvPr/>
            </p:nvSpPr>
            <p:spPr bwMode="auto">
              <a:xfrm>
                <a:off x="3597" y="2641"/>
                <a:ext cx="804" cy="850"/>
              </a:xfrm>
              <a:custGeom>
                <a:avLst/>
                <a:gdLst>
                  <a:gd name="T0" fmla="*/ 166 w 804"/>
                  <a:gd name="T1" fmla="*/ 0 h 850"/>
                  <a:gd name="T2" fmla="*/ 165 w 804"/>
                  <a:gd name="T3" fmla="*/ 14 h 850"/>
                  <a:gd name="T4" fmla="*/ 164 w 804"/>
                  <a:gd name="T5" fmla="*/ 28 h 850"/>
                  <a:gd name="T6" fmla="*/ 160 w 804"/>
                  <a:gd name="T7" fmla="*/ 56 h 850"/>
                  <a:gd name="T8" fmla="*/ 155 w 804"/>
                  <a:gd name="T9" fmla="*/ 83 h 850"/>
                  <a:gd name="T10" fmla="*/ 150 w 804"/>
                  <a:gd name="T11" fmla="*/ 110 h 850"/>
                  <a:gd name="T12" fmla="*/ 143 w 804"/>
                  <a:gd name="T13" fmla="*/ 136 h 850"/>
                  <a:gd name="T14" fmla="*/ 134 w 804"/>
                  <a:gd name="T15" fmla="*/ 162 h 850"/>
                  <a:gd name="T16" fmla="*/ 125 w 804"/>
                  <a:gd name="T17" fmla="*/ 187 h 850"/>
                  <a:gd name="T18" fmla="*/ 115 w 804"/>
                  <a:gd name="T19" fmla="*/ 213 h 850"/>
                  <a:gd name="T20" fmla="*/ 104 w 804"/>
                  <a:gd name="T21" fmla="*/ 237 h 850"/>
                  <a:gd name="T22" fmla="*/ 92 w 804"/>
                  <a:gd name="T23" fmla="*/ 261 h 850"/>
                  <a:gd name="T24" fmla="*/ 78 w 804"/>
                  <a:gd name="T25" fmla="*/ 284 h 850"/>
                  <a:gd name="T26" fmla="*/ 64 w 804"/>
                  <a:gd name="T27" fmla="*/ 306 h 850"/>
                  <a:gd name="T28" fmla="*/ 57 w 804"/>
                  <a:gd name="T29" fmla="*/ 317 h 850"/>
                  <a:gd name="T30" fmla="*/ 49 w 804"/>
                  <a:gd name="T31" fmla="*/ 328 h 850"/>
                  <a:gd name="T32" fmla="*/ 41 w 804"/>
                  <a:gd name="T33" fmla="*/ 339 h 850"/>
                  <a:gd name="T34" fmla="*/ 34 w 804"/>
                  <a:gd name="T35" fmla="*/ 349 h 850"/>
                  <a:gd name="T36" fmla="*/ 17 w 804"/>
                  <a:gd name="T37" fmla="*/ 371 h 850"/>
                  <a:gd name="T38" fmla="*/ 0 w 804"/>
                  <a:gd name="T39" fmla="*/ 391 h 850"/>
                  <a:gd name="T40" fmla="*/ 70 w 804"/>
                  <a:gd name="T41" fmla="*/ 744 h 850"/>
                  <a:gd name="T42" fmla="*/ 442 w 804"/>
                  <a:gd name="T43" fmla="*/ 850 h 850"/>
                  <a:gd name="T44" fmla="*/ 462 w 804"/>
                  <a:gd name="T45" fmla="*/ 828 h 850"/>
                  <a:gd name="T46" fmla="*/ 481 w 804"/>
                  <a:gd name="T47" fmla="*/ 807 h 850"/>
                  <a:gd name="T48" fmla="*/ 490 w 804"/>
                  <a:gd name="T49" fmla="*/ 796 h 850"/>
                  <a:gd name="T50" fmla="*/ 500 w 804"/>
                  <a:gd name="T51" fmla="*/ 785 h 850"/>
                  <a:gd name="T52" fmla="*/ 518 w 804"/>
                  <a:gd name="T53" fmla="*/ 763 h 850"/>
                  <a:gd name="T54" fmla="*/ 536 w 804"/>
                  <a:gd name="T55" fmla="*/ 741 h 850"/>
                  <a:gd name="T56" fmla="*/ 553 w 804"/>
                  <a:gd name="T57" fmla="*/ 718 h 850"/>
                  <a:gd name="T58" fmla="*/ 571 w 804"/>
                  <a:gd name="T59" fmla="*/ 695 h 850"/>
                  <a:gd name="T60" fmla="*/ 587 w 804"/>
                  <a:gd name="T61" fmla="*/ 670 h 850"/>
                  <a:gd name="T62" fmla="*/ 603 w 804"/>
                  <a:gd name="T63" fmla="*/ 646 h 850"/>
                  <a:gd name="T64" fmla="*/ 619 w 804"/>
                  <a:gd name="T65" fmla="*/ 622 h 850"/>
                  <a:gd name="T66" fmla="*/ 633 w 804"/>
                  <a:gd name="T67" fmla="*/ 597 h 850"/>
                  <a:gd name="T68" fmla="*/ 648 w 804"/>
                  <a:gd name="T69" fmla="*/ 572 h 850"/>
                  <a:gd name="T70" fmla="*/ 661 w 804"/>
                  <a:gd name="T71" fmla="*/ 546 h 850"/>
                  <a:gd name="T72" fmla="*/ 674 w 804"/>
                  <a:gd name="T73" fmla="*/ 520 h 850"/>
                  <a:gd name="T74" fmla="*/ 687 w 804"/>
                  <a:gd name="T75" fmla="*/ 493 h 850"/>
                  <a:gd name="T76" fmla="*/ 699 w 804"/>
                  <a:gd name="T77" fmla="*/ 467 h 850"/>
                  <a:gd name="T78" fmla="*/ 710 w 804"/>
                  <a:gd name="T79" fmla="*/ 440 h 850"/>
                  <a:gd name="T80" fmla="*/ 721 w 804"/>
                  <a:gd name="T81" fmla="*/ 413 h 850"/>
                  <a:gd name="T82" fmla="*/ 732 w 804"/>
                  <a:gd name="T83" fmla="*/ 386 h 850"/>
                  <a:gd name="T84" fmla="*/ 741 w 804"/>
                  <a:gd name="T85" fmla="*/ 358 h 850"/>
                  <a:gd name="T86" fmla="*/ 750 w 804"/>
                  <a:gd name="T87" fmla="*/ 329 h 850"/>
                  <a:gd name="T88" fmla="*/ 758 w 804"/>
                  <a:gd name="T89" fmla="*/ 301 h 850"/>
                  <a:gd name="T90" fmla="*/ 766 w 804"/>
                  <a:gd name="T91" fmla="*/ 272 h 850"/>
                  <a:gd name="T92" fmla="*/ 773 w 804"/>
                  <a:gd name="T93" fmla="*/ 243 h 850"/>
                  <a:gd name="T94" fmla="*/ 779 w 804"/>
                  <a:gd name="T95" fmla="*/ 214 h 850"/>
                  <a:gd name="T96" fmla="*/ 785 w 804"/>
                  <a:gd name="T97" fmla="*/ 184 h 850"/>
                  <a:gd name="T98" fmla="*/ 790 w 804"/>
                  <a:gd name="T99" fmla="*/ 155 h 850"/>
                  <a:gd name="T100" fmla="*/ 794 w 804"/>
                  <a:gd name="T101" fmla="*/ 125 h 850"/>
                  <a:gd name="T102" fmla="*/ 797 w 804"/>
                  <a:gd name="T103" fmla="*/ 95 h 850"/>
                  <a:gd name="T104" fmla="*/ 800 w 804"/>
                  <a:gd name="T105" fmla="*/ 65 h 850"/>
                  <a:gd name="T106" fmla="*/ 802 w 804"/>
                  <a:gd name="T107" fmla="*/ 33 h 850"/>
                  <a:gd name="T108" fmla="*/ 804 w 804"/>
                  <a:gd name="T109" fmla="*/ 3 h 850"/>
                  <a:gd name="T110" fmla="*/ 450 w 804"/>
                  <a:gd name="T111" fmla="*/ 204 h 850"/>
                  <a:gd name="T112" fmla="*/ 166 w 804"/>
                  <a:gd name="T113" fmla="*/ 0 h 85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04"/>
                  <a:gd name="T172" fmla="*/ 0 h 850"/>
                  <a:gd name="T173" fmla="*/ 804 w 804"/>
                  <a:gd name="T174" fmla="*/ 850 h 85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04" h="850">
                    <a:moveTo>
                      <a:pt x="166" y="0"/>
                    </a:moveTo>
                    <a:lnTo>
                      <a:pt x="165" y="14"/>
                    </a:lnTo>
                    <a:lnTo>
                      <a:pt x="164" y="28"/>
                    </a:lnTo>
                    <a:lnTo>
                      <a:pt x="160" y="56"/>
                    </a:lnTo>
                    <a:lnTo>
                      <a:pt x="155" y="83"/>
                    </a:lnTo>
                    <a:lnTo>
                      <a:pt x="150" y="110"/>
                    </a:lnTo>
                    <a:lnTo>
                      <a:pt x="143" y="136"/>
                    </a:lnTo>
                    <a:lnTo>
                      <a:pt x="134" y="162"/>
                    </a:lnTo>
                    <a:lnTo>
                      <a:pt x="125" y="187"/>
                    </a:lnTo>
                    <a:lnTo>
                      <a:pt x="115" y="213"/>
                    </a:lnTo>
                    <a:lnTo>
                      <a:pt x="104" y="237"/>
                    </a:lnTo>
                    <a:lnTo>
                      <a:pt x="92" y="261"/>
                    </a:lnTo>
                    <a:lnTo>
                      <a:pt x="78" y="284"/>
                    </a:lnTo>
                    <a:lnTo>
                      <a:pt x="64" y="306"/>
                    </a:lnTo>
                    <a:lnTo>
                      <a:pt x="57" y="317"/>
                    </a:lnTo>
                    <a:lnTo>
                      <a:pt x="49" y="328"/>
                    </a:lnTo>
                    <a:lnTo>
                      <a:pt x="41" y="339"/>
                    </a:lnTo>
                    <a:lnTo>
                      <a:pt x="34" y="349"/>
                    </a:lnTo>
                    <a:lnTo>
                      <a:pt x="17" y="371"/>
                    </a:lnTo>
                    <a:lnTo>
                      <a:pt x="0" y="391"/>
                    </a:lnTo>
                    <a:lnTo>
                      <a:pt x="70" y="744"/>
                    </a:lnTo>
                    <a:lnTo>
                      <a:pt x="442" y="850"/>
                    </a:lnTo>
                    <a:lnTo>
                      <a:pt x="462" y="828"/>
                    </a:lnTo>
                    <a:lnTo>
                      <a:pt x="481" y="807"/>
                    </a:lnTo>
                    <a:lnTo>
                      <a:pt x="490" y="796"/>
                    </a:lnTo>
                    <a:lnTo>
                      <a:pt x="500" y="785"/>
                    </a:lnTo>
                    <a:lnTo>
                      <a:pt x="518" y="763"/>
                    </a:lnTo>
                    <a:lnTo>
                      <a:pt x="536" y="741"/>
                    </a:lnTo>
                    <a:lnTo>
                      <a:pt x="553" y="718"/>
                    </a:lnTo>
                    <a:lnTo>
                      <a:pt x="571" y="695"/>
                    </a:lnTo>
                    <a:lnTo>
                      <a:pt x="587" y="670"/>
                    </a:lnTo>
                    <a:lnTo>
                      <a:pt x="603" y="646"/>
                    </a:lnTo>
                    <a:lnTo>
                      <a:pt x="619" y="622"/>
                    </a:lnTo>
                    <a:lnTo>
                      <a:pt x="633" y="597"/>
                    </a:lnTo>
                    <a:lnTo>
                      <a:pt x="648" y="572"/>
                    </a:lnTo>
                    <a:lnTo>
                      <a:pt x="661" y="546"/>
                    </a:lnTo>
                    <a:lnTo>
                      <a:pt x="674" y="520"/>
                    </a:lnTo>
                    <a:lnTo>
                      <a:pt x="687" y="493"/>
                    </a:lnTo>
                    <a:lnTo>
                      <a:pt x="699" y="467"/>
                    </a:lnTo>
                    <a:lnTo>
                      <a:pt x="710" y="440"/>
                    </a:lnTo>
                    <a:lnTo>
                      <a:pt x="721" y="413"/>
                    </a:lnTo>
                    <a:lnTo>
                      <a:pt x="732" y="386"/>
                    </a:lnTo>
                    <a:lnTo>
                      <a:pt x="741" y="358"/>
                    </a:lnTo>
                    <a:lnTo>
                      <a:pt x="750" y="329"/>
                    </a:lnTo>
                    <a:lnTo>
                      <a:pt x="758" y="301"/>
                    </a:lnTo>
                    <a:lnTo>
                      <a:pt x="766" y="272"/>
                    </a:lnTo>
                    <a:lnTo>
                      <a:pt x="773" y="243"/>
                    </a:lnTo>
                    <a:lnTo>
                      <a:pt x="779" y="214"/>
                    </a:lnTo>
                    <a:lnTo>
                      <a:pt x="785" y="184"/>
                    </a:lnTo>
                    <a:lnTo>
                      <a:pt x="790" y="155"/>
                    </a:lnTo>
                    <a:lnTo>
                      <a:pt x="794" y="125"/>
                    </a:lnTo>
                    <a:lnTo>
                      <a:pt x="797" y="95"/>
                    </a:lnTo>
                    <a:lnTo>
                      <a:pt x="800" y="65"/>
                    </a:lnTo>
                    <a:lnTo>
                      <a:pt x="802" y="33"/>
                    </a:lnTo>
                    <a:lnTo>
                      <a:pt x="804" y="3"/>
                    </a:lnTo>
                    <a:lnTo>
                      <a:pt x="450" y="204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7" name="Freeform 40"/>
              <p:cNvSpPr>
                <a:spLocks noChangeAspect="1"/>
              </p:cNvSpPr>
              <p:nvPr/>
            </p:nvSpPr>
            <p:spPr bwMode="auto">
              <a:xfrm>
                <a:off x="3015" y="3084"/>
                <a:ext cx="979" cy="792"/>
              </a:xfrm>
              <a:custGeom>
                <a:avLst/>
                <a:gdLst>
                  <a:gd name="T0" fmla="*/ 191 w 979"/>
                  <a:gd name="T1" fmla="*/ 792 h 792"/>
                  <a:gd name="T2" fmla="*/ 0 w 979"/>
                  <a:gd name="T3" fmla="*/ 462 h 792"/>
                  <a:gd name="T4" fmla="*/ 194 w 979"/>
                  <a:gd name="T5" fmla="*/ 151 h 792"/>
                  <a:gd name="T6" fmla="*/ 217 w 979"/>
                  <a:gd name="T7" fmla="*/ 147 h 792"/>
                  <a:gd name="T8" fmla="*/ 240 w 979"/>
                  <a:gd name="T9" fmla="*/ 143 h 792"/>
                  <a:gd name="T10" fmla="*/ 252 w 979"/>
                  <a:gd name="T11" fmla="*/ 140 h 792"/>
                  <a:gd name="T12" fmla="*/ 263 w 979"/>
                  <a:gd name="T13" fmla="*/ 137 h 792"/>
                  <a:gd name="T14" fmla="*/ 286 w 979"/>
                  <a:gd name="T15" fmla="*/ 131 h 792"/>
                  <a:gd name="T16" fmla="*/ 308 w 979"/>
                  <a:gd name="T17" fmla="*/ 124 h 792"/>
                  <a:gd name="T18" fmla="*/ 330 w 979"/>
                  <a:gd name="T19" fmla="*/ 117 h 792"/>
                  <a:gd name="T20" fmla="*/ 353 w 979"/>
                  <a:gd name="T21" fmla="*/ 108 h 792"/>
                  <a:gd name="T22" fmla="*/ 374 w 979"/>
                  <a:gd name="T23" fmla="*/ 99 h 792"/>
                  <a:gd name="T24" fmla="*/ 395 w 979"/>
                  <a:gd name="T25" fmla="*/ 89 h 792"/>
                  <a:gd name="T26" fmla="*/ 415 w 979"/>
                  <a:gd name="T27" fmla="*/ 79 h 792"/>
                  <a:gd name="T28" fmla="*/ 435 w 979"/>
                  <a:gd name="T29" fmla="*/ 67 h 792"/>
                  <a:gd name="T30" fmla="*/ 454 w 979"/>
                  <a:gd name="T31" fmla="*/ 55 h 792"/>
                  <a:gd name="T32" fmla="*/ 464 w 979"/>
                  <a:gd name="T33" fmla="*/ 48 h 792"/>
                  <a:gd name="T34" fmla="*/ 473 w 979"/>
                  <a:gd name="T35" fmla="*/ 42 h 792"/>
                  <a:gd name="T36" fmla="*/ 492 w 979"/>
                  <a:gd name="T37" fmla="*/ 29 h 792"/>
                  <a:gd name="T38" fmla="*/ 511 w 979"/>
                  <a:gd name="T39" fmla="*/ 15 h 792"/>
                  <a:gd name="T40" fmla="*/ 528 w 979"/>
                  <a:gd name="T41" fmla="*/ 0 h 792"/>
                  <a:gd name="T42" fmla="*/ 586 w 979"/>
                  <a:gd name="T43" fmla="*/ 342 h 792"/>
                  <a:gd name="T44" fmla="*/ 979 w 979"/>
                  <a:gd name="T45" fmla="*/ 450 h 792"/>
                  <a:gd name="T46" fmla="*/ 959 w 979"/>
                  <a:gd name="T47" fmla="*/ 468 h 792"/>
                  <a:gd name="T48" fmla="*/ 939 w 979"/>
                  <a:gd name="T49" fmla="*/ 486 h 792"/>
                  <a:gd name="T50" fmla="*/ 918 w 979"/>
                  <a:gd name="T51" fmla="*/ 503 h 792"/>
                  <a:gd name="T52" fmla="*/ 897 w 979"/>
                  <a:gd name="T53" fmla="*/ 520 h 792"/>
                  <a:gd name="T54" fmla="*/ 876 w 979"/>
                  <a:gd name="T55" fmla="*/ 536 h 792"/>
                  <a:gd name="T56" fmla="*/ 855 w 979"/>
                  <a:gd name="T57" fmla="*/ 552 h 792"/>
                  <a:gd name="T58" fmla="*/ 833 w 979"/>
                  <a:gd name="T59" fmla="*/ 569 h 792"/>
                  <a:gd name="T60" fmla="*/ 810 w 979"/>
                  <a:gd name="T61" fmla="*/ 584 h 792"/>
                  <a:gd name="T62" fmla="*/ 787 w 979"/>
                  <a:gd name="T63" fmla="*/ 598 h 792"/>
                  <a:gd name="T64" fmla="*/ 764 w 979"/>
                  <a:gd name="T65" fmla="*/ 613 h 792"/>
                  <a:gd name="T66" fmla="*/ 741 w 979"/>
                  <a:gd name="T67" fmla="*/ 626 h 792"/>
                  <a:gd name="T68" fmla="*/ 718 w 979"/>
                  <a:gd name="T69" fmla="*/ 639 h 792"/>
                  <a:gd name="T70" fmla="*/ 694 w 979"/>
                  <a:gd name="T71" fmla="*/ 652 h 792"/>
                  <a:gd name="T72" fmla="*/ 670 w 979"/>
                  <a:gd name="T73" fmla="*/ 664 h 792"/>
                  <a:gd name="T74" fmla="*/ 645 w 979"/>
                  <a:gd name="T75" fmla="*/ 676 h 792"/>
                  <a:gd name="T76" fmla="*/ 620 w 979"/>
                  <a:gd name="T77" fmla="*/ 687 h 792"/>
                  <a:gd name="T78" fmla="*/ 595 w 979"/>
                  <a:gd name="T79" fmla="*/ 698 h 792"/>
                  <a:gd name="T80" fmla="*/ 570 w 979"/>
                  <a:gd name="T81" fmla="*/ 708 h 792"/>
                  <a:gd name="T82" fmla="*/ 544 w 979"/>
                  <a:gd name="T83" fmla="*/ 718 h 792"/>
                  <a:gd name="T84" fmla="*/ 532 w 979"/>
                  <a:gd name="T85" fmla="*/ 723 h 792"/>
                  <a:gd name="T86" fmla="*/ 519 w 979"/>
                  <a:gd name="T87" fmla="*/ 727 h 792"/>
                  <a:gd name="T88" fmla="*/ 492 w 979"/>
                  <a:gd name="T89" fmla="*/ 736 h 792"/>
                  <a:gd name="T90" fmla="*/ 466 w 979"/>
                  <a:gd name="T91" fmla="*/ 744 h 792"/>
                  <a:gd name="T92" fmla="*/ 439 w 979"/>
                  <a:gd name="T93" fmla="*/ 751 h 792"/>
                  <a:gd name="T94" fmla="*/ 426 w 979"/>
                  <a:gd name="T95" fmla="*/ 755 h 792"/>
                  <a:gd name="T96" fmla="*/ 413 w 979"/>
                  <a:gd name="T97" fmla="*/ 758 h 792"/>
                  <a:gd name="T98" fmla="*/ 386 w 979"/>
                  <a:gd name="T99" fmla="*/ 764 h 792"/>
                  <a:gd name="T100" fmla="*/ 359 w 979"/>
                  <a:gd name="T101" fmla="*/ 770 h 792"/>
                  <a:gd name="T102" fmla="*/ 303 w 979"/>
                  <a:gd name="T103" fmla="*/ 780 h 792"/>
                  <a:gd name="T104" fmla="*/ 275 w 979"/>
                  <a:gd name="T105" fmla="*/ 784 h 792"/>
                  <a:gd name="T106" fmla="*/ 247 w 979"/>
                  <a:gd name="T107" fmla="*/ 787 h 792"/>
                  <a:gd name="T108" fmla="*/ 219 w 979"/>
                  <a:gd name="T109" fmla="*/ 790 h 792"/>
                  <a:gd name="T110" fmla="*/ 191 w 979"/>
                  <a:gd name="T111" fmla="*/ 792 h 7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79"/>
                  <a:gd name="T169" fmla="*/ 0 h 792"/>
                  <a:gd name="T170" fmla="*/ 979 w 979"/>
                  <a:gd name="T171" fmla="*/ 792 h 7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79" h="792">
                    <a:moveTo>
                      <a:pt x="191" y="792"/>
                    </a:moveTo>
                    <a:lnTo>
                      <a:pt x="0" y="462"/>
                    </a:lnTo>
                    <a:lnTo>
                      <a:pt x="194" y="151"/>
                    </a:lnTo>
                    <a:lnTo>
                      <a:pt x="217" y="147"/>
                    </a:lnTo>
                    <a:lnTo>
                      <a:pt x="240" y="143"/>
                    </a:lnTo>
                    <a:lnTo>
                      <a:pt x="252" y="140"/>
                    </a:lnTo>
                    <a:lnTo>
                      <a:pt x="263" y="137"/>
                    </a:lnTo>
                    <a:lnTo>
                      <a:pt x="286" y="131"/>
                    </a:lnTo>
                    <a:lnTo>
                      <a:pt x="308" y="124"/>
                    </a:lnTo>
                    <a:lnTo>
                      <a:pt x="330" y="117"/>
                    </a:lnTo>
                    <a:lnTo>
                      <a:pt x="353" y="108"/>
                    </a:lnTo>
                    <a:lnTo>
                      <a:pt x="374" y="99"/>
                    </a:lnTo>
                    <a:lnTo>
                      <a:pt x="395" y="89"/>
                    </a:lnTo>
                    <a:lnTo>
                      <a:pt x="415" y="79"/>
                    </a:lnTo>
                    <a:lnTo>
                      <a:pt x="435" y="67"/>
                    </a:lnTo>
                    <a:lnTo>
                      <a:pt x="454" y="55"/>
                    </a:lnTo>
                    <a:lnTo>
                      <a:pt x="464" y="48"/>
                    </a:lnTo>
                    <a:lnTo>
                      <a:pt x="473" y="42"/>
                    </a:lnTo>
                    <a:lnTo>
                      <a:pt x="492" y="29"/>
                    </a:lnTo>
                    <a:lnTo>
                      <a:pt x="511" y="15"/>
                    </a:lnTo>
                    <a:lnTo>
                      <a:pt x="528" y="0"/>
                    </a:lnTo>
                    <a:lnTo>
                      <a:pt x="586" y="342"/>
                    </a:lnTo>
                    <a:lnTo>
                      <a:pt x="979" y="450"/>
                    </a:lnTo>
                    <a:lnTo>
                      <a:pt x="959" y="468"/>
                    </a:lnTo>
                    <a:lnTo>
                      <a:pt x="939" y="486"/>
                    </a:lnTo>
                    <a:lnTo>
                      <a:pt x="918" y="503"/>
                    </a:lnTo>
                    <a:lnTo>
                      <a:pt x="897" y="520"/>
                    </a:lnTo>
                    <a:lnTo>
                      <a:pt x="876" y="536"/>
                    </a:lnTo>
                    <a:lnTo>
                      <a:pt x="855" y="552"/>
                    </a:lnTo>
                    <a:lnTo>
                      <a:pt x="833" y="569"/>
                    </a:lnTo>
                    <a:lnTo>
                      <a:pt x="810" y="584"/>
                    </a:lnTo>
                    <a:lnTo>
                      <a:pt x="787" y="598"/>
                    </a:lnTo>
                    <a:lnTo>
                      <a:pt x="764" y="613"/>
                    </a:lnTo>
                    <a:lnTo>
                      <a:pt x="741" y="626"/>
                    </a:lnTo>
                    <a:lnTo>
                      <a:pt x="718" y="639"/>
                    </a:lnTo>
                    <a:lnTo>
                      <a:pt x="694" y="652"/>
                    </a:lnTo>
                    <a:lnTo>
                      <a:pt x="670" y="664"/>
                    </a:lnTo>
                    <a:lnTo>
                      <a:pt x="645" y="676"/>
                    </a:lnTo>
                    <a:lnTo>
                      <a:pt x="620" y="687"/>
                    </a:lnTo>
                    <a:lnTo>
                      <a:pt x="595" y="698"/>
                    </a:lnTo>
                    <a:lnTo>
                      <a:pt x="570" y="708"/>
                    </a:lnTo>
                    <a:lnTo>
                      <a:pt x="544" y="718"/>
                    </a:lnTo>
                    <a:lnTo>
                      <a:pt x="532" y="723"/>
                    </a:lnTo>
                    <a:lnTo>
                      <a:pt x="519" y="727"/>
                    </a:lnTo>
                    <a:lnTo>
                      <a:pt x="492" y="736"/>
                    </a:lnTo>
                    <a:lnTo>
                      <a:pt x="466" y="744"/>
                    </a:lnTo>
                    <a:lnTo>
                      <a:pt x="439" y="751"/>
                    </a:lnTo>
                    <a:lnTo>
                      <a:pt x="426" y="755"/>
                    </a:lnTo>
                    <a:lnTo>
                      <a:pt x="413" y="758"/>
                    </a:lnTo>
                    <a:lnTo>
                      <a:pt x="386" y="764"/>
                    </a:lnTo>
                    <a:lnTo>
                      <a:pt x="359" y="770"/>
                    </a:lnTo>
                    <a:lnTo>
                      <a:pt x="303" y="780"/>
                    </a:lnTo>
                    <a:lnTo>
                      <a:pt x="275" y="784"/>
                    </a:lnTo>
                    <a:lnTo>
                      <a:pt x="247" y="787"/>
                    </a:lnTo>
                    <a:lnTo>
                      <a:pt x="219" y="790"/>
                    </a:lnTo>
                    <a:lnTo>
                      <a:pt x="191" y="7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8" name="Freeform 41"/>
              <p:cNvSpPr>
                <a:spLocks noChangeAspect="1"/>
              </p:cNvSpPr>
              <p:nvPr/>
            </p:nvSpPr>
            <p:spPr bwMode="auto">
              <a:xfrm>
                <a:off x="2274" y="3109"/>
                <a:ext cx="867" cy="769"/>
              </a:xfrm>
              <a:custGeom>
                <a:avLst/>
                <a:gdLst>
                  <a:gd name="T0" fmla="*/ 866 w 867"/>
                  <a:gd name="T1" fmla="*/ 769 h 769"/>
                  <a:gd name="T2" fmla="*/ 847 w 867"/>
                  <a:gd name="T3" fmla="*/ 769 h 769"/>
                  <a:gd name="T4" fmla="*/ 817 w 867"/>
                  <a:gd name="T5" fmla="*/ 769 h 769"/>
                  <a:gd name="T6" fmla="*/ 787 w 867"/>
                  <a:gd name="T7" fmla="*/ 768 h 769"/>
                  <a:gd name="T8" fmla="*/ 756 w 867"/>
                  <a:gd name="T9" fmla="*/ 766 h 769"/>
                  <a:gd name="T10" fmla="*/ 726 w 867"/>
                  <a:gd name="T11" fmla="*/ 764 h 769"/>
                  <a:gd name="T12" fmla="*/ 697 w 867"/>
                  <a:gd name="T13" fmla="*/ 760 h 769"/>
                  <a:gd name="T14" fmla="*/ 667 w 867"/>
                  <a:gd name="T15" fmla="*/ 757 h 769"/>
                  <a:gd name="T16" fmla="*/ 653 w 867"/>
                  <a:gd name="T17" fmla="*/ 755 h 769"/>
                  <a:gd name="T18" fmla="*/ 638 w 867"/>
                  <a:gd name="T19" fmla="*/ 752 h 769"/>
                  <a:gd name="T20" fmla="*/ 610 w 867"/>
                  <a:gd name="T21" fmla="*/ 747 h 769"/>
                  <a:gd name="T22" fmla="*/ 580 w 867"/>
                  <a:gd name="T23" fmla="*/ 742 h 769"/>
                  <a:gd name="T24" fmla="*/ 552 w 867"/>
                  <a:gd name="T25" fmla="*/ 735 h 769"/>
                  <a:gd name="T26" fmla="*/ 523 w 867"/>
                  <a:gd name="T27" fmla="*/ 728 h 769"/>
                  <a:gd name="T28" fmla="*/ 496 w 867"/>
                  <a:gd name="T29" fmla="*/ 721 h 769"/>
                  <a:gd name="T30" fmla="*/ 482 w 867"/>
                  <a:gd name="T31" fmla="*/ 717 h 769"/>
                  <a:gd name="T32" fmla="*/ 468 w 867"/>
                  <a:gd name="T33" fmla="*/ 712 h 769"/>
                  <a:gd name="T34" fmla="*/ 440 w 867"/>
                  <a:gd name="T35" fmla="*/ 704 h 769"/>
                  <a:gd name="T36" fmla="*/ 413 w 867"/>
                  <a:gd name="T37" fmla="*/ 694 h 769"/>
                  <a:gd name="T38" fmla="*/ 386 w 867"/>
                  <a:gd name="T39" fmla="*/ 683 h 769"/>
                  <a:gd name="T40" fmla="*/ 359 w 867"/>
                  <a:gd name="T41" fmla="*/ 673 h 769"/>
                  <a:gd name="T42" fmla="*/ 333 w 867"/>
                  <a:gd name="T43" fmla="*/ 662 h 769"/>
                  <a:gd name="T44" fmla="*/ 307 w 867"/>
                  <a:gd name="T45" fmla="*/ 650 h 769"/>
                  <a:gd name="T46" fmla="*/ 281 w 867"/>
                  <a:gd name="T47" fmla="*/ 638 h 769"/>
                  <a:gd name="T48" fmla="*/ 255 w 867"/>
                  <a:gd name="T49" fmla="*/ 625 h 769"/>
                  <a:gd name="T50" fmla="*/ 230 w 867"/>
                  <a:gd name="T51" fmla="*/ 611 h 769"/>
                  <a:gd name="T52" fmla="*/ 206 w 867"/>
                  <a:gd name="T53" fmla="*/ 598 h 769"/>
                  <a:gd name="T54" fmla="*/ 182 w 867"/>
                  <a:gd name="T55" fmla="*/ 583 h 769"/>
                  <a:gd name="T56" fmla="*/ 158 w 867"/>
                  <a:gd name="T57" fmla="*/ 568 h 769"/>
                  <a:gd name="T58" fmla="*/ 134 w 867"/>
                  <a:gd name="T59" fmla="*/ 553 h 769"/>
                  <a:gd name="T60" fmla="*/ 110 w 867"/>
                  <a:gd name="T61" fmla="*/ 537 h 769"/>
                  <a:gd name="T62" fmla="*/ 87 w 867"/>
                  <a:gd name="T63" fmla="*/ 519 h 769"/>
                  <a:gd name="T64" fmla="*/ 65 w 867"/>
                  <a:gd name="T65" fmla="*/ 502 h 769"/>
                  <a:gd name="T66" fmla="*/ 43 w 867"/>
                  <a:gd name="T67" fmla="*/ 485 h 769"/>
                  <a:gd name="T68" fmla="*/ 21 w 867"/>
                  <a:gd name="T69" fmla="*/ 467 h 769"/>
                  <a:gd name="T70" fmla="*/ 0 w 867"/>
                  <a:gd name="T71" fmla="*/ 449 h 769"/>
                  <a:gd name="T72" fmla="*/ 96 w 867"/>
                  <a:gd name="T73" fmla="*/ 84 h 769"/>
                  <a:gd name="T74" fmla="*/ 454 w 867"/>
                  <a:gd name="T75" fmla="*/ 0 h 769"/>
                  <a:gd name="T76" fmla="*/ 474 w 867"/>
                  <a:gd name="T77" fmla="*/ 15 h 769"/>
                  <a:gd name="T78" fmla="*/ 485 w 867"/>
                  <a:gd name="T79" fmla="*/ 22 h 769"/>
                  <a:gd name="T80" fmla="*/ 495 w 867"/>
                  <a:gd name="T81" fmla="*/ 29 h 769"/>
                  <a:gd name="T82" fmla="*/ 517 w 867"/>
                  <a:gd name="T83" fmla="*/ 43 h 769"/>
                  <a:gd name="T84" fmla="*/ 540 w 867"/>
                  <a:gd name="T85" fmla="*/ 56 h 769"/>
                  <a:gd name="T86" fmla="*/ 563 w 867"/>
                  <a:gd name="T87" fmla="*/ 68 h 769"/>
                  <a:gd name="T88" fmla="*/ 574 w 867"/>
                  <a:gd name="T89" fmla="*/ 74 h 769"/>
                  <a:gd name="T90" fmla="*/ 586 w 867"/>
                  <a:gd name="T91" fmla="*/ 79 h 769"/>
                  <a:gd name="T92" fmla="*/ 611 w 867"/>
                  <a:gd name="T93" fmla="*/ 89 h 769"/>
                  <a:gd name="T94" fmla="*/ 623 w 867"/>
                  <a:gd name="T95" fmla="*/ 93 h 769"/>
                  <a:gd name="T96" fmla="*/ 636 w 867"/>
                  <a:gd name="T97" fmla="*/ 98 h 769"/>
                  <a:gd name="T98" fmla="*/ 660 w 867"/>
                  <a:gd name="T99" fmla="*/ 106 h 769"/>
                  <a:gd name="T100" fmla="*/ 686 w 867"/>
                  <a:gd name="T101" fmla="*/ 113 h 769"/>
                  <a:gd name="T102" fmla="*/ 699 w 867"/>
                  <a:gd name="T103" fmla="*/ 116 h 769"/>
                  <a:gd name="T104" fmla="*/ 712 w 867"/>
                  <a:gd name="T105" fmla="*/ 119 h 769"/>
                  <a:gd name="T106" fmla="*/ 738 w 867"/>
                  <a:gd name="T107" fmla="*/ 124 h 769"/>
                  <a:gd name="T108" fmla="*/ 751 w 867"/>
                  <a:gd name="T109" fmla="*/ 126 h 769"/>
                  <a:gd name="T110" fmla="*/ 764 w 867"/>
                  <a:gd name="T111" fmla="*/ 127 h 769"/>
                  <a:gd name="T112" fmla="*/ 792 w 867"/>
                  <a:gd name="T113" fmla="*/ 130 h 769"/>
                  <a:gd name="T114" fmla="*/ 819 w 867"/>
                  <a:gd name="T115" fmla="*/ 132 h 769"/>
                  <a:gd name="T116" fmla="*/ 833 w 867"/>
                  <a:gd name="T117" fmla="*/ 132 h 769"/>
                  <a:gd name="T118" fmla="*/ 847 w 867"/>
                  <a:gd name="T119" fmla="*/ 133 h 769"/>
                  <a:gd name="T120" fmla="*/ 867 w 867"/>
                  <a:gd name="T121" fmla="*/ 132 h 769"/>
                  <a:gd name="T122" fmla="*/ 667 w 867"/>
                  <a:gd name="T123" fmla="*/ 428 h 769"/>
                  <a:gd name="T124" fmla="*/ 866 w 867"/>
                  <a:gd name="T125" fmla="*/ 769 h 76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67"/>
                  <a:gd name="T190" fmla="*/ 0 h 769"/>
                  <a:gd name="T191" fmla="*/ 867 w 867"/>
                  <a:gd name="T192" fmla="*/ 769 h 76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67" h="769">
                    <a:moveTo>
                      <a:pt x="866" y="769"/>
                    </a:moveTo>
                    <a:lnTo>
                      <a:pt x="847" y="769"/>
                    </a:lnTo>
                    <a:lnTo>
                      <a:pt x="817" y="769"/>
                    </a:lnTo>
                    <a:lnTo>
                      <a:pt x="787" y="768"/>
                    </a:lnTo>
                    <a:lnTo>
                      <a:pt x="756" y="766"/>
                    </a:lnTo>
                    <a:lnTo>
                      <a:pt x="726" y="764"/>
                    </a:lnTo>
                    <a:lnTo>
                      <a:pt x="697" y="760"/>
                    </a:lnTo>
                    <a:lnTo>
                      <a:pt x="667" y="757"/>
                    </a:lnTo>
                    <a:lnTo>
                      <a:pt x="653" y="755"/>
                    </a:lnTo>
                    <a:lnTo>
                      <a:pt x="638" y="752"/>
                    </a:lnTo>
                    <a:lnTo>
                      <a:pt x="610" y="747"/>
                    </a:lnTo>
                    <a:lnTo>
                      <a:pt x="580" y="742"/>
                    </a:lnTo>
                    <a:lnTo>
                      <a:pt x="552" y="735"/>
                    </a:lnTo>
                    <a:lnTo>
                      <a:pt x="523" y="728"/>
                    </a:lnTo>
                    <a:lnTo>
                      <a:pt x="496" y="721"/>
                    </a:lnTo>
                    <a:lnTo>
                      <a:pt x="482" y="717"/>
                    </a:lnTo>
                    <a:lnTo>
                      <a:pt x="468" y="712"/>
                    </a:lnTo>
                    <a:lnTo>
                      <a:pt x="440" y="704"/>
                    </a:lnTo>
                    <a:lnTo>
                      <a:pt x="413" y="694"/>
                    </a:lnTo>
                    <a:lnTo>
                      <a:pt x="386" y="683"/>
                    </a:lnTo>
                    <a:lnTo>
                      <a:pt x="359" y="673"/>
                    </a:lnTo>
                    <a:lnTo>
                      <a:pt x="333" y="662"/>
                    </a:lnTo>
                    <a:lnTo>
                      <a:pt x="307" y="650"/>
                    </a:lnTo>
                    <a:lnTo>
                      <a:pt x="281" y="638"/>
                    </a:lnTo>
                    <a:lnTo>
                      <a:pt x="255" y="625"/>
                    </a:lnTo>
                    <a:lnTo>
                      <a:pt x="230" y="611"/>
                    </a:lnTo>
                    <a:lnTo>
                      <a:pt x="206" y="598"/>
                    </a:lnTo>
                    <a:lnTo>
                      <a:pt x="182" y="583"/>
                    </a:lnTo>
                    <a:lnTo>
                      <a:pt x="158" y="568"/>
                    </a:lnTo>
                    <a:lnTo>
                      <a:pt x="134" y="553"/>
                    </a:lnTo>
                    <a:lnTo>
                      <a:pt x="110" y="537"/>
                    </a:lnTo>
                    <a:lnTo>
                      <a:pt x="87" y="519"/>
                    </a:lnTo>
                    <a:lnTo>
                      <a:pt x="65" y="502"/>
                    </a:lnTo>
                    <a:lnTo>
                      <a:pt x="43" y="485"/>
                    </a:lnTo>
                    <a:lnTo>
                      <a:pt x="21" y="467"/>
                    </a:lnTo>
                    <a:lnTo>
                      <a:pt x="0" y="449"/>
                    </a:lnTo>
                    <a:lnTo>
                      <a:pt x="96" y="84"/>
                    </a:lnTo>
                    <a:lnTo>
                      <a:pt x="454" y="0"/>
                    </a:lnTo>
                    <a:lnTo>
                      <a:pt x="474" y="15"/>
                    </a:lnTo>
                    <a:lnTo>
                      <a:pt x="485" y="22"/>
                    </a:lnTo>
                    <a:lnTo>
                      <a:pt x="495" y="29"/>
                    </a:lnTo>
                    <a:lnTo>
                      <a:pt x="517" y="43"/>
                    </a:lnTo>
                    <a:lnTo>
                      <a:pt x="540" y="56"/>
                    </a:lnTo>
                    <a:lnTo>
                      <a:pt x="563" y="68"/>
                    </a:lnTo>
                    <a:lnTo>
                      <a:pt x="574" y="74"/>
                    </a:lnTo>
                    <a:lnTo>
                      <a:pt x="586" y="79"/>
                    </a:lnTo>
                    <a:lnTo>
                      <a:pt x="611" y="89"/>
                    </a:lnTo>
                    <a:lnTo>
                      <a:pt x="623" y="93"/>
                    </a:lnTo>
                    <a:lnTo>
                      <a:pt x="636" y="98"/>
                    </a:lnTo>
                    <a:lnTo>
                      <a:pt x="660" y="106"/>
                    </a:lnTo>
                    <a:lnTo>
                      <a:pt x="686" y="113"/>
                    </a:lnTo>
                    <a:lnTo>
                      <a:pt x="699" y="116"/>
                    </a:lnTo>
                    <a:lnTo>
                      <a:pt x="712" y="119"/>
                    </a:lnTo>
                    <a:lnTo>
                      <a:pt x="738" y="124"/>
                    </a:lnTo>
                    <a:lnTo>
                      <a:pt x="751" y="126"/>
                    </a:lnTo>
                    <a:lnTo>
                      <a:pt x="764" y="127"/>
                    </a:lnTo>
                    <a:lnTo>
                      <a:pt x="792" y="130"/>
                    </a:lnTo>
                    <a:lnTo>
                      <a:pt x="819" y="132"/>
                    </a:lnTo>
                    <a:lnTo>
                      <a:pt x="833" y="132"/>
                    </a:lnTo>
                    <a:lnTo>
                      <a:pt x="847" y="133"/>
                    </a:lnTo>
                    <a:lnTo>
                      <a:pt x="867" y="132"/>
                    </a:lnTo>
                    <a:lnTo>
                      <a:pt x="667" y="428"/>
                    </a:lnTo>
                    <a:lnTo>
                      <a:pt x="866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9" name="Freeform 42"/>
              <p:cNvSpPr>
                <a:spLocks noChangeAspect="1"/>
              </p:cNvSpPr>
              <p:nvPr/>
            </p:nvSpPr>
            <p:spPr bwMode="auto">
              <a:xfrm>
                <a:off x="1845" y="2514"/>
                <a:ext cx="831" cy="1000"/>
              </a:xfrm>
              <a:custGeom>
                <a:avLst/>
                <a:gdLst>
                  <a:gd name="T0" fmla="*/ 641 w 831"/>
                  <a:gd name="T1" fmla="*/ 195 h 1000"/>
                  <a:gd name="T2" fmla="*/ 322 w 831"/>
                  <a:gd name="T3" fmla="*/ 0 h 1000"/>
                  <a:gd name="T4" fmla="*/ 0 w 831"/>
                  <a:gd name="T5" fmla="*/ 194 h 1000"/>
                  <a:gd name="T6" fmla="*/ 2 w 831"/>
                  <a:gd name="T7" fmla="*/ 224 h 1000"/>
                  <a:gd name="T8" fmla="*/ 6 w 831"/>
                  <a:gd name="T9" fmla="*/ 253 h 1000"/>
                  <a:gd name="T10" fmla="*/ 10 w 831"/>
                  <a:gd name="T11" fmla="*/ 282 h 1000"/>
                  <a:gd name="T12" fmla="*/ 15 w 831"/>
                  <a:gd name="T13" fmla="*/ 310 h 1000"/>
                  <a:gd name="T14" fmla="*/ 20 w 831"/>
                  <a:gd name="T15" fmla="*/ 340 h 1000"/>
                  <a:gd name="T16" fmla="*/ 26 w 831"/>
                  <a:gd name="T17" fmla="*/ 368 h 1000"/>
                  <a:gd name="T18" fmla="*/ 33 w 831"/>
                  <a:gd name="T19" fmla="*/ 396 h 1000"/>
                  <a:gd name="T20" fmla="*/ 40 w 831"/>
                  <a:gd name="T21" fmla="*/ 423 h 1000"/>
                  <a:gd name="T22" fmla="*/ 48 w 831"/>
                  <a:gd name="T23" fmla="*/ 451 h 1000"/>
                  <a:gd name="T24" fmla="*/ 56 w 831"/>
                  <a:gd name="T25" fmla="*/ 478 h 1000"/>
                  <a:gd name="T26" fmla="*/ 65 w 831"/>
                  <a:gd name="T27" fmla="*/ 506 h 1000"/>
                  <a:gd name="T28" fmla="*/ 76 w 831"/>
                  <a:gd name="T29" fmla="*/ 533 h 1000"/>
                  <a:gd name="T30" fmla="*/ 86 w 831"/>
                  <a:gd name="T31" fmla="*/ 559 h 1000"/>
                  <a:gd name="T32" fmla="*/ 97 w 831"/>
                  <a:gd name="T33" fmla="*/ 585 h 1000"/>
                  <a:gd name="T34" fmla="*/ 108 w 831"/>
                  <a:gd name="T35" fmla="*/ 611 h 1000"/>
                  <a:gd name="T36" fmla="*/ 120 w 831"/>
                  <a:gd name="T37" fmla="*/ 636 h 1000"/>
                  <a:gd name="T38" fmla="*/ 133 w 831"/>
                  <a:gd name="T39" fmla="*/ 663 h 1000"/>
                  <a:gd name="T40" fmla="*/ 146 w 831"/>
                  <a:gd name="T41" fmla="*/ 687 h 1000"/>
                  <a:gd name="T42" fmla="*/ 159 w 831"/>
                  <a:gd name="T43" fmla="*/ 712 h 1000"/>
                  <a:gd name="T44" fmla="*/ 173 w 831"/>
                  <a:gd name="T45" fmla="*/ 736 h 1000"/>
                  <a:gd name="T46" fmla="*/ 188 w 831"/>
                  <a:gd name="T47" fmla="*/ 760 h 1000"/>
                  <a:gd name="T48" fmla="*/ 203 w 831"/>
                  <a:gd name="T49" fmla="*/ 783 h 1000"/>
                  <a:gd name="T50" fmla="*/ 218 w 831"/>
                  <a:gd name="T51" fmla="*/ 808 h 1000"/>
                  <a:gd name="T52" fmla="*/ 234 w 831"/>
                  <a:gd name="T53" fmla="*/ 830 h 1000"/>
                  <a:gd name="T54" fmla="*/ 252 w 831"/>
                  <a:gd name="T55" fmla="*/ 853 h 1000"/>
                  <a:gd name="T56" fmla="*/ 269 w 831"/>
                  <a:gd name="T57" fmla="*/ 875 h 1000"/>
                  <a:gd name="T58" fmla="*/ 286 w 831"/>
                  <a:gd name="T59" fmla="*/ 897 h 1000"/>
                  <a:gd name="T60" fmla="*/ 304 w 831"/>
                  <a:gd name="T61" fmla="*/ 918 h 1000"/>
                  <a:gd name="T62" fmla="*/ 323 w 831"/>
                  <a:gd name="T63" fmla="*/ 939 h 1000"/>
                  <a:gd name="T64" fmla="*/ 342 w 831"/>
                  <a:gd name="T65" fmla="*/ 959 h 1000"/>
                  <a:gd name="T66" fmla="*/ 361 w 831"/>
                  <a:gd name="T67" fmla="*/ 980 h 1000"/>
                  <a:gd name="T68" fmla="*/ 381 w 831"/>
                  <a:gd name="T69" fmla="*/ 1000 h 1000"/>
                  <a:gd name="T70" fmla="*/ 479 w 831"/>
                  <a:gd name="T71" fmla="*/ 619 h 1000"/>
                  <a:gd name="T72" fmla="*/ 831 w 831"/>
                  <a:gd name="T73" fmla="*/ 550 h 1000"/>
                  <a:gd name="T74" fmla="*/ 813 w 831"/>
                  <a:gd name="T75" fmla="*/ 532 h 1000"/>
                  <a:gd name="T76" fmla="*/ 796 w 831"/>
                  <a:gd name="T77" fmla="*/ 514 h 1000"/>
                  <a:gd name="T78" fmla="*/ 780 w 831"/>
                  <a:gd name="T79" fmla="*/ 495 h 1000"/>
                  <a:gd name="T80" fmla="*/ 764 w 831"/>
                  <a:gd name="T81" fmla="*/ 474 h 1000"/>
                  <a:gd name="T82" fmla="*/ 749 w 831"/>
                  <a:gd name="T83" fmla="*/ 454 h 1000"/>
                  <a:gd name="T84" fmla="*/ 735 w 831"/>
                  <a:gd name="T85" fmla="*/ 433 h 1000"/>
                  <a:gd name="T86" fmla="*/ 722 w 831"/>
                  <a:gd name="T87" fmla="*/ 411 h 1000"/>
                  <a:gd name="T88" fmla="*/ 708 w 831"/>
                  <a:gd name="T89" fmla="*/ 389 h 1000"/>
                  <a:gd name="T90" fmla="*/ 696 w 831"/>
                  <a:gd name="T91" fmla="*/ 367 h 1000"/>
                  <a:gd name="T92" fmla="*/ 686 w 831"/>
                  <a:gd name="T93" fmla="*/ 344 h 1000"/>
                  <a:gd name="T94" fmla="*/ 676 w 831"/>
                  <a:gd name="T95" fmla="*/ 319 h 1000"/>
                  <a:gd name="T96" fmla="*/ 667 w 831"/>
                  <a:gd name="T97" fmla="*/ 295 h 1000"/>
                  <a:gd name="T98" fmla="*/ 659 w 831"/>
                  <a:gd name="T99" fmla="*/ 270 h 1000"/>
                  <a:gd name="T100" fmla="*/ 652 w 831"/>
                  <a:gd name="T101" fmla="*/ 246 h 1000"/>
                  <a:gd name="T102" fmla="*/ 649 w 831"/>
                  <a:gd name="T103" fmla="*/ 233 h 1000"/>
                  <a:gd name="T104" fmla="*/ 646 w 831"/>
                  <a:gd name="T105" fmla="*/ 220 h 1000"/>
                  <a:gd name="T106" fmla="*/ 641 w 831"/>
                  <a:gd name="T107" fmla="*/ 195 h 100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31"/>
                  <a:gd name="T163" fmla="*/ 0 h 1000"/>
                  <a:gd name="T164" fmla="*/ 831 w 831"/>
                  <a:gd name="T165" fmla="*/ 1000 h 100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31" h="1000">
                    <a:moveTo>
                      <a:pt x="641" y="195"/>
                    </a:moveTo>
                    <a:lnTo>
                      <a:pt x="322" y="0"/>
                    </a:lnTo>
                    <a:lnTo>
                      <a:pt x="0" y="194"/>
                    </a:lnTo>
                    <a:lnTo>
                      <a:pt x="2" y="224"/>
                    </a:lnTo>
                    <a:lnTo>
                      <a:pt x="6" y="253"/>
                    </a:lnTo>
                    <a:lnTo>
                      <a:pt x="10" y="282"/>
                    </a:lnTo>
                    <a:lnTo>
                      <a:pt x="15" y="310"/>
                    </a:lnTo>
                    <a:lnTo>
                      <a:pt x="20" y="340"/>
                    </a:lnTo>
                    <a:lnTo>
                      <a:pt x="26" y="368"/>
                    </a:lnTo>
                    <a:lnTo>
                      <a:pt x="33" y="396"/>
                    </a:lnTo>
                    <a:lnTo>
                      <a:pt x="40" y="423"/>
                    </a:lnTo>
                    <a:lnTo>
                      <a:pt x="48" y="451"/>
                    </a:lnTo>
                    <a:lnTo>
                      <a:pt x="56" y="478"/>
                    </a:lnTo>
                    <a:lnTo>
                      <a:pt x="65" y="506"/>
                    </a:lnTo>
                    <a:lnTo>
                      <a:pt x="76" y="533"/>
                    </a:lnTo>
                    <a:lnTo>
                      <a:pt x="86" y="559"/>
                    </a:lnTo>
                    <a:lnTo>
                      <a:pt x="97" y="585"/>
                    </a:lnTo>
                    <a:lnTo>
                      <a:pt x="108" y="611"/>
                    </a:lnTo>
                    <a:lnTo>
                      <a:pt x="120" y="636"/>
                    </a:lnTo>
                    <a:lnTo>
                      <a:pt x="133" y="663"/>
                    </a:lnTo>
                    <a:lnTo>
                      <a:pt x="146" y="687"/>
                    </a:lnTo>
                    <a:lnTo>
                      <a:pt x="159" y="712"/>
                    </a:lnTo>
                    <a:lnTo>
                      <a:pt x="173" y="736"/>
                    </a:lnTo>
                    <a:lnTo>
                      <a:pt x="188" y="760"/>
                    </a:lnTo>
                    <a:lnTo>
                      <a:pt x="203" y="783"/>
                    </a:lnTo>
                    <a:lnTo>
                      <a:pt x="218" y="808"/>
                    </a:lnTo>
                    <a:lnTo>
                      <a:pt x="234" y="830"/>
                    </a:lnTo>
                    <a:lnTo>
                      <a:pt x="252" y="853"/>
                    </a:lnTo>
                    <a:lnTo>
                      <a:pt x="269" y="875"/>
                    </a:lnTo>
                    <a:lnTo>
                      <a:pt x="286" y="897"/>
                    </a:lnTo>
                    <a:lnTo>
                      <a:pt x="304" y="918"/>
                    </a:lnTo>
                    <a:lnTo>
                      <a:pt x="323" y="939"/>
                    </a:lnTo>
                    <a:lnTo>
                      <a:pt x="342" y="959"/>
                    </a:lnTo>
                    <a:lnTo>
                      <a:pt x="361" y="980"/>
                    </a:lnTo>
                    <a:lnTo>
                      <a:pt x="381" y="1000"/>
                    </a:lnTo>
                    <a:lnTo>
                      <a:pt x="479" y="619"/>
                    </a:lnTo>
                    <a:lnTo>
                      <a:pt x="831" y="550"/>
                    </a:lnTo>
                    <a:lnTo>
                      <a:pt x="813" y="532"/>
                    </a:lnTo>
                    <a:lnTo>
                      <a:pt x="796" y="514"/>
                    </a:lnTo>
                    <a:lnTo>
                      <a:pt x="780" y="495"/>
                    </a:lnTo>
                    <a:lnTo>
                      <a:pt x="764" y="474"/>
                    </a:lnTo>
                    <a:lnTo>
                      <a:pt x="749" y="454"/>
                    </a:lnTo>
                    <a:lnTo>
                      <a:pt x="735" y="433"/>
                    </a:lnTo>
                    <a:lnTo>
                      <a:pt x="722" y="411"/>
                    </a:lnTo>
                    <a:lnTo>
                      <a:pt x="708" y="389"/>
                    </a:lnTo>
                    <a:lnTo>
                      <a:pt x="696" y="367"/>
                    </a:lnTo>
                    <a:lnTo>
                      <a:pt x="686" y="344"/>
                    </a:lnTo>
                    <a:lnTo>
                      <a:pt x="676" y="319"/>
                    </a:lnTo>
                    <a:lnTo>
                      <a:pt x="667" y="295"/>
                    </a:lnTo>
                    <a:lnTo>
                      <a:pt x="659" y="270"/>
                    </a:lnTo>
                    <a:lnTo>
                      <a:pt x="652" y="246"/>
                    </a:lnTo>
                    <a:lnTo>
                      <a:pt x="649" y="233"/>
                    </a:lnTo>
                    <a:lnTo>
                      <a:pt x="646" y="220"/>
                    </a:lnTo>
                    <a:lnTo>
                      <a:pt x="641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90" name="Freeform 43"/>
              <p:cNvSpPr>
                <a:spLocks noChangeAspect="1"/>
              </p:cNvSpPr>
              <p:nvPr/>
            </p:nvSpPr>
            <p:spPr bwMode="auto">
              <a:xfrm>
                <a:off x="1840" y="1772"/>
                <a:ext cx="754" cy="872"/>
              </a:xfrm>
              <a:custGeom>
                <a:avLst/>
                <a:gdLst>
                  <a:gd name="T0" fmla="*/ 335 w 754"/>
                  <a:gd name="T1" fmla="*/ 675 h 872"/>
                  <a:gd name="T2" fmla="*/ 637 w 754"/>
                  <a:gd name="T3" fmla="*/ 849 h 872"/>
                  <a:gd name="T4" fmla="*/ 637 w 754"/>
                  <a:gd name="T5" fmla="*/ 826 h 872"/>
                  <a:gd name="T6" fmla="*/ 638 w 754"/>
                  <a:gd name="T7" fmla="*/ 787 h 872"/>
                  <a:gd name="T8" fmla="*/ 641 w 754"/>
                  <a:gd name="T9" fmla="*/ 750 h 872"/>
                  <a:gd name="T10" fmla="*/ 645 w 754"/>
                  <a:gd name="T11" fmla="*/ 724 h 872"/>
                  <a:gd name="T12" fmla="*/ 651 w 754"/>
                  <a:gd name="T13" fmla="*/ 687 h 872"/>
                  <a:gd name="T14" fmla="*/ 660 w 754"/>
                  <a:gd name="T15" fmla="*/ 651 h 872"/>
                  <a:gd name="T16" fmla="*/ 675 w 754"/>
                  <a:gd name="T17" fmla="*/ 605 h 872"/>
                  <a:gd name="T18" fmla="*/ 694 w 754"/>
                  <a:gd name="T19" fmla="*/ 559 h 872"/>
                  <a:gd name="T20" fmla="*/ 710 w 754"/>
                  <a:gd name="T21" fmla="*/ 527 h 872"/>
                  <a:gd name="T22" fmla="*/ 722 w 754"/>
                  <a:gd name="T23" fmla="*/ 506 h 872"/>
                  <a:gd name="T24" fmla="*/ 734 w 754"/>
                  <a:gd name="T25" fmla="*/ 485 h 872"/>
                  <a:gd name="T26" fmla="*/ 747 w 754"/>
                  <a:gd name="T27" fmla="*/ 465 h 872"/>
                  <a:gd name="T28" fmla="*/ 665 w 754"/>
                  <a:gd name="T29" fmla="*/ 91 h 872"/>
                  <a:gd name="T30" fmla="*/ 285 w 754"/>
                  <a:gd name="T31" fmla="*/ 21 h 872"/>
                  <a:gd name="T32" fmla="*/ 252 w 754"/>
                  <a:gd name="T33" fmla="*/ 64 h 872"/>
                  <a:gd name="T34" fmla="*/ 219 w 754"/>
                  <a:gd name="T35" fmla="*/ 109 h 872"/>
                  <a:gd name="T36" fmla="*/ 190 w 754"/>
                  <a:gd name="T37" fmla="*/ 155 h 872"/>
                  <a:gd name="T38" fmla="*/ 162 w 754"/>
                  <a:gd name="T39" fmla="*/ 202 h 872"/>
                  <a:gd name="T40" fmla="*/ 136 w 754"/>
                  <a:gd name="T41" fmla="*/ 251 h 872"/>
                  <a:gd name="T42" fmla="*/ 112 w 754"/>
                  <a:gd name="T43" fmla="*/ 301 h 872"/>
                  <a:gd name="T44" fmla="*/ 91 w 754"/>
                  <a:gd name="T45" fmla="*/ 352 h 872"/>
                  <a:gd name="T46" fmla="*/ 71 w 754"/>
                  <a:gd name="T47" fmla="*/ 404 h 872"/>
                  <a:gd name="T48" fmla="*/ 53 w 754"/>
                  <a:gd name="T49" fmla="*/ 458 h 872"/>
                  <a:gd name="T50" fmla="*/ 39 w 754"/>
                  <a:gd name="T51" fmla="*/ 512 h 872"/>
                  <a:gd name="T52" fmla="*/ 26 w 754"/>
                  <a:gd name="T53" fmla="*/ 567 h 872"/>
                  <a:gd name="T54" fmla="*/ 16 w 754"/>
                  <a:gd name="T55" fmla="*/ 623 h 872"/>
                  <a:gd name="T56" fmla="*/ 8 w 754"/>
                  <a:gd name="T57" fmla="*/ 680 h 872"/>
                  <a:gd name="T58" fmla="*/ 3 w 754"/>
                  <a:gd name="T59" fmla="*/ 737 h 872"/>
                  <a:gd name="T60" fmla="*/ 0 w 754"/>
                  <a:gd name="T61" fmla="*/ 796 h 872"/>
                  <a:gd name="T62" fmla="*/ 0 w 754"/>
                  <a:gd name="T63" fmla="*/ 837 h 872"/>
                  <a:gd name="T64" fmla="*/ 3 w 754"/>
                  <a:gd name="T65" fmla="*/ 871 h 8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4"/>
                  <a:gd name="T100" fmla="*/ 0 h 872"/>
                  <a:gd name="T101" fmla="*/ 754 w 754"/>
                  <a:gd name="T102" fmla="*/ 872 h 87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4" h="872">
                    <a:moveTo>
                      <a:pt x="3" y="871"/>
                    </a:moveTo>
                    <a:lnTo>
                      <a:pt x="335" y="675"/>
                    </a:lnTo>
                    <a:lnTo>
                      <a:pt x="639" y="872"/>
                    </a:lnTo>
                    <a:lnTo>
                      <a:pt x="637" y="849"/>
                    </a:lnTo>
                    <a:lnTo>
                      <a:pt x="637" y="837"/>
                    </a:lnTo>
                    <a:lnTo>
                      <a:pt x="637" y="826"/>
                    </a:lnTo>
                    <a:lnTo>
                      <a:pt x="637" y="800"/>
                    </a:lnTo>
                    <a:lnTo>
                      <a:pt x="638" y="787"/>
                    </a:lnTo>
                    <a:lnTo>
                      <a:pt x="639" y="775"/>
                    </a:lnTo>
                    <a:lnTo>
                      <a:pt x="641" y="750"/>
                    </a:lnTo>
                    <a:lnTo>
                      <a:pt x="643" y="736"/>
                    </a:lnTo>
                    <a:lnTo>
                      <a:pt x="645" y="724"/>
                    </a:lnTo>
                    <a:lnTo>
                      <a:pt x="649" y="699"/>
                    </a:lnTo>
                    <a:lnTo>
                      <a:pt x="651" y="687"/>
                    </a:lnTo>
                    <a:lnTo>
                      <a:pt x="654" y="675"/>
                    </a:lnTo>
                    <a:lnTo>
                      <a:pt x="660" y="651"/>
                    </a:lnTo>
                    <a:lnTo>
                      <a:pt x="667" y="628"/>
                    </a:lnTo>
                    <a:lnTo>
                      <a:pt x="675" y="605"/>
                    </a:lnTo>
                    <a:lnTo>
                      <a:pt x="684" y="581"/>
                    </a:lnTo>
                    <a:lnTo>
                      <a:pt x="694" y="559"/>
                    </a:lnTo>
                    <a:lnTo>
                      <a:pt x="704" y="537"/>
                    </a:lnTo>
                    <a:lnTo>
                      <a:pt x="710" y="527"/>
                    </a:lnTo>
                    <a:lnTo>
                      <a:pt x="715" y="516"/>
                    </a:lnTo>
                    <a:lnTo>
                      <a:pt x="722" y="506"/>
                    </a:lnTo>
                    <a:lnTo>
                      <a:pt x="728" y="495"/>
                    </a:lnTo>
                    <a:lnTo>
                      <a:pt x="734" y="485"/>
                    </a:lnTo>
                    <a:lnTo>
                      <a:pt x="741" y="475"/>
                    </a:lnTo>
                    <a:lnTo>
                      <a:pt x="747" y="465"/>
                    </a:lnTo>
                    <a:lnTo>
                      <a:pt x="754" y="455"/>
                    </a:lnTo>
                    <a:lnTo>
                      <a:pt x="665" y="91"/>
                    </a:lnTo>
                    <a:lnTo>
                      <a:pt x="302" y="0"/>
                    </a:lnTo>
                    <a:lnTo>
                      <a:pt x="285" y="21"/>
                    </a:lnTo>
                    <a:lnTo>
                      <a:pt x="268" y="42"/>
                    </a:lnTo>
                    <a:lnTo>
                      <a:pt x="252" y="64"/>
                    </a:lnTo>
                    <a:lnTo>
                      <a:pt x="235" y="86"/>
                    </a:lnTo>
                    <a:lnTo>
                      <a:pt x="219" y="109"/>
                    </a:lnTo>
                    <a:lnTo>
                      <a:pt x="204" y="132"/>
                    </a:lnTo>
                    <a:lnTo>
                      <a:pt x="190" y="155"/>
                    </a:lnTo>
                    <a:lnTo>
                      <a:pt x="175" y="178"/>
                    </a:lnTo>
                    <a:lnTo>
                      <a:pt x="162" y="202"/>
                    </a:lnTo>
                    <a:lnTo>
                      <a:pt x="149" y="226"/>
                    </a:lnTo>
                    <a:lnTo>
                      <a:pt x="136" y="251"/>
                    </a:lnTo>
                    <a:lnTo>
                      <a:pt x="124" y="276"/>
                    </a:lnTo>
                    <a:lnTo>
                      <a:pt x="112" y="301"/>
                    </a:lnTo>
                    <a:lnTo>
                      <a:pt x="101" y="326"/>
                    </a:lnTo>
                    <a:lnTo>
                      <a:pt x="91" y="352"/>
                    </a:lnTo>
                    <a:lnTo>
                      <a:pt x="81" y="378"/>
                    </a:lnTo>
                    <a:lnTo>
                      <a:pt x="71" y="404"/>
                    </a:lnTo>
                    <a:lnTo>
                      <a:pt x="62" y="431"/>
                    </a:lnTo>
                    <a:lnTo>
                      <a:pt x="53" y="458"/>
                    </a:lnTo>
                    <a:lnTo>
                      <a:pt x="46" y="485"/>
                    </a:lnTo>
                    <a:lnTo>
                      <a:pt x="39" y="512"/>
                    </a:lnTo>
                    <a:lnTo>
                      <a:pt x="32" y="539"/>
                    </a:lnTo>
                    <a:lnTo>
                      <a:pt x="26" y="567"/>
                    </a:lnTo>
                    <a:lnTo>
                      <a:pt x="21" y="595"/>
                    </a:lnTo>
                    <a:lnTo>
                      <a:pt x="16" y="623"/>
                    </a:lnTo>
                    <a:lnTo>
                      <a:pt x="12" y="652"/>
                    </a:lnTo>
                    <a:lnTo>
                      <a:pt x="8" y="680"/>
                    </a:lnTo>
                    <a:lnTo>
                      <a:pt x="5" y="709"/>
                    </a:lnTo>
                    <a:lnTo>
                      <a:pt x="3" y="737"/>
                    </a:lnTo>
                    <a:lnTo>
                      <a:pt x="1" y="767"/>
                    </a:lnTo>
                    <a:lnTo>
                      <a:pt x="0" y="796"/>
                    </a:lnTo>
                    <a:lnTo>
                      <a:pt x="0" y="826"/>
                    </a:lnTo>
                    <a:lnTo>
                      <a:pt x="0" y="837"/>
                    </a:lnTo>
                    <a:lnTo>
                      <a:pt x="1" y="848"/>
                    </a:lnTo>
                    <a:lnTo>
                      <a:pt x="3" y="8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7" name="Oval 96"/>
            <p:cNvSpPr/>
            <p:nvPr/>
          </p:nvSpPr>
          <p:spPr>
            <a:xfrm>
              <a:off x="7855830" y="4291396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85967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kreis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farbig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3819079" y="1340768"/>
            <a:ext cx="2015999" cy="2016000"/>
            <a:chOff x="3819079" y="1340768"/>
            <a:chExt cx="2015999" cy="2016000"/>
          </a:xfrm>
        </p:grpSpPr>
        <p:sp>
          <p:nvSpPr>
            <p:cNvPr id="4" name="Oval 3"/>
            <p:cNvSpPr/>
            <p:nvPr/>
          </p:nvSpPr>
          <p:spPr>
            <a:xfrm>
              <a:off x="4440838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9" name="Gruppieren 50"/>
            <p:cNvGrpSpPr>
              <a:grpSpLocks/>
            </p:cNvGrpSpPr>
            <p:nvPr/>
          </p:nvGrpSpPr>
          <p:grpSpPr bwMode="auto">
            <a:xfrm>
              <a:off x="3819079" y="1340768"/>
              <a:ext cx="2015999" cy="2016000"/>
              <a:chOff x="2528626" y="1618488"/>
              <a:chExt cx="1881571" cy="2038372"/>
            </a:xfrm>
            <a:solidFill>
              <a:srgbClr val="2F52A0"/>
            </a:solidFill>
          </p:grpSpPr>
          <p:sp>
            <p:nvSpPr>
              <p:cNvPr id="50" name="Freeform 6"/>
              <p:cNvSpPr>
                <a:spLocks noChangeAspect="1"/>
              </p:cNvSpPr>
              <p:nvPr/>
            </p:nvSpPr>
            <p:spPr bwMode="auto">
              <a:xfrm>
                <a:off x="2700435" y="2914155"/>
                <a:ext cx="1572981" cy="742705"/>
              </a:xfrm>
              <a:custGeom>
                <a:avLst/>
                <a:gdLst>
                  <a:gd name="T0" fmla="*/ 2147483647 w 2140"/>
                  <a:gd name="T1" fmla="*/ 2147483647 h 932"/>
                  <a:gd name="T2" fmla="*/ 2147483647 w 2140"/>
                  <a:gd name="T3" fmla="*/ 2147483647 h 932"/>
                  <a:gd name="T4" fmla="*/ 2147483647 w 2140"/>
                  <a:gd name="T5" fmla="*/ 2147483647 h 932"/>
                  <a:gd name="T6" fmla="*/ 2147483647 w 2140"/>
                  <a:gd name="T7" fmla="*/ 2147483647 h 932"/>
                  <a:gd name="T8" fmla="*/ 2147483647 w 2140"/>
                  <a:gd name="T9" fmla="*/ 2147483647 h 932"/>
                  <a:gd name="T10" fmla="*/ 2147483647 w 2140"/>
                  <a:gd name="T11" fmla="*/ 2147483647 h 932"/>
                  <a:gd name="T12" fmla="*/ 2147483647 w 2140"/>
                  <a:gd name="T13" fmla="*/ 2147483647 h 932"/>
                  <a:gd name="T14" fmla="*/ 2147483647 w 2140"/>
                  <a:gd name="T15" fmla="*/ 2147483647 h 932"/>
                  <a:gd name="T16" fmla="*/ 2147483647 w 2140"/>
                  <a:gd name="T17" fmla="*/ 2147483647 h 932"/>
                  <a:gd name="T18" fmla="*/ 2147483647 w 2140"/>
                  <a:gd name="T19" fmla="*/ 2147483647 h 932"/>
                  <a:gd name="T20" fmla="*/ 2147483647 w 2140"/>
                  <a:gd name="T21" fmla="*/ 2147483647 h 932"/>
                  <a:gd name="T22" fmla="*/ 2147483647 w 2140"/>
                  <a:gd name="T23" fmla="*/ 2147483647 h 932"/>
                  <a:gd name="T24" fmla="*/ 2147483647 w 2140"/>
                  <a:gd name="T25" fmla="*/ 2147483647 h 932"/>
                  <a:gd name="T26" fmla="*/ 2147483647 w 2140"/>
                  <a:gd name="T27" fmla="*/ 2147483647 h 932"/>
                  <a:gd name="T28" fmla="*/ 2147483647 w 2140"/>
                  <a:gd name="T29" fmla="*/ 2147483647 h 932"/>
                  <a:gd name="T30" fmla="*/ 2147483647 w 2140"/>
                  <a:gd name="T31" fmla="*/ 2147483647 h 932"/>
                  <a:gd name="T32" fmla="*/ 2147483647 w 2140"/>
                  <a:gd name="T33" fmla="*/ 2147483647 h 932"/>
                  <a:gd name="T34" fmla="*/ 2147483647 w 2140"/>
                  <a:gd name="T35" fmla="*/ 2147483647 h 932"/>
                  <a:gd name="T36" fmla="*/ 2147483647 w 2140"/>
                  <a:gd name="T37" fmla="*/ 2147483647 h 932"/>
                  <a:gd name="T38" fmla="*/ 2147483647 w 2140"/>
                  <a:gd name="T39" fmla="*/ 2147483647 h 932"/>
                  <a:gd name="T40" fmla="*/ 2147483647 w 2140"/>
                  <a:gd name="T41" fmla="*/ 2147483647 h 932"/>
                  <a:gd name="T42" fmla="*/ 2147483647 w 2140"/>
                  <a:gd name="T43" fmla="*/ 2147483647 h 932"/>
                  <a:gd name="T44" fmla="*/ 2147483647 w 2140"/>
                  <a:gd name="T45" fmla="*/ 2147483647 h 932"/>
                  <a:gd name="T46" fmla="*/ 2147483647 w 2140"/>
                  <a:gd name="T47" fmla="*/ 2147483647 h 932"/>
                  <a:gd name="T48" fmla="*/ 2147483647 w 2140"/>
                  <a:gd name="T49" fmla="*/ 2147483647 h 932"/>
                  <a:gd name="T50" fmla="*/ 2147483647 w 2140"/>
                  <a:gd name="T51" fmla="*/ 2147483647 h 932"/>
                  <a:gd name="T52" fmla="*/ 2147483647 w 2140"/>
                  <a:gd name="T53" fmla="*/ 2147483647 h 932"/>
                  <a:gd name="T54" fmla="*/ 2147483647 w 2140"/>
                  <a:gd name="T55" fmla="*/ 2147483647 h 932"/>
                  <a:gd name="T56" fmla="*/ 2147483647 w 2140"/>
                  <a:gd name="T57" fmla="*/ 2147483647 h 932"/>
                  <a:gd name="T58" fmla="*/ 2147483647 w 2140"/>
                  <a:gd name="T59" fmla="*/ 2147483647 h 932"/>
                  <a:gd name="T60" fmla="*/ 2147483647 w 2140"/>
                  <a:gd name="T61" fmla="*/ 2147483647 h 932"/>
                  <a:gd name="T62" fmla="*/ 2147483647 w 2140"/>
                  <a:gd name="T63" fmla="*/ 2147483647 h 932"/>
                  <a:gd name="T64" fmla="*/ 2147483647 w 2140"/>
                  <a:gd name="T65" fmla="*/ 2147483647 h 932"/>
                  <a:gd name="T66" fmla="*/ 2147483647 w 2140"/>
                  <a:gd name="T67" fmla="*/ 2147483647 h 932"/>
                  <a:gd name="T68" fmla="*/ 2147483647 w 2140"/>
                  <a:gd name="T69" fmla="*/ 2147483647 h 932"/>
                  <a:gd name="T70" fmla="*/ 2147483647 w 2140"/>
                  <a:gd name="T71" fmla="*/ 2147483647 h 932"/>
                  <a:gd name="T72" fmla="*/ 2147483647 w 2140"/>
                  <a:gd name="T73" fmla="*/ 2147483647 h 932"/>
                  <a:gd name="T74" fmla="*/ 2147483647 w 2140"/>
                  <a:gd name="T75" fmla="*/ 2147483647 h 932"/>
                  <a:gd name="T76" fmla="*/ 2147483647 w 2140"/>
                  <a:gd name="T77" fmla="*/ 2147483647 h 932"/>
                  <a:gd name="T78" fmla="*/ 2147483647 w 2140"/>
                  <a:gd name="T79" fmla="*/ 2147483647 h 932"/>
                  <a:gd name="T80" fmla="*/ 2147483647 w 2140"/>
                  <a:gd name="T81" fmla="*/ 2147483647 h 932"/>
                  <a:gd name="T82" fmla="*/ 2147483647 w 2140"/>
                  <a:gd name="T83" fmla="*/ 2147483647 h 932"/>
                  <a:gd name="T84" fmla="*/ 2147483647 w 2140"/>
                  <a:gd name="T85" fmla="*/ 2147483647 h 932"/>
                  <a:gd name="T86" fmla="*/ 2147483647 w 2140"/>
                  <a:gd name="T87" fmla="*/ 2147483647 h 932"/>
                  <a:gd name="T88" fmla="*/ 2147483647 w 2140"/>
                  <a:gd name="T89" fmla="*/ 2147483647 h 932"/>
                  <a:gd name="T90" fmla="*/ 2147483647 w 2140"/>
                  <a:gd name="T91" fmla="*/ 2147483647 h 932"/>
                  <a:gd name="T92" fmla="*/ 2147483647 w 2140"/>
                  <a:gd name="T93" fmla="*/ 2147483647 h 932"/>
                  <a:gd name="T94" fmla="*/ 2147483647 w 2140"/>
                  <a:gd name="T95" fmla="*/ 2147483647 h 932"/>
                  <a:gd name="T96" fmla="*/ 2147483647 w 2140"/>
                  <a:gd name="T97" fmla="*/ 2147483647 h 932"/>
                  <a:gd name="T98" fmla="*/ 2147483647 w 2140"/>
                  <a:gd name="T99" fmla="*/ 2147483647 h 932"/>
                  <a:gd name="T100" fmla="*/ 2147483647 w 2140"/>
                  <a:gd name="T101" fmla="*/ 2147483647 h 932"/>
                  <a:gd name="T102" fmla="*/ 2147483647 w 2140"/>
                  <a:gd name="T103" fmla="*/ 2147483647 h 93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140"/>
                  <a:gd name="T157" fmla="*/ 0 h 932"/>
                  <a:gd name="T158" fmla="*/ 2140 w 2140"/>
                  <a:gd name="T159" fmla="*/ 932 h 93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140" h="932">
                    <a:moveTo>
                      <a:pt x="1047" y="296"/>
                    </a:moveTo>
                    <a:lnTo>
                      <a:pt x="1068" y="295"/>
                    </a:lnTo>
                    <a:lnTo>
                      <a:pt x="1089" y="295"/>
                    </a:lnTo>
                    <a:lnTo>
                      <a:pt x="1109" y="293"/>
                    </a:lnTo>
                    <a:lnTo>
                      <a:pt x="1120" y="292"/>
                    </a:lnTo>
                    <a:lnTo>
                      <a:pt x="1131" y="291"/>
                    </a:lnTo>
                    <a:lnTo>
                      <a:pt x="1151" y="288"/>
                    </a:lnTo>
                    <a:lnTo>
                      <a:pt x="1171" y="285"/>
                    </a:lnTo>
                    <a:lnTo>
                      <a:pt x="1191" y="280"/>
                    </a:lnTo>
                    <a:lnTo>
                      <a:pt x="1211" y="276"/>
                    </a:lnTo>
                    <a:lnTo>
                      <a:pt x="1231" y="270"/>
                    </a:lnTo>
                    <a:lnTo>
                      <a:pt x="1250" y="264"/>
                    </a:lnTo>
                    <a:lnTo>
                      <a:pt x="1269" y="258"/>
                    </a:lnTo>
                    <a:lnTo>
                      <a:pt x="1288" y="250"/>
                    </a:lnTo>
                    <a:lnTo>
                      <a:pt x="1307" y="243"/>
                    </a:lnTo>
                    <a:lnTo>
                      <a:pt x="1325" y="234"/>
                    </a:lnTo>
                    <a:lnTo>
                      <a:pt x="1334" y="230"/>
                    </a:lnTo>
                    <a:lnTo>
                      <a:pt x="1342" y="225"/>
                    </a:lnTo>
                    <a:lnTo>
                      <a:pt x="1360" y="216"/>
                    </a:lnTo>
                    <a:lnTo>
                      <a:pt x="1377" y="205"/>
                    </a:lnTo>
                    <a:lnTo>
                      <a:pt x="1394" y="195"/>
                    </a:lnTo>
                    <a:lnTo>
                      <a:pt x="1410" y="184"/>
                    </a:lnTo>
                    <a:lnTo>
                      <a:pt x="1426" y="172"/>
                    </a:lnTo>
                    <a:lnTo>
                      <a:pt x="1442" y="160"/>
                    </a:lnTo>
                    <a:lnTo>
                      <a:pt x="1458" y="148"/>
                    </a:lnTo>
                    <a:lnTo>
                      <a:pt x="1473" y="135"/>
                    </a:lnTo>
                    <a:lnTo>
                      <a:pt x="1488" y="122"/>
                    </a:lnTo>
                    <a:lnTo>
                      <a:pt x="1502" y="108"/>
                    </a:lnTo>
                    <a:lnTo>
                      <a:pt x="1515" y="94"/>
                    </a:lnTo>
                    <a:lnTo>
                      <a:pt x="1529" y="79"/>
                    </a:lnTo>
                    <a:lnTo>
                      <a:pt x="1541" y="64"/>
                    </a:lnTo>
                    <a:lnTo>
                      <a:pt x="1554" y="48"/>
                    </a:lnTo>
                    <a:lnTo>
                      <a:pt x="1566" y="32"/>
                    </a:lnTo>
                    <a:lnTo>
                      <a:pt x="1577" y="16"/>
                    </a:lnTo>
                    <a:lnTo>
                      <a:pt x="1588" y="0"/>
                    </a:lnTo>
                    <a:lnTo>
                      <a:pt x="1730" y="322"/>
                    </a:lnTo>
                    <a:lnTo>
                      <a:pt x="2140" y="319"/>
                    </a:lnTo>
                    <a:lnTo>
                      <a:pt x="2119" y="353"/>
                    </a:lnTo>
                    <a:lnTo>
                      <a:pt x="2108" y="369"/>
                    </a:lnTo>
                    <a:lnTo>
                      <a:pt x="2096" y="387"/>
                    </a:lnTo>
                    <a:lnTo>
                      <a:pt x="2072" y="419"/>
                    </a:lnTo>
                    <a:lnTo>
                      <a:pt x="2047" y="451"/>
                    </a:lnTo>
                    <a:lnTo>
                      <a:pt x="2035" y="466"/>
                    </a:lnTo>
                    <a:lnTo>
                      <a:pt x="2022" y="482"/>
                    </a:lnTo>
                    <a:lnTo>
                      <a:pt x="2009" y="497"/>
                    </a:lnTo>
                    <a:lnTo>
                      <a:pt x="1995" y="512"/>
                    </a:lnTo>
                    <a:lnTo>
                      <a:pt x="1968" y="542"/>
                    </a:lnTo>
                    <a:lnTo>
                      <a:pt x="1940" y="570"/>
                    </a:lnTo>
                    <a:lnTo>
                      <a:pt x="1910" y="597"/>
                    </a:lnTo>
                    <a:lnTo>
                      <a:pt x="1895" y="611"/>
                    </a:lnTo>
                    <a:lnTo>
                      <a:pt x="1880" y="624"/>
                    </a:lnTo>
                    <a:lnTo>
                      <a:pt x="1864" y="637"/>
                    </a:lnTo>
                    <a:lnTo>
                      <a:pt x="1849" y="650"/>
                    </a:lnTo>
                    <a:lnTo>
                      <a:pt x="1817" y="674"/>
                    </a:lnTo>
                    <a:lnTo>
                      <a:pt x="1785" y="699"/>
                    </a:lnTo>
                    <a:lnTo>
                      <a:pt x="1751" y="721"/>
                    </a:lnTo>
                    <a:lnTo>
                      <a:pt x="1717" y="743"/>
                    </a:lnTo>
                    <a:lnTo>
                      <a:pt x="1683" y="763"/>
                    </a:lnTo>
                    <a:lnTo>
                      <a:pt x="1647" y="783"/>
                    </a:lnTo>
                    <a:lnTo>
                      <a:pt x="1629" y="792"/>
                    </a:lnTo>
                    <a:lnTo>
                      <a:pt x="1611" y="801"/>
                    </a:lnTo>
                    <a:lnTo>
                      <a:pt x="1592" y="810"/>
                    </a:lnTo>
                    <a:lnTo>
                      <a:pt x="1574" y="819"/>
                    </a:lnTo>
                    <a:lnTo>
                      <a:pt x="1555" y="827"/>
                    </a:lnTo>
                    <a:lnTo>
                      <a:pt x="1537" y="835"/>
                    </a:lnTo>
                    <a:lnTo>
                      <a:pt x="1518" y="842"/>
                    </a:lnTo>
                    <a:lnTo>
                      <a:pt x="1499" y="850"/>
                    </a:lnTo>
                    <a:lnTo>
                      <a:pt x="1480" y="858"/>
                    </a:lnTo>
                    <a:lnTo>
                      <a:pt x="1460" y="864"/>
                    </a:lnTo>
                    <a:lnTo>
                      <a:pt x="1440" y="871"/>
                    </a:lnTo>
                    <a:lnTo>
                      <a:pt x="1421" y="877"/>
                    </a:lnTo>
                    <a:lnTo>
                      <a:pt x="1401" y="883"/>
                    </a:lnTo>
                    <a:lnTo>
                      <a:pt x="1381" y="888"/>
                    </a:lnTo>
                    <a:lnTo>
                      <a:pt x="1361" y="893"/>
                    </a:lnTo>
                    <a:lnTo>
                      <a:pt x="1341" y="898"/>
                    </a:lnTo>
                    <a:lnTo>
                      <a:pt x="1321" y="903"/>
                    </a:lnTo>
                    <a:lnTo>
                      <a:pt x="1301" y="907"/>
                    </a:lnTo>
                    <a:lnTo>
                      <a:pt x="1279" y="911"/>
                    </a:lnTo>
                    <a:lnTo>
                      <a:pt x="1259" y="915"/>
                    </a:lnTo>
                    <a:lnTo>
                      <a:pt x="1217" y="921"/>
                    </a:lnTo>
                    <a:lnTo>
                      <a:pt x="1196" y="924"/>
                    </a:lnTo>
                    <a:lnTo>
                      <a:pt x="1175" y="926"/>
                    </a:lnTo>
                    <a:lnTo>
                      <a:pt x="1154" y="928"/>
                    </a:lnTo>
                    <a:lnTo>
                      <a:pt x="1133" y="929"/>
                    </a:lnTo>
                    <a:lnTo>
                      <a:pt x="1111" y="931"/>
                    </a:lnTo>
                    <a:lnTo>
                      <a:pt x="1090" y="931"/>
                    </a:lnTo>
                    <a:lnTo>
                      <a:pt x="1047" y="932"/>
                    </a:lnTo>
                    <a:lnTo>
                      <a:pt x="1007" y="932"/>
                    </a:lnTo>
                    <a:lnTo>
                      <a:pt x="967" y="930"/>
                    </a:lnTo>
                    <a:lnTo>
                      <a:pt x="946" y="928"/>
                    </a:lnTo>
                    <a:lnTo>
                      <a:pt x="926" y="927"/>
                    </a:lnTo>
                    <a:lnTo>
                      <a:pt x="887" y="922"/>
                    </a:lnTo>
                    <a:lnTo>
                      <a:pt x="867" y="920"/>
                    </a:lnTo>
                    <a:lnTo>
                      <a:pt x="848" y="917"/>
                    </a:lnTo>
                    <a:lnTo>
                      <a:pt x="810" y="910"/>
                    </a:lnTo>
                    <a:lnTo>
                      <a:pt x="771" y="903"/>
                    </a:lnTo>
                    <a:lnTo>
                      <a:pt x="733" y="894"/>
                    </a:lnTo>
                    <a:lnTo>
                      <a:pt x="714" y="889"/>
                    </a:lnTo>
                    <a:lnTo>
                      <a:pt x="696" y="884"/>
                    </a:lnTo>
                    <a:lnTo>
                      <a:pt x="659" y="873"/>
                    </a:lnTo>
                    <a:lnTo>
                      <a:pt x="640" y="867"/>
                    </a:lnTo>
                    <a:lnTo>
                      <a:pt x="622" y="861"/>
                    </a:lnTo>
                    <a:lnTo>
                      <a:pt x="586" y="847"/>
                    </a:lnTo>
                    <a:lnTo>
                      <a:pt x="551" y="833"/>
                    </a:lnTo>
                    <a:lnTo>
                      <a:pt x="516" y="818"/>
                    </a:lnTo>
                    <a:lnTo>
                      <a:pt x="481" y="801"/>
                    </a:lnTo>
                    <a:lnTo>
                      <a:pt x="448" y="784"/>
                    </a:lnTo>
                    <a:lnTo>
                      <a:pt x="415" y="766"/>
                    </a:lnTo>
                    <a:lnTo>
                      <a:pt x="382" y="747"/>
                    </a:lnTo>
                    <a:lnTo>
                      <a:pt x="351" y="727"/>
                    </a:lnTo>
                    <a:lnTo>
                      <a:pt x="318" y="706"/>
                    </a:lnTo>
                    <a:lnTo>
                      <a:pt x="303" y="696"/>
                    </a:lnTo>
                    <a:lnTo>
                      <a:pt x="288" y="684"/>
                    </a:lnTo>
                    <a:lnTo>
                      <a:pt x="258" y="661"/>
                    </a:lnTo>
                    <a:lnTo>
                      <a:pt x="229" y="638"/>
                    </a:lnTo>
                    <a:lnTo>
                      <a:pt x="201" y="613"/>
                    </a:lnTo>
                    <a:lnTo>
                      <a:pt x="173" y="588"/>
                    </a:lnTo>
                    <a:lnTo>
                      <a:pt x="145" y="562"/>
                    </a:lnTo>
                    <a:lnTo>
                      <a:pt x="119" y="536"/>
                    </a:lnTo>
                    <a:lnTo>
                      <a:pt x="94" y="507"/>
                    </a:lnTo>
                    <a:lnTo>
                      <a:pt x="69" y="479"/>
                    </a:lnTo>
                    <a:lnTo>
                      <a:pt x="46" y="450"/>
                    </a:lnTo>
                    <a:lnTo>
                      <a:pt x="23" y="421"/>
                    </a:lnTo>
                    <a:lnTo>
                      <a:pt x="0" y="390"/>
                    </a:lnTo>
                    <a:lnTo>
                      <a:pt x="177" y="51"/>
                    </a:lnTo>
                    <a:lnTo>
                      <a:pt x="365" y="62"/>
                    </a:lnTo>
                    <a:lnTo>
                      <a:pt x="495" y="69"/>
                    </a:lnTo>
                    <a:lnTo>
                      <a:pt x="537" y="72"/>
                    </a:lnTo>
                    <a:lnTo>
                      <a:pt x="554" y="73"/>
                    </a:lnTo>
                    <a:lnTo>
                      <a:pt x="578" y="97"/>
                    </a:lnTo>
                    <a:lnTo>
                      <a:pt x="603" y="120"/>
                    </a:lnTo>
                    <a:lnTo>
                      <a:pt x="627" y="142"/>
                    </a:lnTo>
                    <a:lnTo>
                      <a:pt x="640" y="152"/>
                    </a:lnTo>
                    <a:lnTo>
                      <a:pt x="654" y="162"/>
                    </a:lnTo>
                    <a:lnTo>
                      <a:pt x="666" y="172"/>
                    </a:lnTo>
                    <a:lnTo>
                      <a:pt x="679" y="182"/>
                    </a:lnTo>
                    <a:lnTo>
                      <a:pt x="693" y="191"/>
                    </a:lnTo>
                    <a:lnTo>
                      <a:pt x="706" y="200"/>
                    </a:lnTo>
                    <a:lnTo>
                      <a:pt x="734" y="217"/>
                    </a:lnTo>
                    <a:lnTo>
                      <a:pt x="748" y="225"/>
                    </a:lnTo>
                    <a:lnTo>
                      <a:pt x="762" y="233"/>
                    </a:lnTo>
                    <a:lnTo>
                      <a:pt x="777" y="240"/>
                    </a:lnTo>
                    <a:lnTo>
                      <a:pt x="792" y="246"/>
                    </a:lnTo>
                    <a:lnTo>
                      <a:pt x="809" y="253"/>
                    </a:lnTo>
                    <a:lnTo>
                      <a:pt x="824" y="259"/>
                    </a:lnTo>
                    <a:lnTo>
                      <a:pt x="840" y="264"/>
                    </a:lnTo>
                    <a:lnTo>
                      <a:pt x="857" y="269"/>
                    </a:lnTo>
                    <a:lnTo>
                      <a:pt x="874" y="274"/>
                    </a:lnTo>
                    <a:lnTo>
                      <a:pt x="891" y="278"/>
                    </a:lnTo>
                    <a:lnTo>
                      <a:pt x="909" y="282"/>
                    </a:lnTo>
                    <a:lnTo>
                      <a:pt x="927" y="285"/>
                    </a:lnTo>
                    <a:lnTo>
                      <a:pt x="945" y="288"/>
                    </a:lnTo>
                    <a:lnTo>
                      <a:pt x="964" y="291"/>
                    </a:lnTo>
                    <a:lnTo>
                      <a:pt x="985" y="293"/>
                    </a:lnTo>
                    <a:lnTo>
                      <a:pt x="1005" y="294"/>
                    </a:lnTo>
                    <a:lnTo>
                      <a:pt x="1026" y="295"/>
                    </a:lnTo>
                    <a:lnTo>
                      <a:pt x="1047" y="296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1" name="Freeform 7"/>
              <p:cNvSpPr>
                <a:spLocks noChangeAspect="1"/>
              </p:cNvSpPr>
              <p:nvPr/>
            </p:nvSpPr>
            <p:spPr bwMode="auto">
              <a:xfrm>
                <a:off x="2528626" y="1618488"/>
                <a:ext cx="1050878" cy="1561305"/>
              </a:xfrm>
              <a:custGeom>
                <a:avLst/>
                <a:gdLst>
                  <a:gd name="T0" fmla="*/ 2147483647 w 1431"/>
                  <a:gd name="T1" fmla="*/ 2147483647 h 1961"/>
                  <a:gd name="T2" fmla="*/ 2147483647 w 1431"/>
                  <a:gd name="T3" fmla="*/ 2147483647 h 1961"/>
                  <a:gd name="T4" fmla="*/ 2147483647 w 1431"/>
                  <a:gd name="T5" fmla="*/ 2147483647 h 1961"/>
                  <a:gd name="T6" fmla="*/ 2147483647 w 1431"/>
                  <a:gd name="T7" fmla="*/ 2147483647 h 1961"/>
                  <a:gd name="T8" fmla="*/ 2147483647 w 1431"/>
                  <a:gd name="T9" fmla="*/ 2147483647 h 1961"/>
                  <a:gd name="T10" fmla="*/ 2147483647 w 1431"/>
                  <a:gd name="T11" fmla="*/ 2147483647 h 1961"/>
                  <a:gd name="T12" fmla="*/ 2147483647 w 1431"/>
                  <a:gd name="T13" fmla="*/ 2147483647 h 1961"/>
                  <a:gd name="T14" fmla="*/ 2147483647 w 1431"/>
                  <a:gd name="T15" fmla="*/ 2147483647 h 1961"/>
                  <a:gd name="T16" fmla="*/ 2147483647 w 1431"/>
                  <a:gd name="T17" fmla="*/ 2147483647 h 1961"/>
                  <a:gd name="T18" fmla="*/ 2147483647 w 1431"/>
                  <a:gd name="T19" fmla="*/ 2147483647 h 1961"/>
                  <a:gd name="T20" fmla="*/ 2147483647 w 1431"/>
                  <a:gd name="T21" fmla="*/ 2147483647 h 1961"/>
                  <a:gd name="T22" fmla="*/ 2147483647 w 1431"/>
                  <a:gd name="T23" fmla="*/ 2147483647 h 1961"/>
                  <a:gd name="T24" fmla="*/ 2147483647 w 1431"/>
                  <a:gd name="T25" fmla="*/ 2147483647 h 1961"/>
                  <a:gd name="T26" fmla="*/ 2147483647 w 1431"/>
                  <a:gd name="T27" fmla="*/ 2147483647 h 1961"/>
                  <a:gd name="T28" fmla="*/ 2147483647 w 1431"/>
                  <a:gd name="T29" fmla="*/ 2147483647 h 1961"/>
                  <a:gd name="T30" fmla="*/ 2147483647 w 1431"/>
                  <a:gd name="T31" fmla="*/ 2147483647 h 1961"/>
                  <a:gd name="T32" fmla="*/ 2147483647 w 1431"/>
                  <a:gd name="T33" fmla="*/ 2147483647 h 1961"/>
                  <a:gd name="T34" fmla="*/ 2147483647 w 1431"/>
                  <a:gd name="T35" fmla="*/ 2147483647 h 1961"/>
                  <a:gd name="T36" fmla="*/ 2147483647 w 1431"/>
                  <a:gd name="T37" fmla="*/ 2147483647 h 1961"/>
                  <a:gd name="T38" fmla="*/ 2147483647 w 1431"/>
                  <a:gd name="T39" fmla="*/ 2147483647 h 1961"/>
                  <a:gd name="T40" fmla="*/ 2147483647 w 1431"/>
                  <a:gd name="T41" fmla="*/ 2147483647 h 1961"/>
                  <a:gd name="T42" fmla="*/ 2147483647 w 1431"/>
                  <a:gd name="T43" fmla="*/ 2147483647 h 1961"/>
                  <a:gd name="T44" fmla="*/ 2147483647 w 1431"/>
                  <a:gd name="T45" fmla="*/ 2147483647 h 1961"/>
                  <a:gd name="T46" fmla="*/ 2147483647 w 1431"/>
                  <a:gd name="T47" fmla="*/ 2147483647 h 1961"/>
                  <a:gd name="T48" fmla="*/ 2147483647 w 1431"/>
                  <a:gd name="T49" fmla="*/ 2147483647 h 1961"/>
                  <a:gd name="T50" fmla="*/ 2147483647 w 1431"/>
                  <a:gd name="T51" fmla="*/ 2147483647 h 1961"/>
                  <a:gd name="T52" fmla="*/ 2147483647 w 1431"/>
                  <a:gd name="T53" fmla="*/ 2147483647 h 1961"/>
                  <a:gd name="T54" fmla="*/ 2147483647 w 1431"/>
                  <a:gd name="T55" fmla="*/ 2147483647 h 1961"/>
                  <a:gd name="T56" fmla="*/ 2147483647 w 1431"/>
                  <a:gd name="T57" fmla="*/ 2147483647 h 1961"/>
                  <a:gd name="T58" fmla="*/ 2147483647 w 1431"/>
                  <a:gd name="T59" fmla="*/ 2147483647 h 1961"/>
                  <a:gd name="T60" fmla="*/ 2147483647 w 1431"/>
                  <a:gd name="T61" fmla="*/ 2147483647 h 1961"/>
                  <a:gd name="T62" fmla="*/ 2147483647 w 1431"/>
                  <a:gd name="T63" fmla="*/ 2147483647 h 1961"/>
                  <a:gd name="T64" fmla="*/ 2147483647 w 1431"/>
                  <a:gd name="T65" fmla="*/ 2147483647 h 1961"/>
                  <a:gd name="T66" fmla="*/ 2147483647 w 1431"/>
                  <a:gd name="T67" fmla="*/ 2147483647 h 1961"/>
                  <a:gd name="T68" fmla="*/ 2147483647 w 1431"/>
                  <a:gd name="T69" fmla="*/ 2147483647 h 1961"/>
                  <a:gd name="T70" fmla="*/ 2147483647 w 1431"/>
                  <a:gd name="T71" fmla="*/ 2147483647 h 1961"/>
                  <a:gd name="T72" fmla="*/ 2147483647 w 1431"/>
                  <a:gd name="T73" fmla="*/ 2147483647 h 1961"/>
                  <a:gd name="T74" fmla="*/ 2147483647 w 1431"/>
                  <a:gd name="T75" fmla="*/ 2147483647 h 1961"/>
                  <a:gd name="T76" fmla="*/ 2147483647 w 1431"/>
                  <a:gd name="T77" fmla="*/ 2147483647 h 1961"/>
                  <a:gd name="T78" fmla="*/ 2147483647 w 1431"/>
                  <a:gd name="T79" fmla="*/ 2147483647 h 1961"/>
                  <a:gd name="T80" fmla="*/ 2147483647 w 1431"/>
                  <a:gd name="T81" fmla="*/ 2147483647 h 1961"/>
                  <a:gd name="T82" fmla="*/ 2147483647 w 1431"/>
                  <a:gd name="T83" fmla="*/ 2147483647 h 1961"/>
                  <a:gd name="T84" fmla="*/ 2147483647 w 1431"/>
                  <a:gd name="T85" fmla="*/ 2147483647 h 1961"/>
                  <a:gd name="T86" fmla="*/ 2147483647 w 1431"/>
                  <a:gd name="T87" fmla="*/ 2147483647 h 1961"/>
                  <a:gd name="T88" fmla="*/ 2147483647 w 1431"/>
                  <a:gd name="T89" fmla="*/ 2147483647 h 1961"/>
                  <a:gd name="T90" fmla="*/ 2147483647 w 1431"/>
                  <a:gd name="T91" fmla="*/ 2147483647 h 1961"/>
                  <a:gd name="T92" fmla="*/ 2147483647 w 1431"/>
                  <a:gd name="T93" fmla="*/ 2147483647 h 1961"/>
                  <a:gd name="T94" fmla="*/ 2147483647 w 1431"/>
                  <a:gd name="T95" fmla="*/ 2147483647 h 1961"/>
                  <a:gd name="T96" fmla="*/ 2147483647 w 1431"/>
                  <a:gd name="T97" fmla="*/ 2147483647 h 1961"/>
                  <a:gd name="T98" fmla="*/ 2147483647 w 1431"/>
                  <a:gd name="T99" fmla="*/ 2147483647 h 1961"/>
                  <a:gd name="T100" fmla="*/ 2147483647 w 1431"/>
                  <a:gd name="T101" fmla="*/ 2147483647 h 1961"/>
                  <a:gd name="T102" fmla="*/ 2147483647 w 1431"/>
                  <a:gd name="T103" fmla="*/ 2147483647 h 1961"/>
                  <a:gd name="T104" fmla="*/ 2147483647 w 1431"/>
                  <a:gd name="T105" fmla="*/ 2147483647 h 1961"/>
                  <a:gd name="T106" fmla="*/ 2147483647 w 1431"/>
                  <a:gd name="T107" fmla="*/ 2147483647 h 1961"/>
                  <a:gd name="T108" fmla="*/ 2147483647 w 1431"/>
                  <a:gd name="T109" fmla="*/ 2147483647 h 196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31"/>
                  <a:gd name="T166" fmla="*/ 0 h 1961"/>
                  <a:gd name="T167" fmla="*/ 1431 w 1431"/>
                  <a:gd name="T168" fmla="*/ 1961 h 196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31" h="1961">
                    <a:moveTo>
                      <a:pt x="196" y="1961"/>
                    </a:moveTo>
                    <a:lnTo>
                      <a:pt x="384" y="1617"/>
                    </a:lnTo>
                    <a:lnTo>
                      <a:pt x="750" y="1645"/>
                    </a:lnTo>
                    <a:lnTo>
                      <a:pt x="737" y="1625"/>
                    </a:lnTo>
                    <a:lnTo>
                      <a:pt x="725" y="1605"/>
                    </a:lnTo>
                    <a:lnTo>
                      <a:pt x="713" y="1584"/>
                    </a:lnTo>
                    <a:lnTo>
                      <a:pt x="702" y="1563"/>
                    </a:lnTo>
                    <a:lnTo>
                      <a:pt x="692" y="1542"/>
                    </a:lnTo>
                    <a:lnTo>
                      <a:pt x="683" y="1519"/>
                    </a:lnTo>
                    <a:lnTo>
                      <a:pt x="674" y="1497"/>
                    </a:lnTo>
                    <a:lnTo>
                      <a:pt x="666" y="1474"/>
                    </a:lnTo>
                    <a:lnTo>
                      <a:pt x="660" y="1451"/>
                    </a:lnTo>
                    <a:lnTo>
                      <a:pt x="654" y="1427"/>
                    </a:lnTo>
                    <a:lnTo>
                      <a:pt x="649" y="1404"/>
                    </a:lnTo>
                    <a:lnTo>
                      <a:pt x="644" y="1380"/>
                    </a:lnTo>
                    <a:lnTo>
                      <a:pt x="641" y="1354"/>
                    </a:lnTo>
                    <a:lnTo>
                      <a:pt x="639" y="1330"/>
                    </a:lnTo>
                    <a:lnTo>
                      <a:pt x="637" y="1305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5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3"/>
                    </a:lnTo>
                    <a:lnTo>
                      <a:pt x="683" y="1038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3" y="957"/>
                    </a:lnTo>
                    <a:lnTo>
                      <a:pt x="731" y="945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8"/>
                    </a:lnTo>
                    <a:lnTo>
                      <a:pt x="764" y="896"/>
                    </a:lnTo>
                    <a:lnTo>
                      <a:pt x="773" y="884"/>
                    </a:lnTo>
                    <a:lnTo>
                      <a:pt x="782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65" y="78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0" y="727"/>
                    </a:lnTo>
                    <a:lnTo>
                      <a:pt x="976" y="712"/>
                    </a:lnTo>
                    <a:lnTo>
                      <a:pt x="989" y="705"/>
                    </a:lnTo>
                    <a:lnTo>
                      <a:pt x="1003" y="698"/>
                    </a:lnTo>
                    <a:lnTo>
                      <a:pt x="1016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7" y="665"/>
                    </a:lnTo>
                    <a:lnTo>
                      <a:pt x="1116" y="657"/>
                    </a:lnTo>
                    <a:lnTo>
                      <a:pt x="1131" y="653"/>
                    </a:lnTo>
                    <a:lnTo>
                      <a:pt x="1146" y="650"/>
                    </a:lnTo>
                    <a:lnTo>
                      <a:pt x="1176" y="644"/>
                    </a:lnTo>
                    <a:lnTo>
                      <a:pt x="1191" y="642"/>
                    </a:lnTo>
                    <a:lnTo>
                      <a:pt x="1208" y="640"/>
                    </a:lnTo>
                    <a:lnTo>
                      <a:pt x="1223" y="638"/>
                    </a:lnTo>
                    <a:lnTo>
                      <a:pt x="1239" y="637"/>
                    </a:lnTo>
                    <a:lnTo>
                      <a:pt x="1431" y="334"/>
                    </a:lnTo>
                    <a:lnTo>
                      <a:pt x="1238" y="0"/>
                    </a:lnTo>
                    <a:lnTo>
                      <a:pt x="1206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7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6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0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3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26"/>
                    </a:lnTo>
                    <a:lnTo>
                      <a:pt x="2" y="1349"/>
                    </a:lnTo>
                    <a:lnTo>
                      <a:pt x="3" y="1373"/>
                    </a:lnTo>
                    <a:lnTo>
                      <a:pt x="5" y="1396"/>
                    </a:lnTo>
                    <a:lnTo>
                      <a:pt x="8" y="1419"/>
                    </a:lnTo>
                    <a:lnTo>
                      <a:pt x="10" y="1441"/>
                    </a:lnTo>
                    <a:lnTo>
                      <a:pt x="13" y="1464"/>
                    </a:lnTo>
                    <a:lnTo>
                      <a:pt x="17" y="1486"/>
                    </a:lnTo>
                    <a:lnTo>
                      <a:pt x="20" y="1509"/>
                    </a:lnTo>
                    <a:lnTo>
                      <a:pt x="25" y="1532"/>
                    </a:lnTo>
                    <a:lnTo>
                      <a:pt x="29" y="1554"/>
                    </a:lnTo>
                    <a:lnTo>
                      <a:pt x="34" y="1575"/>
                    </a:lnTo>
                    <a:lnTo>
                      <a:pt x="39" y="1597"/>
                    </a:lnTo>
                    <a:lnTo>
                      <a:pt x="45" y="1619"/>
                    </a:lnTo>
                    <a:lnTo>
                      <a:pt x="51" y="1640"/>
                    </a:lnTo>
                    <a:lnTo>
                      <a:pt x="58" y="1661"/>
                    </a:lnTo>
                    <a:lnTo>
                      <a:pt x="64" y="1683"/>
                    </a:lnTo>
                    <a:lnTo>
                      <a:pt x="72" y="1704"/>
                    </a:lnTo>
                    <a:lnTo>
                      <a:pt x="79" y="1725"/>
                    </a:lnTo>
                    <a:lnTo>
                      <a:pt x="88" y="1745"/>
                    </a:lnTo>
                    <a:lnTo>
                      <a:pt x="96" y="1766"/>
                    </a:lnTo>
                    <a:lnTo>
                      <a:pt x="105" y="1786"/>
                    </a:lnTo>
                    <a:lnTo>
                      <a:pt x="114" y="1806"/>
                    </a:lnTo>
                    <a:lnTo>
                      <a:pt x="123" y="1826"/>
                    </a:lnTo>
                    <a:lnTo>
                      <a:pt x="132" y="1847"/>
                    </a:lnTo>
                    <a:lnTo>
                      <a:pt x="152" y="1885"/>
                    </a:lnTo>
                    <a:lnTo>
                      <a:pt x="174" y="1923"/>
                    </a:lnTo>
                    <a:lnTo>
                      <a:pt x="185" y="1942"/>
                    </a:lnTo>
                    <a:lnTo>
                      <a:pt x="196" y="19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3" name="Freeform 8"/>
              <p:cNvSpPr>
                <a:spLocks noChangeAspect="1"/>
              </p:cNvSpPr>
              <p:nvPr/>
            </p:nvSpPr>
            <p:spPr bwMode="auto">
              <a:xfrm>
                <a:off x="3484424" y="1618488"/>
                <a:ext cx="925773" cy="1510707"/>
              </a:xfrm>
              <a:custGeom>
                <a:avLst/>
                <a:gdLst>
                  <a:gd name="T0" fmla="*/ 2147483647 w 1261"/>
                  <a:gd name="T1" fmla="*/ 2147483647 h 1899"/>
                  <a:gd name="T2" fmla="*/ 2147483647 w 1261"/>
                  <a:gd name="T3" fmla="*/ 2147483647 h 1899"/>
                  <a:gd name="T4" fmla="*/ 2147483647 w 1261"/>
                  <a:gd name="T5" fmla="*/ 2147483647 h 1899"/>
                  <a:gd name="T6" fmla="*/ 2147483647 w 1261"/>
                  <a:gd name="T7" fmla="*/ 2147483647 h 1899"/>
                  <a:gd name="T8" fmla="*/ 2147483647 w 1261"/>
                  <a:gd name="T9" fmla="*/ 2147483647 h 1899"/>
                  <a:gd name="T10" fmla="*/ 2147483647 w 1261"/>
                  <a:gd name="T11" fmla="*/ 2147483647 h 1899"/>
                  <a:gd name="T12" fmla="*/ 2147483647 w 1261"/>
                  <a:gd name="T13" fmla="*/ 2147483647 h 1899"/>
                  <a:gd name="T14" fmla="*/ 2147483647 w 1261"/>
                  <a:gd name="T15" fmla="*/ 2147483647 h 1899"/>
                  <a:gd name="T16" fmla="*/ 2147483647 w 1261"/>
                  <a:gd name="T17" fmla="*/ 2147483647 h 1899"/>
                  <a:gd name="T18" fmla="*/ 2147483647 w 1261"/>
                  <a:gd name="T19" fmla="*/ 2147483647 h 1899"/>
                  <a:gd name="T20" fmla="*/ 2147483647 w 1261"/>
                  <a:gd name="T21" fmla="*/ 2147483647 h 1899"/>
                  <a:gd name="T22" fmla="*/ 2147483647 w 1261"/>
                  <a:gd name="T23" fmla="*/ 2147483647 h 1899"/>
                  <a:gd name="T24" fmla="*/ 2147483647 w 1261"/>
                  <a:gd name="T25" fmla="*/ 2147483647 h 1899"/>
                  <a:gd name="T26" fmla="*/ 2147483647 w 1261"/>
                  <a:gd name="T27" fmla="*/ 2147483647 h 1899"/>
                  <a:gd name="T28" fmla="*/ 2147483647 w 1261"/>
                  <a:gd name="T29" fmla="*/ 2147483647 h 1899"/>
                  <a:gd name="T30" fmla="*/ 2147483647 w 1261"/>
                  <a:gd name="T31" fmla="*/ 2147483647 h 1899"/>
                  <a:gd name="T32" fmla="*/ 2147483647 w 1261"/>
                  <a:gd name="T33" fmla="*/ 2147483647 h 1899"/>
                  <a:gd name="T34" fmla="*/ 2147483647 w 1261"/>
                  <a:gd name="T35" fmla="*/ 2147483647 h 1899"/>
                  <a:gd name="T36" fmla="*/ 2147483647 w 1261"/>
                  <a:gd name="T37" fmla="*/ 2147483647 h 1899"/>
                  <a:gd name="T38" fmla="*/ 2147483647 w 1261"/>
                  <a:gd name="T39" fmla="*/ 2147483647 h 1899"/>
                  <a:gd name="T40" fmla="*/ 2147483647 w 1261"/>
                  <a:gd name="T41" fmla="*/ 2147483647 h 1899"/>
                  <a:gd name="T42" fmla="*/ 2147483647 w 1261"/>
                  <a:gd name="T43" fmla="*/ 2147483647 h 1899"/>
                  <a:gd name="T44" fmla="*/ 2147483647 w 1261"/>
                  <a:gd name="T45" fmla="*/ 2147483647 h 1899"/>
                  <a:gd name="T46" fmla="*/ 2147483647 w 1261"/>
                  <a:gd name="T47" fmla="*/ 2147483647 h 1899"/>
                  <a:gd name="T48" fmla="*/ 2147483647 w 1261"/>
                  <a:gd name="T49" fmla="*/ 2147483647 h 1899"/>
                  <a:gd name="T50" fmla="*/ 2147483647 w 1261"/>
                  <a:gd name="T51" fmla="*/ 2147483647 h 1899"/>
                  <a:gd name="T52" fmla="*/ 2147483647 w 1261"/>
                  <a:gd name="T53" fmla="*/ 2147483647 h 1899"/>
                  <a:gd name="T54" fmla="*/ 2147483647 w 1261"/>
                  <a:gd name="T55" fmla="*/ 2147483647 h 1899"/>
                  <a:gd name="T56" fmla="*/ 2147483647 w 1261"/>
                  <a:gd name="T57" fmla="*/ 2147483647 h 1899"/>
                  <a:gd name="T58" fmla="*/ 2147483647 w 1261"/>
                  <a:gd name="T59" fmla="*/ 2147483647 h 1899"/>
                  <a:gd name="T60" fmla="*/ 2147483647 w 1261"/>
                  <a:gd name="T61" fmla="*/ 2147483647 h 1899"/>
                  <a:gd name="T62" fmla="*/ 2147483647 w 1261"/>
                  <a:gd name="T63" fmla="*/ 2147483647 h 1899"/>
                  <a:gd name="T64" fmla="*/ 2147483647 w 1261"/>
                  <a:gd name="T65" fmla="*/ 2147483647 h 1899"/>
                  <a:gd name="T66" fmla="*/ 2147483647 w 1261"/>
                  <a:gd name="T67" fmla="*/ 2147483647 h 1899"/>
                  <a:gd name="T68" fmla="*/ 2147483647 w 1261"/>
                  <a:gd name="T69" fmla="*/ 2147483647 h 1899"/>
                  <a:gd name="T70" fmla="*/ 2147483647 w 1261"/>
                  <a:gd name="T71" fmla="*/ 2147483647 h 1899"/>
                  <a:gd name="T72" fmla="*/ 2147483647 w 1261"/>
                  <a:gd name="T73" fmla="*/ 2147483647 h 1899"/>
                  <a:gd name="T74" fmla="*/ 2147483647 w 1261"/>
                  <a:gd name="T75" fmla="*/ 2147483647 h 1899"/>
                  <a:gd name="T76" fmla="*/ 2147483647 w 1261"/>
                  <a:gd name="T77" fmla="*/ 2147483647 h 1899"/>
                  <a:gd name="T78" fmla="*/ 2147483647 w 1261"/>
                  <a:gd name="T79" fmla="*/ 2147483647 h 1899"/>
                  <a:gd name="T80" fmla="*/ 2147483647 w 1261"/>
                  <a:gd name="T81" fmla="*/ 2147483647 h 1899"/>
                  <a:gd name="T82" fmla="*/ 2147483647 w 1261"/>
                  <a:gd name="T83" fmla="*/ 2147483647 h 1899"/>
                  <a:gd name="T84" fmla="*/ 2147483647 w 1261"/>
                  <a:gd name="T85" fmla="*/ 2147483647 h 1899"/>
                  <a:gd name="T86" fmla="*/ 2147483647 w 1261"/>
                  <a:gd name="T87" fmla="*/ 2147483647 h 1899"/>
                  <a:gd name="T88" fmla="*/ 2147483647 w 1261"/>
                  <a:gd name="T89" fmla="*/ 2147483647 h 1899"/>
                  <a:gd name="T90" fmla="*/ 2147483647 w 1261"/>
                  <a:gd name="T91" fmla="*/ 2147483647 h 1899"/>
                  <a:gd name="T92" fmla="*/ 2147483647 w 1261"/>
                  <a:gd name="T93" fmla="*/ 2147483647 h 1899"/>
                  <a:gd name="T94" fmla="*/ 2147483647 w 1261"/>
                  <a:gd name="T95" fmla="*/ 2147483647 h 1899"/>
                  <a:gd name="T96" fmla="*/ 2147483647 w 1261"/>
                  <a:gd name="T97" fmla="*/ 2147483647 h 1899"/>
                  <a:gd name="T98" fmla="*/ 2147483647 w 1261"/>
                  <a:gd name="T99" fmla="*/ 2147483647 h 1899"/>
                  <a:gd name="T100" fmla="*/ 2147483647 w 1261"/>
                  <a:gd name="T101" fmla="*/ 2147483647 h 1899"/>
                  <a:gd name="T102" fmla="*/ 2147483647 w 1261"/>
                  <a:gd name="T103" fmla="*/ 2147483647 h 18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61"/>
                  <a:gd name="T157" fmla="*/ 0 h 1899"/>
                  <a:gd name="T158" fmla="*/ 1261 w 1261"/>
                  <a:gd name="T159" fmla="*/ 1899 h 189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61" h="1899">
                    <a:moveTo>
                      <a:pt x="0" y="0"/>
                    </a:moveTo>
                    <a:lnTo>
                      <a:pt x="33" y="1"/>
                    </a:lnTo>
                    <a:lnTo>
                      <a:pt x="66" y="3"/>
                    </a:lnTo>
                    <a:lnTo>
                      <a:pt x="98" y="5"/>
                    </a:lnTo>
                    <a:lnTo>
                      <a:pt x="130" y="8"/>
                    </a:lnTo>
                    <a:lnTo>
                      <a:pt x="161" y="13"/>
                    </a:lnTo>
                    <a:lnTo>
                      <a:pt x="193" y="17"/>
                    </a:lnTo>
                    <a:lnTo>
                      <a:pt x="225" y="23"/>
                    </a:lnTo>
                    <a:lnTo>
                      <a:pt x="255" y="29"/>
                    </a:lnTo>
                    <a:lnTo>
                      <a:pt x="286" y="36"/>
                    </a:lnTo>
                    <a:lnTo>
                      <a:pt x="316" y="44"/>
                    </a:lnTo>
                    <a:lnTo>
                      <a:pt x="346" y="53"/>
                    </a:lnTo>
                    <a:lnTo>
                      <a:pt x="376" y="62"/>
                    </a:lnTo>
                    <a:lnTo>
                      <a:pt x="406" y="72"/>
                    </a:lnTo>
                    <a:lnTo>
                      <a:pt x="435" y="83"/>
                    </a:lnTo>
                    <a:lnTo>
                      <a:pt x="463" y="94"/>
                    </a:lnTo>
                    <a:lnTo>
                      <a:pt x="492" y="106"/>
                    </a:lnTo>
                    <a:lnTo>
                      <a:pt x="520" y="119"/>
                    </a:lnTo>
                    <a:lnTo>
                      <a:pt x="548" y="132"/>
                    </a:lnTo>
                    <a:lnTo>
                      <a:pt x="576" y="146"/>
                    </a:lnTo>
                    <a:lnTo>
                      <a:pt x="602" y="161"/>
                    </a:lnTo>
                    <a:lnTo>
                      <a:pt x="629" y="176"/>
                    </a:lnTo>
                    <a:lnTo>
                      <a:pt x="655" y="191"/>
                    </a:lnTo>
                    <a:lnTo>
                      <a:pt x="680" y="208"/>
                    </a:lnTo>
                    <a:lnTo>
                      <a:pt x="707" y="225"/>
                    </a:lnTo>
                    <a:lnTo>
                      <a:pt x="731" y="243"/>
                    </a:lnTo>
                    <a:lnTo>
                      <a:pt x="756" y="261"/>
                    </a:lnTo>
                    <a:lnTo>
                      <a:pt x="780" y="280"/>
                    </a:lnTo>
                    <a:lnTo>
                      <a:pt x="803" y="299"/>
                    </a:lnTo>
                    <a:lnTo>
                      <a:pt x="826" y="319"/>
                    </a:lnTo>
                    <a:lnTo>
                      <a:pt x="848" y="339"/>
                    </a:lnTo>
                    <a:lnTo>
                      <a:pt x="871" y="360"/>
                    </a:lnTo>
                    <a:lnTo>
                      <a:pt x="893" y="381"/>
                    </a:lnTo>
                    <a:lnTo>
                      <a:pt x="914" y="404"/>
                    </a:lnTo>
                    <a:lnTo>
                      <a:pt x="934" y="426"/>
                    </a:lnTo>
                    <a:lnTo>
                      <a:pt x="954" y="449"/>
                    </a:lnTo>
                    <a:lnTo>
                      <a:pt x="974" y="472"/>
                    </a:lnTo>
                    <a:lnTo>
                      <a:pt x="993" y="496"/>
                    </a:lnTo>
                    <a:lnTo>
                      <a:pt x="1011" y="520"/>
                    </a:lnTo>
                    <a:lnTo>
                      <a:pt x="1030" y="545"/>
                    </a:lnTo>
                    <a:lnTo>
                      <a:pt x="1047" y="571"/>
                    </a:lnTo>
                    <a:lnTo>
                      <a:pt x="1063" y="596"/>
                    </a:lnTo>
                    <a:lnTo>
                      <a:pt x="1079" y="622"/>
                    </a:lnTo>
                    <a:lnTo>
                      <a:pt x="1095" y="648"/>
                    </a:lnTo>
                    <a:lnTo>
                      <a:pt x="1109" y="675"/>
                    </a:lnTo>
                    <a:lnTo>
                      <a:pt x="1124" y="702"/>
                    </a:lnTo>
                    <a:lnTo>
                      <a:pt x="1137" y="730"/>
                    </a:lnTo>
                    <a:lnTo>
                      <a:pt x="1150" y="758"/>
                    </a:lnTo>
                    <a:lnTo>
                      <a:pt x="1162" y="786"/>
                    </a:lnTo>
                    <a:lnTo>
                      <a:pt x="1174" y="815"/>
                    </a:lnTo>
                    <a:lnTo>
                      <a:pt x="1185" y="844"/>
                    </a:lnTo>
                    <a:lnTo>
                      <a:pt x="1196" y="873"/>
                    </a:lnTo>
                    <a:lnTo>
                      <a:pt x="1205" y="903"/>
                    </a:lnTo>
                    <a:lnTo>
                      <a:pt x="1214" y="933"/>
                    </a:lnTo>
                    <a:lnTo>
                      <a:pt x="1222" y="963"/>
                    </a:lnTo>
                    <a:lnTo>
                      <a:pt x="1229" y="994"/>
                    </a:lnTo>
                    <a:lnTo>
                      <a:pt x="1236" y="1024"/>
                    </a:lnTo>
                    <a:lnTo>
                      <a:pt x="1242" y="1056"/>
                    </a:lnTo>
                    <a:lnTo>
                      <a:pt x="1247" y="1088"/>
                    </a:lnTo>
                    <a:lnTo>
                      <a:pt x="1251" y="1119"/>
                    </a:lnTo>
                    <a:lnTo>
                      <a:pt x="1255" y="1151"/>
                    </a:lnTo>
                    <a:lnTo>
                      <a:pt x="1258" y="1183"/>
                    </a:lnTo>
                    <a:lnTo>
                      <a:pt x="1260" y="1216"/>
                    </a:lnTo>
                    <a:lnTo>
                      <a:pt x="1261" y="1248"/>
                    </a:lnTo>
                    <a:lnTo>
                      <a:pt x="1261" y="1281"/>
                    </a:lnTo>
                    <a:lnTo>
                      <a:pt x="1261" y="1321"/>
                    </a:lnTo>
                    <a:lnTo>
                      <a:pt x="1260" y="1342"/>
                    </a:lnTo>
                    <a:lnTo>
                      <a:pt x="1259" y="1363"/>
                    </a:lnTo>
                    <a:lnTo>
                      <a:pt x="1257" y="1383"/>
                    </a:lnTo>
                    <a:lnTo>
                      <a:pt x="1255" y="1403"/>
                    </a:lnTo>
                    <a:lnTo>
                      <a:pt x="1251" y="1443"/>
                    </a:lnTo>
                    <a:lnTo>
                      <a:pt x="1248" y="1463"/>
                    </a:lnTo>
                    <a:lnTo>
                      <a:pt x="1245" y="1483"/>
                    </a:lnTo>
                    <a:lnTo>
                      <a:pt x="1242" y="1502"/>
                    </a:lnTo>
                    <a:lnTo>
                      <a:pt x="1238" y="1523"/>
                    </a:lnTo>
                    <a:lnTo>
                      <a:pt x="1230" y="1562"/>
                    </a:lnTo>
                    <a:lnTo>
                      <a:pt x="1221" y="1600"/>
                    </a:lnTo>
                    <a:lnTo>
                      <a:pt x="1216" y="1619"/>
                    </a:lnTo>
                    <a:lnTo>
                      <a:pt x="1211" y="1638"/>
                    </a:lnTo>
                    <a:lnTo>
                      <a:pt x="1199" y="1675"/>
                    </a:lnTo>
                    <a:lnTo>
                      <a:pt x="1186" y="1713"/>
                    </a:lnTo>
                    <a:lnTo>
                      <a:pt x="1172" y="1749"/>
                    </a:lnTo>
                    <a:lnTo>
                      <a:pt x="1157" y="1785"/>
                    </a:lnTo>
                    <a:lnTo>
                      <a:pt x="1141" y="1820"/>
                    </a:lnTo>
                    <a:lnTo>
                      <a:pt x="1124" y="1856"/>
                    </a:lnTo>
                    <a:lnTo>
                      <a:pt x="1106" y="1890"/>
                    </a:lnTo>
                    <a:lnTo>
                      <a:pt x="709" y="1899"/>
                    </a:lnTo>
                    <a:lnTo>
                      <a:pt x="554" y="1574"/>
                    </a:lnTo>
                    <a:lnTo>
                      <a:pt x="562" y="1557"/>
                    </a:lnTo>
                    <a:lnTo>
                      <a:pt x="570" y="1541"/>
                    </a:lnTo>
                    <a:lnTo>
                      <a:pt x="577" y="1524"/>
                    </a:lnTo>
                    <a:lnTo>
                      <a:pt x="584" y="1505"/>
                    </a:lnTo>
                    <a:lnTo>
                      <a:pt x="590" y="1488"/>
                    </a:lnTo>
                    <a:lnTo>
                      <a:pt x="596" y="1470"/>
                    </a:lnTo>
                    <a:lnTo>
                      <a:pt x="601" y="1452"/>
                    </a:lnTo>
                    <a:lnTo>
                      <a:pt x="606" y="1434"/>
                    </a:lnTo>
                    <a:lnTo>
                      <a:pt x="610" y="1416"/>
                    </a:lnTo>
                    <a:lnTo>
                      <a:pt x="614" y="1397"/>
                    </a:lnTo>
                    <a:lnTo>
                      <a:pt x="617" y="1378"/>
                    </a:lnTo>
                    <a:lnTo>
                      <a:pt x="620" y="1358"/>
                    </a:lnTo>
                    <a:lnTo>
                      <a:pt x="622" y="1339"/>
                    </a:lnTo>
                    <a:lnTo>
                      <a:pt x="624" y="1320"/>
                    </a:lnTo>
                    <a:lnTo>
                      <a:pt x="624" y="1300"/>
                    </a:lnTo>
                    <a:lnTo>
                      <a:pt x="625" y="1281"/>
                    </a:lnTo>
                    <a:lnTo>
                      <a:pt x="624" y="1248"/>
                    </a:lnTo>
                    <a:lnTo>
                      <a:pt x="623" y="1232"/>
                    </a:lnTo>
                    <a:lnTo>
                      <a:pt x="622" y="1216"/>
                    </a:lnTo>
                    <a:lnTo>
                      <a:pt x="620" y="1200"/>
                    </a:lnTo>
                    <a:lnTo>
                      <a:pt x="618" y="1184"/>
                    </a:lnTo>
                    <a:lnTo>
                      <a:pt x="615" y="1169"/>
                    </a:lnTo>
                    <a:lnTo>
                      <a:pt x="612" y="1153"/>
                    </a:lnTo>
                    <a:lnTo>
                      <a:pt x="609" y="1138"/>
                    </a:lnTo>
                    <a:lnTo>
                      <a:pt x="605" y="1123"/>
                    </a:lnTo>
                    <a:lnTo>
                      <a:pt x="601" y="1108"/>
                    </a:lnTo>
                    <a:lnTo>
                      <a:pt x="597" y="1093"/>
                    </a:lnTo>
                    <a:lnTo>
                      <a:pt x="587" y="1064"/>
                    </a:lnTo>
                    <a:lnTo>
                      <a:pt x="576" y="1034"/>
                    </a:lnTo>
                    <a:lnTo>
                      <a:pt x="564" y="1006"/>
                    </a:lnTo>
                    <a:lnTo>
                      <a:pt x="557" y="993"/>
                    </a:lnTo>
                    <a:lnTo>
                      <a:pt x="550" y="979"/>
                    </a:lnTo>
                    <a:lnTo>
                      <a:pt x="534" y="953"/>
                    </a:lnTo>
                    <a:lnTo>
                      <a:pt x="518" y="927"/>
                    </a:lnTo>
                    <a:lnTo>
                      <a:pt x="510" y="915"/>
                    </a:lnTo>
                    <a:lnTo>
                      <a:pt x="501" y="902"/>
                    </a:lnTo>
                    <a:lnTo>
                      <a:pt x="483" y="877"/>
                    </a:lnTo>
                    <a:lnTo>
                      <a:pt x="473" y="866"/>
                    </a:lnTo>
                    <a:lnTo>
                      <a:pt x="463" y="854"/>
                    </a:lnTo>
                    <a:lnTo>
                      <a:pt x="453" y="843"/>
                    </a:lnTo>
                    <a:lnTo>
                      <a:pt x="443" y="832"/>
                    </a:lnTo>
                    <a:lnTo>
                      <a:pt x="432" y="822"/>
                    </a:lnTo>
                    <a:lnTo>
                      <a:pt x="421" y="81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75" y="772"/>
                    </a:lnTo>
                    <a:lnTo>
                      <a:pt x="363" y="763"/>
                    </a:lnTo>
                    <a:lnTo>
                      <a:pt x="350" y="754"/>
                    </a:lnTo>
                    <a:lnTo>
                      <a:pt x="338" y="746"/>
                    </a:lnTo>
                    <a:lnTo>
                      <a:pt x="325" y="737"/>
                    </a:lnTo>
                    <a:lnTo>
                      <a:pt x="312" y="729"/>
                    </a:lnTo>
                    <a:lnTo>
                      <a:pt x="299" y="722"/>
                    </a:lnTo>
                    <a:lnTo>
                      <a:pt x="273" y="706"/>
                    </a:lnTo>
                    <a:lnTo>
                      <a:pt x="245" y="693"/>
                    </a:lnTo>
                    <a:lnTo>
                      <a:pt x="231" y="687"/>
                    </a:lnTo>
                    <a:lnTo>
                      <a:pt x="216" y="681"/>
                    </a:lnTo>
                    <a:lnTo>
                      <a:pt x="202" y="676"/>
                    </a:lnTo>
                    <a:lnTo>
                      <a:pt x="187" y="671"/>
                    </a:lnTo>
                    <a:lnTo>
                      <a:pt x="158" y="662"/>
                    </a:lnTo>
                    <a:lnTo>
                      <a:pt x="143" y="657"/>
                    </a:lnTo>
                    <a:lnTo>
                      <a:pt x="128" y="654"/>
                    </a:lnTo>
                    <a:lnTo>
                      <a:pt x="97" y="647"/>
                    </a:lnTo>
                    <a:lnTo>
                      <a:pt x="82" y="645"/>
                    </a:lnTo>
                    <a:lnTo>
                      <a:pt x="66" y="642"/>
                    </a:lnTo>
                    <a:lnTo>
                      <a:pt x="49" y="641"/>
                    </a:lnTo>
                    <a:lnTo>
                      <a:pt x="34" y="639"/>
                    </a:lnTo>
                    <a:lnTo>
                      <a:pt x="18" y="638"/>
                    </a:lnTo>
                    <a:lnTo>
                      <a:pt x="2" y="637"/>
                    </a:lnTo>
                    <a:lnTo>
                      <a:pt x="199" y="34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</p:grpSp>
      <p:grpSp>
        <p:nvGrpSpPr>
          <p:cNvPr id="2" name="Gruppierung 1"/>
          <p:cNvGrpSpPr/>
          <p:nvPr/>
        </p:nvGrpSpPr>
        <p:grpSpPr>
          <a:xfrm>
            <a:off x="1559496" y="1340769"/>
            <a:ext cx="2016224" cy="2016224"/>
            <a:chOff x="1559496" y="1340769"/>
            <a:chExt cx="2016224" cy="2016224"/>
          </a:xfrm>
        </p:grpSpPr>
        <p:grpSp>
          <p:nvGrpSpPr>
            <p:cNvPr id="44" name="Group 3"/>
            <p:cNvGrpSpPr>
              <a:grpSpLocks noChangeAspect="1"/>
            </p:cNvGrpSpPr>
            <p:nvPr/>
          </p:nvGrpSpPr>
          <p:grpSpPr bwMode="auto">
            <a:xfrm>
              <a:off x="1559496" y="1340769"/>
              <a:ext cx="2016224" cy="2016224"/>
              <a:chOff x="1862" y="1377"/>
              <a:chExt cx="2562" cy="2543"/>
            </a:xfrm>
            <a:solidFill>
              <a:srgbClr val="2F52A0"/>
            </a:solidFill>
          </p:grpSpPr>
          <p:sp>
            <p:nvSpPr>
              <p:cNvPr id="45" name="Freeform 4"/>
              <p:cNvSpPr>
                <a:spLocks noChangeAspect="1"/>
              </p:cNvSpPr>
              <p:nvPr/>
            </p:nvSpPr>
            <p:spPr bwMode="auto">
              <a:xfrm>
                <a:off x="3040" y="1377"/>
                <a:ext cx="1384" cy="2543"/>
              </a:xfrm>
              <a:custGeom>
                <a:avLst/>
                <a:gdLst>
                  <a:gd name="T0" fmla="*/ 165 w 1384"/>
                  <a:gd name="T1" fmla="*/ 636 h 2543"/>
                  <a:gd name="T2" fmla="*/ 230 w 1384"/>
                  <a:gd name="T3" fmla="*/ 645 h 2543"/>
                  <a:gd name="T4" fmla="*/ 291 w 1384"/>
                  <a:gd name="T5" fmla="*/ 659 h 2543"/>
                  <a:gd name="T6" fmla="*/ 351 w 1384"/>
                  <a:gd name="T7" fmla="*/ 679 h 2543"/>
                  <a:gd name="T8" fmla="*/ 421 w 1384"/>
                  <a:gd name="T9" fmla="*/ 711 h 2543"/>
                  <a:gd name="T10" fmla="*/ 486 w 1384"/>
                  <a:gd name="T11" fmla="*/ 753 h 2543"/>
                  <a:gd name="T12" fmla="*/ 547 w 1384"/>
                  <a:gd name="T13" fmla="*/ 801 h 2543"/>
                  <a:gd name="T14" fmla="*/ 590 w 1384"/>
                  <a:gd name="T15" fmla="*/ 844 h 2543"/>
                  <a:gd name="T16" fmla="*/ 646 w 1384"/>
                  <a:gd name="T17" fmla="*/ 917 h 2543"/>
                  <a:gd name="T18" fmla="*/ 679 w 1384"/>
                  <a:gd name="T19" fmla="*/ 969 h 2543"/>
                  <a:gd name="T20" fmla="*/ 706 w 1384"/>
                  <a:gd name="T21" fmla="*/ 1024 h 2543"/>
                  <a:gd name="T22" fmla="*/ 727 w 1384"/>
                  <a:gd name="T23" fmla="*/ 1084 h 2543"/>
                  <a:gd name="T24" fmla="*/ 743 w 1384"/>
                  <a:gd name="T25" fmla="*/ 1145 h 2543"/>
                  <a:gd name="T26" fmla="*/ 752 w 1384"/>
                  <a:gd name="T27" fmla="*/ 1209 h 2543"/>
                  <a:gd name="T28" fmla="*/ 756 w 1384"/>
                  <a:gd name="T29" fmla="*/ 1274 h 2543"/>
                  <a:gd name="T30" fmla="*/ 753 w 1384"/>
                  <a:gd name="T31" fmla="*/ 1331 h 2543"/>
                  <a:gd name="T32" fmla="*/ 740 w 1384"/>
                  <a:gd name="T33" fmla="*/ 1415 h 2543"/>
                  <a:gd name="T34" fmla="*/ 716 w 1384"/>
                  <a:gd name="T35" fmla="*/ 1494 h 2543"/>
                  <a:gd name="T36" fmla="*/ 683 w 1384"/>
                  <a:gd name="T37" fmla="*/ 1570 h 2543"/>
                  <a:gd name="T38" fmla="*/ 624 w 1384"/>
                  <a:gd name="T39" fmla="*/ 1661 h 2543"/>
                  <a:gd name="T40" fmla="*/ 590 w 1384"/>
                  <a:gd name="T41" fmla="*/ 1703 h 2543"/>
                  <a:gd name="T42" fmla="*/ 532 w 1384"/>
                  <a:gd name="T43" fmla="*/ 1759 h 2543"/>
                  <a:gd name="T44" fmla="*/ 456 w 1384"/>
                  <a:gd name="T45" fmla="*/ 1815 h 2543"/>
                  <a:gd name="T46" fmla="*/ 372 w 1384"/>
                  <a:gd name="T47" fmla="*/ 1860 h 2543"/>
                  <a:gd name="T48" fmla="*/ 280 w 1384"/>
                  <a:gd name="T49" fmla="*/ 1892 h 2543"/>
                  <a:gd name="T50" fmla="*/ 0 w 1384"/>
                  <a:gd name="T51" fmla="*/ 2230 h 2543"/>
                  <a:gd name="T52" fmla="*/ 333 w 1384"/>
                  <a:gd name="T53" fmla="*/ 2531 h 2543"/>
                  <a:gd name="T54" fmla="*/ 449 w 1384"/>
                  <a:gd name="T55" fmla="*/ 2505 h 2543"/>
                  <a:gd name="T56" fmla="*/ 560 w 1384"/>
                  <a:gd name="T57" fmla="*/ 2468 h 2543"/>
                  <a:gd name="T58" fmla="*/ 666 w 1384"/>
                  <a:gd name="T59" fmla="*/ 2422 h 2543"/>
                  <a:gd name="T60" fmla="*/ 768 w 1384"/>
                  <a:gd name="T61" fmla="*/ 2367 h 2543"/>
                  <a:gd name="T62" fmla="*/ 864 w 1384"/>
                  <a:gd name="T63" fmla="*/ 2302 h 2543"/>
                  <a:gd name="T64" fmla="*/ 952 w 1384"/>
                  <a:gd name="T65" fmla="*/ 2231 h 2543"/>
                  <a:gd name="T66" fmla="*/ 1035 w 1384"/>
                  <a:gd name="T67" fmla="*/ 2151 h 2543"/>
                  <a:gd name="T68" fmla="*/ 1110 w 1384"/>
                  <a:gd name="T69" fmla="*/ 2065 h 2543"/>
                  <a:gd name="T70" fmla="*/ 1177 w 1384"/>
                  <a:gd name="T71" fmla="*/ 1971 h 2543"/>
                  <a:gd name="T72" fmla="*/ 1235 w 1384"/>
                  <a:gd name="T73" fmla="*/ 1872 h 2543"/>
                  <a:gd name="T74" fmla="*/ 1285 w 1384"/>
                  <a:gd name="T75" fmla="*/ 1767 h 2543"/>
                  <a:gd name="T76" fmla="*/ 1326 w 1384"/>
                  <a:gd name="T77" fmla="*/ 1657 h 2543"/>
                  <a:gd name="T78" fmla="*/ 1356 w 1384"/>
                  <a:gd name="T79" fmla="*/ 1544 h 2543"/>
                  <a:gd name="T80" fmla="*/ 1375 w 1384"/>
                  <a:gd name="T81" fmla="*/ 1426 h 2543"/>
                  <a:gd name="T82" fmla="*/ 1384 w 1384"/>
                  <a:gd name="T83" fmla="*/ 1304 h 2543"/>
                  <a:gd name="T84" fmla="*/ 1380 w 1384"/>
                  <a:gd name="T85" fmla="*/ 1175 h 2543"/>
                  <a:gd name="T86" fmla="*/ 1364 w 1384"/>
                  <a:gd name="T87" fmla="*/ 1048 h 2543"/>
                  <a:gd name="T88" fmla="*/ 1336 w 1384"/>
                  <a:gd name="T89" fmla="*/ 925 h 2543"/>
                  <a:gd name="T90" fmla="*/ 1295 w 1384"/>
                  <a:gd name="T91" fmla="*/ 806 h 2543"/>
                  <a:gd name="T92" fmla="*/ 1244 w 1384"/>
                  <a:gd name="T93" fmla="*/ 693 h 2543"/>
                  <a:gd name="T94" fmla="*/ 1182 w 1384"/>
                  <a:gd name="T95" fmla="*/ 587 h 2543"/>
                  <a:gd name="T96" fmla="*/ 1110 w 1384"/>
                  <a:gd name="T97" fmla="*/ 487 h 2543"/>
                  <a:gd name="T98" fmla="*/ 1030 w 1384"/>
                  <a:gd name="T99" fmla="*/ 394 h 2543"/>
                  <a:gd name="T100" fmla="*/ 941 w 1384"/>
                  <a:gd name="T101" fmla="*/ 310 h 2543"/>
                  <a:gd name="T102" fmla="*/ 845 w 1384"/>
                  <a:gd name="T103" fmla="*/ 234 h 2543"/>
                  <a:gd name="T104" fmla="*/ 741 w 1384"/>
                  <a:gd name="T105" fmla="*/ 168 h 2543"/>
                  <a:gd name="T106" fmla="*/ 630 w 1384"/>
                  <a:gd name="T107" fmla="*/ 112 h 2543"/>
                  <a:gd name="T108" fmla="*/ 515 w 1384"/>
                  <a:gd name="T109" fmla="*/ 66 h 2543"/>
                  <a:gd name="T110" fmla="*/ 394 w 1384"/>
                  <a:gd name="T111" fmla="*/ 32 h 2543"/>
                  <a:gd name="T112" fmla="*/ 268 w 1384"/>
                  <a:gd name="T113" fmla="*/ 10 h 2543"/>
                  <a:gd name="T114" fmla="*/ 138 w 1384"/>
                  <a:gd name="T115" fmla="*/ 0 h 254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84"/>
                  <a:gd name="T175" fmla="*/ 0 h 2543"/>
                  <a:gd name="T176" fmla="*/ 1384 w 1384"/>
                  <a:gd name="T177" fmla="*/ 2543 h 254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84" h="2543">
                    <a:moveTo>
                      <a:pt x="114" y="635"/>
                    </a:moveTo>
                    <a:lnTo>
                      <a:pt x="117" y="635"/>
                    </a:lnTo>
                    <a:lnTo>
                      <a:pt x="149" y="635"/>
                    </a:lnTo>
                    <a:lnTo>
                      <a:pt x="165" y="636"/>
                    </a:lnTo>
                    <a:lnTo>
                      <a:pt x="181" y="638"/>
                    </a:lnTo>
                    <a:lnTo>
                      <a:pt x="198" y="640"/>
                    </a:lnTo>
                    <a:lnTo>
                      <a:pt x="214" y="642"/>
                    </a:lnTo>
                    <a:lnTo>
                      <a:pt x="230" y="645"/>
                    </a:lnTo>
                    <a:lnTo>
                      <a:pt x="246" y="648"/>
                    </a:lnTo>
                    <a:lnTo>
                      <a:pt x="261" y="651"/>
                    </a:lnTo>
                    <a:lnTo>
                      <a:pt x="276" y="655"/>
                    </a:lnTo>
                    <a:lnTo>
                      <a:pt x="291" y="659"/>
                    </a:lnTo>
                    <a:lnTo>
                      <a:pt x="306" y="663"/>
                    </a:lnTo>
                    <a:lnTo>
                      <a:pt x="321" y="668"/>
                    </a:lnTo>
                    <a:lnTo>
                      <a:pt x="336" y="673"/>
                    </a:lnTo>
                    <a:lnTo>
                      <a:pt x="351" y="679"/>
                    </a:lnTo>
                    <a:lnTo>
                      <a:pt x="366" y="685"/>
                    </a:lnTo>
                    <a:lnTo>
                      <a:pt x="380" y="691"/>
                    </a:lnTo>
                    <a:lnTo>
                      <a:pt x="394" y="697"/>
                    </a:lnTo>
                    <a:lnTo>
                      <a:pt x="421" y="711"/>
                    </a:lnTo>
                    <a:lnTo>
                      <a:pt x="448" y="728"/>
                    </a:lnTo>
                    <a:lnTo>
                      <a:pt x="461" y="736"/>
                    </a:lnTo>
                    <a:lnTo>
                      <a:pt x="474" y="744"/>
                    </a:lnTo>
                    <a:lnTo>
                      <a:pt x="486" y="753"/>
                    </a:lnTo>
                    <a:lnTo>
                      <a:pt x="498" y="762"/>
                    </a:lnTo>
                    <a:lnTo>
                      <a:pt x="512" y="771"/>
                    </a:lnTo>
                    <a:lnTo>
                      <a:pt x="523" y="781"/>
                    </a:lnTo>
                    <a:lnTo>
                      <a:pt x="547" y="801"/>
                    </a:lnTo>
                    <a:lnTo>
                      <a:pt x="558" y="811"/>
                    </a:lnTo>
                    <a:lnTo>
                      <a:pt x="569" y="822"/>
                    </a:lnTo>
                    <a:lnTo>
                      <a:pt x="579" y="833"/>
                    </a:lnTo>
                    <a:lnTo>
                      <a:pt x="590" y="844"/>
                    </a:lnTo>
                    <a:lnTo>
                      <a:pt x="610" y="867"/>
                    </a:lnTo>
                    <a:lnTo>
                      <a:pt x="619" y="880"/>
                    </a:lnTo>
                    <a:lnTo>
                      <a:pt x="628" y="892"/>
                    </a:lnTo>
                    <a:lnTo>
                      <a:pt x="646" y="917"/>
                    </a:lnTo>
                    <a:lnTo>
                      <a:pt x="655" y="929"/>
                    </a:lnTo>
                    <a:lnTo>
                      <a:pt x="663" y="942"/>
                    </a:lnTo>
                    <a:lnTo>
                      <a:pt x="671" y="956"/>
                    </a:lnTo>
                    <a:lnTo>
                      <a:pt x="679" y="969"/>
                    </a:lnTo>
                    <a:lnTo>
                      <a:pt x="686" y="983"/>
                    </a:lnTo>
                    <a:lnTo>
                      <a:pt x="693" y="996"/>
                    </a:lnTo>
                    <a:lnTo>
                      <a:pt x="699" y="1010"/>
                    </a:lnTo>
                    <a:lnTo>
                      <a:pt x="706" y="1024"/>
                    </a:lnTo>
                    <a:lnTo>
                      <a:pt x="712" y="1040"/>
                    </a:lnTo>
                    <a:lnTo>
                      <a:pt x="717" y="1054"/>
                    </a:lnTo>
                    <a:lnTo>
                      <a:pt x="722" y="1069"/>
                    </a:lnTo>
                    <a:lnTo>
                      <a:pt x="727" y="1084"/>
                    </a:lnTo>
                    <a:lnTo>
                      <a:pt x="731" y="1099"/>
                    </a:lnTo>
                    <a:lnTo>
                      <a:pt x="736" y="1114"/>
                    </a:lnTo>
                    <a:lnTo>
                      <a:pt x="739" y="1129"/>
                    </a:lnTo>
                    <a:lnTo>
                      <a:pt x="743" y="1145"/>
                    </a:lnTo>
                    <a:lnTo>
                      <a:pt x="746" y="1160"/>
                    </a:lnTo>
                    <a:lnTo>
                      <a:pt x="748" y="1176"/>
                    </a:lnTo>
                    <a:lnTo>
                      <a:pt x="750" y="1192"/>
                    </a:lnTo>
                    <a:lnTo>
                      <a:pt x="752" y="1209"/>
                    </a:lnTo>
                    <a:lnTo>
                      <a:pt x="754" y="1225"/>
                    </a:lnTo>
                    <a:lnTo>
                      <a:pt x="755" y="1241"/>
                    </a:lnTo>
                    <a:lnTo>
                      <a:pt x="755" y="1257"/>
                    </a:lnTo>
                    <a:lnTo>
                      <a:pt x="756" y="1274"/>
                    </a:lnTo>
                    <a:lnTo>
                      <a:pt x="755" y="1288"/>
                    </a:lnTo>
                    <a:lnTo>
                      <a:pt x="755" y="1302"/>
                    </a:lnTo>
                    <a:lnTo>
                      <a:pt x="754" y="1317"/>
                    </a:lnTo>
                    <a:lnTo>
                      <a:pt x="753" y="1331"/>
                    </a:lnTo>
                    <a:lnTo>
                      <a:pt x="752" y="1345"/>
                    </a:lnTo>
                    <a:lnTo>
                      <a:pt x="750" y="1360"/>
                    </a:lnTo>
                    <a:lnTo>
                      <a:pt x="746" y="1388"/>
                    </a:lnTo>
                    <a:lnTo>
                      <a:pt x="740" y="1415"/>
                    </a:lnTo>
                    <a:lnTo>
                      <a:pt x="733" y="1442"/>
                    </a:lnTo>
                    <a:lnTo>
                      <a:pt x="725" y="1469"/>
                    </a:lnTo>
                    <a:lnTo>
                      <a:pt x="721" y="1482"/>
                    </a:lnTo>
                    <a:lnTo>
                      <a:pt x="716" y="1494"/>
                    </a:lnTo>
                    <a:lnTo>
                      <a:pt x="706" y="1521"/>
                    </a:lnTo>
                    <a:lnTo>
                      <a:pt x="695" y="1546"/>
                    </a:lnTo>
                    <a:lnTo>
                      <a:pt x="690" y="1558"/>
                    </a:lnTo>
                    <a:lnTo>
                      <a:pt x="683" y="1570"/>
                    </a:lnTo>
                    <a:lnTo>
                      <a:pt x="670" y="1594"/>
                    </a:lnTo>
                    <a:lnTo>
                      <a:pt x="655" y="1617"/>
                    </a:lnTo>
                    <a:lnTo>
                      <a:pt x="640" y="1639"/>
                    </a:lnTo>
                    <a:lnTo>
                      <a:pt x="624" y="1661"/>
                    </a:lnTo>
                    <a:lnTo>
                      <a:pt x="616" y="1672"/>
                    </a:lnTo>
                    <a:lnTo>
                      <a:pt x="608" y="1683"/>
                    </a:lnTo>
                    <a:lnTo>
                      <a:pt x="599" y="1693"/>
                    </a:lnTo>
                    <a:lnTo>
                      <a:pt x="590" y="1703"/>
                    </a:lnTo>
                    <a:lnTo>
                      <a:pt x="581" y="1713"/>
                    </a:lnTo>
                    <a:lnTo>
                      <a:pt x="572" y="1723"/>
                    </a:lnTo>
                    <a:lnTo>
                      <a:pt x="552" y="1741"/>
                    </a:lnTo>
                    <a:lnTo>
                      <a:pt x="532" y="1759"/>
                    </a:lnTo>
                    <a:lnTo>
                      <a:pt x="512" y="1776"/>
                    </a:lnTo>
                    <a:lnTo>
                      <a:pt x="489" y="1793"/>
                    </a:lnTo>
                    <a:lnTo>
                      <a:pt x="467" y="1808"/>
                    </a:lnTo>
                    <a:lnTo>
                      <a:pt x="456" y="1815"/>
                    </a:lnTo>
                    <a:lnTo>
                      <a:pt x="444" y="1822"/>
                    </a:lnTo>
                    <a:lnTo>
                      <a:pt x="421" y="1837"/>
                    </a:lnTo>
                    <a:lnTo>
                      <a:pt x="396" y="1849"/>
                    </a:lnTo>
                    <a:lnTo>
                      <a:pt x="372" y="1860"/>
                    </a:lnTo>
                    <a:lnTo>
                      <a:pt x="346" y="1871"/>
                    </a:lnTo>
                    <a:lnTo>
                      <a:pt x="320" y="1880"/>
                    </a:lnTo>
                    <a:lnTo>
                      <a:pt x="294" y="1888"/>
                    </a:lnTo>
                    <a:lnTo>
                      <a:pt x="280" y="1892"/>
                    </a:lnTo>
                    <a:lnTo>
                      <a:pt x="267" y="1895"/>
                    </a:lnTo>
                    <a:lnTo>
                      <a:pt x="253" y="1898"/>
                    </a:lnTo>
                    <a:lnTo>
                      <a:pt x="240" y="1901"/>
                    </a:lnTo>
                    <a:lnTo>
                      <a:pt x="0" y="2230"/>
                    </a:lnTo>
                    <a:lnTo>
                      <a:pt x="244" y="2543"/>
                    </a:lnTo>
                    <a:lnTo>
                      <a:pt x="274" y="2540"/>
                    </a:lnTo>
                    <a:lnTo>
                      <a:pt x="304" y="2535"/>
                    </a:lnTo>
                    <a:lnTo>
                      <a:pt x="333" y="2531"/>
                    </a:lnTo>
                    <a:lnTo>
                      <a:pt x="363" y="2525"/>
                    </a:lnTo>
                    <a:lnTo>
                      <a:pt x="392" y="2519"/>
                    </a:lnTo>
                    <a:lnTo>
                      <a:pt x="420" y="2512"/>
                    </a:lnTo>
                    <a:lnTo>
                      <a:pt x="449" y="2505"/>
                    </a:lnTo>
                    <a:lnTo>
                      <a:pt x="477" y="2497"/>
                    </a:lnTo>
                    <a:lnTo>
                      <a:pt x="505" y="2488"/>
                    </a:lnTo>
                    <a:lnTo>
                      <a:pt x="533" y="2479"/>
                    </a:lnTo>
                    <a:lnTo>
                      <a:pt x="560" y="2468"/>
                    </a:lnTo>
                    <a:lnTo>
                      <a:pt x="587" y="2457"/>
                    </a:lnTo>
                    <a:lnTo>
                      <a:pt x="614" y="2446"/>
                    </a:lnTo>
                    <a:lnTo>
                      <a:pt x="640" y="2434"/>
                    </a:lnTo>
                    <a:lnTo>
                      <a:pt x="666" y="2422"/>
                    </a:lnTo>
                    <a:lnTo>
                      <a:pt x="693" y="2409"/>
                    </a:lnTo>
                    <a:lnTo>
                      <a:pt x="718" y="2395"/>
                    </a:lnTo>
                    <a:lnTo>
                      <a:pt x="743" y="2381"/>
                    </a:lnTo>
                    <a:lnTo>
                      <a:pt x="768" y="2367"/>
                    </a:lnTo>
                    <a:lnTo>
                      <a:pt x="792" y="2352"/>
                    </a:lnTo>
                    <a:lnTo>
                      <a:pt x="816" y="2336"/>
                    </a:lnTo>
                    <a:lnTo>
                      <a:pt x="841" y="2320"/>
                    </a:lnTo>
                    <a:lnTo>
                      <a:pt x="864" y="2302"/>
                    </a:lnTo>
                    <a:lnTo>
                      <a:pt x="887" y="2285"/>
                    </a:lnTo>
                    <a:lnTo>
                      <a:pt x="909" y="2268"/>
                    </a:lnTo>
                    <a:lnTo>
                      <a:pt x="931" y="2250"/>
                    </a:lnTo>
                    <a:lnTo>
                      <a:pt x="952" y="2231"/>
                    </a:lnTo>
                    <a:lnTo>
                      <a:pt x="973" y="2212"/>
                    </a:lnTo>
                    <a:lnTo>
                      <a:pt x="995" y="2192"/>
                    </a:lnTo>
                    <a:lnTo>
                      <a:pt x="1015" y="2172"/>
                    </a:lnTo>
                    <a:lnTo>
                      <a:pt x="1035" y="2151"/>
                    </a:lnTo>
                    <a:lnTo>
                      <a:pt x="1054" y="2130"/>
                    </a:lnTo>
                    <a:lnTo>
                      <a:pt x="1073" y="2109"/>
                    </a:lnTo>
                    <a:lnTo>
                      <a:pt x="1092" y="2087"/>
                    </a:lnTo>
                    <a:lnTo>
                      <a:pt x="1110" y="2065"/>
                    </a:lnTo>
                    <a:lnTo>
                      <a:pt x="1127" y="2042"/>
                    </a:lnTo>
                    <a:lnTo>
                      <a:pt x="1144" y="2019"/>
                    </a:lnTo>
                    <a:lnTo>
                      <a:pt x="1161" y="1996"/>
                    </a:lnTo>
                    <a:lnTo>
                      <a:pt x="1177" y="1971"/>
                    </a:lnTo>
                    <a:lnTo>
                      <a:pt x="1192" y="1947"/>
                    </a:lnTo>
                    <a:lnTo>
                      <a:pt x="1207" y="1922"/>
                    </a:lnTo>
                    <a:lnTo>
                      <a:pt x="1222" y="1898"/>
                    </a:lnTo>
                    <a:lnTo>
                      <a:pt x="1235" y="1872"/>
                    </a:lnTo>
                    <a:lnTo>
                      <a:pt x="1249" y="1847"/>
                    </a:lnTo>
                    <a:lnTo>
                      <a:pt x="1261" y="1820"/>
                    </a:lnTo>
                    <a:lnTo>
                      <a:pt x="1273" y="1794"/>
                    </a:lnTo>
                    <a:lnTo>
                      <a:pt x="1285" y="1767"/>
                    </a:lnTo>
                    <a:lnTo>
                      <a:pt x="1296" y="1741"/>
                    </a:lnTo>
                    <a:lnTo>
                      <a:pt x="1307" y="1714"/>
                    </a:lnTo>
                    <a:lnTo>
                      <a:pt x="1316" y="1686"/>
                    </a:lnTo>
                    <a:lnTo>
                      <a:pt x="1326" y="1657"/>
                    </a:lnTo>
                    <a:lnTo>
                      <a:pt x="1334" y="1630"/>
                    </a:lnTo>
                    <a:lnTo>
                      <a:pt x="1342" y="1601"/>
                    </a:lnTo>
                    <a:lnTo>
                      <a:pt x="1349" y="1573"/>
                    </a:lnTo>
                    <a:lnTo>
                      <a:pt x="1356" y="1544"/>
                    </a:lnTo>
                    <a:lnTo>
                      <a:pt x="1361" y="1515"/>
                    </a:lnTo>
                    <a:lnTo>
                      <a:pt x="1367" y="1485"/>
                    </a:lnTo>
                    <a:lnTo>
                      <a:pt x="1371" y="1456"/>
                    </a:lnTo>
                    <a:lnTo>
                      <a:pt x="1375" y="1426"/>
                    </a:lnTo>
                    <a:lnTo>
                      <a:pt x="1378" y="1396"/>
                    </a:lnTo>
                    <a:lnTo>
                      <a:pt x="1381" y="1366"/>
                    </a:lnTo>
                    <a:lnTo>
                      <a:pt x="1383" y="1335"/>
                    </a:lnTo>
                    <a:lnTo>
                      <a:pt x="1384" y="1304"/>
                    </a:lnTo>
                    <a:lnTo>
                      <a:pt x="1384" y="1274"/>
                    </a:lnTo>
                    <a:lnTo>
                      <a:pt x="1384" y="1241"/>
                    </a:lnTo>
                    <a:lnTo>
                      <a:pt x="1382" y="1208"/>
                    </a:lnTo>
                    <a:lnTo>
                      <a:pt x="1380" y="1175"/>
                    </a:lnTo>
                    <a:lnTo>
                      <a:pt x="1377" y="1143"/>
                    </a:lnTo>
                    <a:lnTo>
                      <a:pt x="1374" y="1111"/>
                    </a:lnTo>
                    <a:lnTo>
                      <a:pt x="1369" y="1080"/>
                    </a:lnTo>
                    <a:lnTo>
                      <a:pt x="1364" y="1048"/>
                    </a:lnTo>
                    <a:lnTo>
                      <a:pt x="1358" y="1016"/>
                    </a:lnTo>
                    <a:lnTo>
                      <a:pt x="1351" y="986"/>
                    </a:lnTo>
                    <a:lnTo>
                      <a:pt x="1344" y="955"/>
                    </a:lnTo>
                    <a:lnTo>
                      <a:pt x="1336" y="925"/>
                    </a:lnTo>
                    <a:lnTo>
                      <a:pt x="1327" y="895"/>
                    </a:lnTo>
                    <a:lnTo>
                      <a:pt x="1317" y="864"/>
                    </a:lnTo>
                    <a:lnTo>
                      <a:pt x="1307" y="835"/>
                    </a:lnTo>
                    <a:lnTo>
                      <a:pt x="1295" y="806"/>
                    </a:lnTo>
                    <a:lnTo>
                      <a:pt x="1283" y="778"/>
                    </a:lnTo>
                    <a:lnTo>
                      <a:pt x="1270" y="749"/>
                    </a:lnTo>
                    <a:lnTo>
                      <a:pt x="1257" y="721"/>
                    </a:lnTo>
                    <a:lnTo>
                      <a:pt x="1244" y="693"/>
                    </a:lnTo>
                    <a:lnTo>
                      <a:pt x="1229" y="666"/>
                    </a:lnTo>
                    <a:lnTo>
                      <a:pt x="1214" y="639"/>
                    </a:lnTo>
                    <a:lnTo>
                      <a:pt x="1199" y="613"/>
                    </a:lnTo>
                    <a:lnTo>
                      <a:pt x="1182" y="587"/>
                    </a:lnTo>
                    <a:lnTo>
                      <a:pt x="1165" y="561"/>
                    </a:lnTo>
                    <a:lnTo>
                      <a:pt x="1148" y="535"/>
                    </a:lnTo>
                    <a:lnTo>
                      <a:pt x="1129" y="511"/>
                    </a:lnTo>
                    <a:lnTo>
                      <a:pt x="1110" y="487"/>
                    </a:lnTo>
                    <a:lnTo>
                      <a:pt x="1091" y="463"/>
                    </a:lnTo>
                    <a:lnTo>
                      <a:pt x="1071" y="440"/>
                    </a:lnTo>
                    <a:lnTo>
                      <a:pt x="1051" y="417"/>
                    </a:lnTo>
                    <a:lnTo>
                      <a:pt x="1030" y="394"/>
                    </a:lnTo>
                    <a:lnTo>
                      <a:pt x="1009" y="372"/>
                    </a:lnTo>
                    <a:lnTo>
                      <a:pt x="987" y="351"/>
                    </a:lnTo>
                    <a:lnTo>
                      <a:pt x="964" y="330"/>
                    </a:lnTo>
                    <a:lnTo>
                      <a:pt x="941" y="310"/>
                    </a:lnTo>
                    <a:lnTo>
                      <a:pt x="918" y="290"/>
                    </a:lnTo>
                    <a:lnTo>
                      <a:pt x="894" y="271"/>
                    </a:lnTo>
                    <a:lnTo>
                      <a:pt x="870" y="253"/>
                    </a:lnTo>
                    <a:lnTo>
                      <a:pt x="845" y="234"/>
                    </a:lnTo>
                    <a:lnTo>
                      <a:pt x="819" y="217"/>
                    </a:lnTo>
                    <a:lnTo>
                      <a:pt x="793" y="200"/>
                    </a:lnTo>
                    <a:lnTo>
                      <a:pt x="767" y="184"/>
                    </a:lnTo>
                    <a:lnTo>
                      <a:pt x="741" y="168"/>
                    </a:lnTo>
                    <a:lnTo>
                      <a:pt x="714" y="153"/>
                    </a:lnTo>
                    <a:lnTo>
                      <a:pt x="687" y="139"/>
                    </a:lnTo>
                    <a:lnTo>
                      <a:pt x="658" y="125"/>
                    </a:lnTo>
                    <a:lnTo>
                      <a:pt x="630" y="112"/>
                    </a:lnTo>
                    <a:lnTo>
                      <a:pt x="602" y="100"/>
                    </a:lnTo>
                    <a:lnTo>
                      <a:pt x="573" y="88"/>
                    </a:lnTo>
                    <a:lnTo>
                      <a:pt x="544" y="76"/>
                    </a:lnTo>
                    <a:lnTo>
                      <a:pt x="515" y="66"/>
                    </a:lnTo>
                    <a:lnTo>
                      <a:pt x="484" y="56"/>
                    </a:lnTo>
                    <a:lnTo>
                      <a:pt x="454" y="48"/>
                    </a:lnTo>
                    <a:lnTo>
                      <a:pt x="424" y="39"/>
                    </a:lnTo>
                    <a:lnTo>
                      <a:pt x="394" y="32"/>
                    </a:lnTo>
                    <a:lnTo>
                      <a:pt x="363" y="25"/>
                    </a:lnTo>
                    <a:lnTo>
                      <a:pt x="331" y="19"/>
                    </a:lnTo>
                    <a:lnTo>
                      <a:pt x="299" y="14"/>
                    </a:lnTo>
                    <a:lnTo>
                      <a:pt x="268" y="10"/>
                    </a:lnTo>
                    <a:lnTo>
                      <a:pt x="236" y="6"/>
                    </a:lnTo>
                    <a:lnTo>
                      <a:pt x="204" y="3"/>
                    </a:lnTo>
                    <a:lnTo>
                      <a:pt x="170" y="1"/>
                    </a:lnTo>
                    <a:lnTo>
                      <a:pt x="138" y="0"/>
                    </a:lnTo>
                    <a:lnTo>
                      <a:pt x="105" y="0"/>
                    </a:lnTo>
                    <a:lnTo>
                      <a:pt x="340" y="337"/>
                    </a:lnTo>
                    <a:lnTo>
                      <a:pt x="114" y="635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48" name="Freeform 5"/>
              <p:cNvSpPr>
                <a:spLocks noChangeAspect="1"/>
              </p:cNvSpPr>
              <p:nvPr/>
            </p:nvSpPr>
            <p:spPr bwMode="auto">
              <a:xfrm>
                <a:off x="1862" y="1377"/>
                <a:ext cx="1379" cy="2543"/>
              </a:xfrm>
              <a:custGeom>
                <a:avLst/>
                <a:gdLst>
                  <a:gd name="T0" fmla="*/ 1218 w 1379"/>
                  <a:gd name="T1" fmla="*/ 1901 h 2543"/>
                  <a:gd name="T2" fmla="*/ 1155 w 1379"/>
                  <a:gd name="T3" fmla="*/ 1892 h 2543"/>
                  <a:gd name="T4" fmla="*/ 1095 w 1379"/>
                  <a:gd name="T5" fmla="*/ 1877 h 2543"/>
                  <a:gd name="T6" fmla="*/ 1038 w 1379"/>
                  <a:gd name="T7" fmla="*/ 1856 h 2543"/>
                  <a:gd name="T8" fmla="*/ 969 w 1379"/>
                  <a:gd name="T9" fmla="*/ 1821 h 2543"/>
                  <a:gd name="T10" fmla="*/ 918 w 1379"/>
                  <a:gd name="T11" fmla="*/ 1789 h 2543"/>
                  <a:gd name="T12" fmla="*/ 858 w 1379"/>
                  <a:gd name="T13" fmla="*/ 1743 h 2543"/>
                  <a:gd name="T14" fmla="*/ 805 w 1379"/>
                  <a:gd name="T15" fmla="*/ 1690 h 2543"/>
                  <a:gd name="T16" fmla="*/ 759 w 1379"/>
                  <a:gd name="T17" fmla="*/ 1630 h 2543"/>
                  <a:gd name="T18" fmla="*/ 720 w 1379"/>
                  <a:gd name="T19" fmla="*/ 1566 h 2543"/>
                  <a:gd name="T20" fmla="*/ 687 w 1379"/>
                  <a:gd name="T21" fmla="*/ 1496 h 2543"/>
                  <a:gd name="T22" fmla="*/ 668 w 1379"/>
                  <a:gd name="T23" fmla="*/ 1438 h 2543"/>
                  <a:gd name="T24" fmla="*/ 652 w 1379"/>
                  <a:gd name="T25" fmla="*/ 1362 h 2543"/>
                  <a:gd name="T26" fmla="*/ 645 w 1379"/>
                  <a:gd name="T27" fmla="*/ 1282 h 2543"/>
                  <a:gd name="T28" fmla="*/ 648 w 1379"/>
                  <a:gd name="T29" fmla="*/ 1197 h 2543"/>
                  <a:gd name="T30" fmla="*/ 659 w 1379"/>
                  <a:gd name="T31" fmla="*/ 1129 h 2543"/>
                  <a:gd name="T32" fmla="*/ 686 w 1379"/>
                  <a:gd name="T33" fmla="*/ 1039 h 2543"/>
                  <a:gd name="T34" fmla="*/ 725 w 1379"/>
                  <a:gd name="T35" fmla="*/ 955 h 2543"/>
                  <a:gd name="T36" fmla="*/ 768 w 1379"/>
                  <a:gd name="T37" fmla="*/ 889 h 2543"/>
                  <a:gd name="T38" fmla="*/ 836 w 1379"/>
                  <a:gd name="T39" fmla="*/ 810 h 2543"/>
                  <a:gd name="T40" fmla="*/ 906 w 1379"/>
                  <a:gd name="T41" fmla="*/ 751 h 2543"/>
                  <a:gd name="T42" fmla="*/ 971 w 1379"/>
                  <a:gd name="T43" fmla="*/ 707 h 2543"/>
                  <a:gd name="T44" fmla="*/ 1056 w 1379"/>
                  <a:gd name="T45" fmla="*/ 668 h 2543"/>
                  <a:gd name="T46" fmla="*/ 1132 w 1379"/>
                  <a:gd name="T47" fmla="*/ 645 h 2543"/>
                  <a:gd name="T48" fmla="*/ 1076 w 1379"/>
                  <a:gd name="T49" fmla="*/ 7 h 2543"/>
                  <a:gd name="T50" fmla="*/ 959 w 1379"/>
                  <a:gd name="T51" fmla="*/ 31 h 2543"/>
                  <a:gd name="T52" fmla="*/ 847 w 1379"/>
                  <a:gd name="T53" fmla="*/ 65 h 2543"/>
                  <a:gd name="T54" fmla="*/ 740 w 1379"/>
                  <a:gd name="T55" fmla="*/ 109 h 2543"/>
                  <a:gd name="T56" fmla="*/ 638 w 1379"/>
                  <a:gd name="T57" fmla="*/ 162 h 2543"/>
                  <a:gd name="T58" fmla="*/ 541 w 1379"/>
                  <a:gd name="T59" fmla="*/ 223 h 2543"/>
                  <a:gd name="T60" fmla="*/ 451 w 1379"/>
                  <a:gd name="T61" fmla="*/ 294 h 2543"/>
                  <a:gd name="T62" fmla="*/ 367 w 1379"/>
                  <a:gd name="T63" fmla="*/ 371 h 2543"/>
                  <a:gd name="T64" fmla="*/ 291 w 1379"/>
                  <a:gd name="T65" fmla="*/ 456 h 2543"/>
                  <a:gd name="T66" fmla="*/ 222 w 1379"/>
                  <a:gd name="T67" fmla="*/ 546 h 2543"/>
                  <a:gd name="T68" fmla="*/ 162 w 1379"/>
                  <a:gd name="T69" fmla="*/ 644 h 2543"/>
                  <a:gd name="T70" fmla="*/ 110 w 1379"/>
                  <a:gd name="T71" fmla="*/ 747 h 2543"/>
                  <a:gd name="T72" fmla="*/ 67 w 1379"/>
                  <a:gd name="T73" fmla="*/ 855 h 2543"/>
                  <a:gd name="T74" fmla="*/ 35 w 1379"/>
                  <a:gd name="T75" fmla="*/ 968 h 2543"/>
                  <a:gd name="T76" fmla="*/ 13 w 1379"/>
                  <a:gd name="T77" fmla="*/ 1084 h 2543"/>
                  <a:gd name="T78" fmla="*/ 2 w 1379"/>
                  <a:gd name="T79" fmla="*/ 1205 h 2543"/>
                  <a:gd name="T80" fmla="*/ 2 w 1379"/>
                  <a:gd name="T81" fmla="*/ 1331 h 2543"/>
                  <a:gd name="T82" fmla="*/ 15 w 1379"/>
                  <a:gd name="T83" fmla="*/ 1459 h 2543"/>
                  <a:gd name="T84" fmla="*/ 40 w 1379"/>
                  <a:gd name="T85" fmla="*/ 1584 h 2543"/>
                  <a:gd name="T86" fmla="*/ 77 w 1379"/>
                  <a:gd name="T87" fmla="*/ 1704 h 2543"/>
                  <a:gd name="T88" fmla="*/ 126 w 1379"/>
                  <a:gd name="T89" fmla="*/ 1817 h 2543"/>
                  <a:gd name="T90" fmla="*/ 185 w 1379"/>
                  <a:gd name="T91" fmla="*/ 1926 h 2543"/>
                  <a:gd name="T92" fmla="*/ 254 w 1379"/>
                  <a:gd name="T93" fmla="*/ 2028 h 2543"/>
                  <a:gd name="T94" fmla="*/ 332 w 1379"/>
                  <a:gd name="T95" fmla="*/ 2122 h 2543"/>
                  <a:gd name="T96" fmla="*/ 419 w 1379"/>
                  <a:gd name="T97" fmla="*/ 2209 h 2543"/>
                  <a:gd name="T98" fmla="*/ 512 w 1379"/>
                  <a:gd name="T99" fmla="*/ 2287 h 2543"/>
                  <a:gd name="T100" fmla="*/ 614 w 1379"/>
                  <a:gd name="T101" fmla="*/ 2356 h 2543"/>
                  <a:gd name="T102" fmla="*/ 723 w 1379"/>
                  <a:gd name="T103" fmla="*/ 2415 h 2543"/>
                  <a:gd name="T104" fmla="*/ 836 w 1379"/>
                  <a:gd name="T105" fmla="*/ 2465 h 2543"/>
                  <a:gd name="T106" fmla="*/ 956 w 1379"/>
                  <a:gd name="T107" fmla="*/ 2502 h 2543"/>
                  <a:gd name="T108" fmla="*/ 1081 w 1379"/>
                  <a:gd name="T109" fmla="*/ 2528 h 2543"/>
                  <a:gd name="T110" fmla="*/ 1209 w 1379"/>
                  <a:gd name="T111" fmla="*/ 2541 h 2543"/>
                  <a:gd name="T112" fmla="*/ 1266 w 1379"/>
                  <a:gd name="T113" fmla="*/ 1904 h 254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79"/>
                  <a:gd name="T172" fmla="*/ 0 h 2543"/>
                  <a:gd name="T173" fmla="*/ 1379 w 1379"/>
                  <a:gd name="T174" fmla="*/ 2543 h 254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79" h="2543">
                    <a:moveTo>
                      <a:pt x="1266" y="1904"/>
                    </a:moveTo>
                    <a:lnTo>
                      <a:pt x="1250" y="1904"/>
                    </a:lnTo>
                    <a:lnTo>
                      <a:pt x="1234" y="1903"/>
                    </a:lnTo>
                    <a:lnTo>
                      <a:pt x="1218" y="1901"/>
                    </a:lnTo>
                    <a:lnTo>
                      <a:pt x="1202" y="1900"/>
                    </a:lnTo>
                    <a:lnTo>
                      <a:pt x="1186" y="1897"/>
                    </a:lnTo>
                    <a:lnTo>
                      <a:pt x="1170" y="1895"/>
                    </a:lnTo>
                    <a:lnTo>
                      <a:pt x="1155" y="1892"/>
                    </a:lnTo>
                    <a:lnTo>
                      <a:pt x="1140" y="1889"/>
                    </a:lnTo>
                    <a:lnTo>
                      <a:pt x="1125" y="1885"/>
                    </a:lnTo>
                    <a:lnTo>
                      <a:pt x="1110" y="1881"/>
                    </a:lnTo>
                    <a:lnTo>
                      <a:pt x="1095" y="1877"/>
                    </a:lnTo>
                    <a:lnTo>
                      <a:pt x="1081" y="1872"/>
                    </a:lnTo>
                    <a:lnTo>
                      <a:pt x="1066" y="1867"/>
                    </a:lnTo>
                    <a:lnTo>
                      <a:pt x="1052" y="1861"/>
                    </a:lnTo>
                    <a:lnTo>
                      <a:pt x="1038" y="1856"/>
                    </a:lnTo>
                    <a:lnTo>
                      <a:pt x="1023" y="1850"/>
                    </a:lnTo>
                    <a:lnTo>
                      <a:pt x="995" y="1837"/>
                    </a:lnTo>
                    <a:lnTo>
                      <a:pt x="982" y="1830"/>
                    </a:lnTo>
                    <a:lnTo>
                      <a:pt x="969" y="1821"/>
                    </a:lnTo>
                    <a:lnTo>
                      <a:pt x="956" y="1814"/>
                    </a:lnTo>
                    <a:lnTo>
                      <a:pt x="943" y="1806"/>
                    </a:lnTo>
                    <a:lnTo>
                      <a:pt x="930" y="1798"/>
                    </a:lnTo>
                    <a:lnTo>
                      <a:pt x="918" y="1789"/>
                    </a:lnTo>
                    <a:lnTo>
                      <a:pt x="894" y="1772"/>
                    </a:lnTo>
                    <a:lnTo>
                      <a:pt x="882" y="1762"/>
                    </a:lnTo>
                    <a:lnTo>
                      <a:pt x="869" y="1753"/>
                    </a:lnTo>
                    <a:lnTo>
                      <a:pt x="858" y="1743"/>
                    </a:lnTo>
                    <a:lnTo>
                      <a:pt x="847" y="1733"/>
                    </a:lnTo>
                    <a:lnTo>
                      <a:pt x="836" y="1722"/>
                    </a:lnTo>
                    <a:lnTo>
                      <a:pt x="826" y="1712"/>
                    </a:lnTo>
                    <a:lnTo>
                      <a:pt x="805" y="1690"/>
                    </a:lnTo>
                    <a:lnTo>
                      <a:pt x="795" y="1679"/>
                    </a:lnTo>
                    <a:lnTo>
                      <a:pt x="786" y="1667"/>
                    </a:lnTo>
                    <a:lnTo>
                      <a:pt x="768" y="1642"/>
                    </a:lnTo>
                    <a:lnTo>
                      <a:pt x="759" y="1630"/>
                    </a:lnTo>
                    <a:lnTo>
                      <a:pt x="750" y="1618"/>
                    </a:lnTo>
                    <a:lnTo>
                      <a:pt x="734" y="1592"/>
                    </a:lnTo>
                    <a:lnTo>
                      <a:pt x="727" y="1579"/>
                    </a:lnTo>
                    <a:lnTo>
                      <a:pt x="720" y="1566"/>
                    </a:lnTo>
                    <a:lnTo>
                      <a:pt x="705" y="1539"/>
                    </a:lnTo>
                    <a:lnTo>
                      <a:pt x="699" y="1525"/>
                    </a:lnTo>
                    <a:lnTo>
                      <a:pt x="693" y="1511"/>
                    </a:lnTo>
                    <a:lnTo>
                      <a:pt x="687" y="1496"/>
                    </a:lnTo>
                    <a:lnTo>
                      <a:pt x="682" y="1482"/>
                    </a:lnTo>
                    <a:lnTo>
                      <a:pt x="677" y="1467"/>
                    </a:lnTo>
                    <a:lnTo>
                      <a:pt x="672" y="1452"/>
                    </a:lnTo>
                    <a:lnTo>
                      <a:pt x="668" y="1438"/>
                    </a:lnTo>
                    <a:lnTo>
                      <a:pt x="664" y="1423"/>
                    </a:lnTo>
                    <a:lnTo>
                      <a:pt x="660" y="1408"/>
                    </a:lnTo>
                    <a:lnTo>
                      <a:pt x="657" y="1393"/>
                    </a:lnTo>
                    <a:lnTo>
                      <a:pt x="652" y="1362"/>
                    </a:lnTo>
                    <a:lnTo>
                      <a:pt x="648" y="1329"/>
                    </a:lnTo>
                    <a:lnTo>
                      <a:pt x="646" y="1314"/>
                    </a:lnTo>
                    <a:lnTo>
                      <a:pt x="645" y="1298"/>
                    </a:lnTo>
                    <a:lnTo>
                      <a:pt x="645" y="1282"/>
                    </a:lnTo>
                    <a:lnTo>
                      <a:pt x="645" y="1266"/>
                    </a:lnTo>
                    <a:lnTo>
                      <a:pt x="645" y="1238"/>
                    </a:lnTo>
                    <a:lnTo>
                      <a:pt x="647" y="1210"/>
                    </a:lnTo>
                    <a:lnTo>
                      <a:pt x="648" y="1197"/>
                    </a:lnTo>
                    <a:lnTo>
                      <a:pt x="650" y="1182"/>
                    </a:lnTo>
                    <a:lnTo>
                      <a:pt x="654" y="1155"/>
                    </a:lnTo>
                    <a:lnTo>
                      <a:pt x="656" y="1142"/>
                    </a:lnTo>
                    <a:lnTo>
                      <a:pt x="659" y="1129"/>
                    </a:lnTo>
                    <a:lnTo>
                      <a:pt x="665" y="1103"/>
                    </a:lnTo>
                    <a:lnTo>
                      <a:pt x="673" y="1077"/>
                    </a:lnTo>
                    <a:lnTo>
                      <a:pt x="681" y="1052"/>
                    </a:lnTo>
                    <a:lnTo>
                      <a:pt x="686" y="1039"/>
                    </a:lnTo>
                    <a:lnTo>
                      <a:pt x="690" y="1026"/>
                    </a:lnTo>
                    <a:lnTo>
                      <a:pt x="701" y="1002"/>
                    </a:lnTo>
                    <a:lnTo>
                      <a:pt x="712" y="978"/>
                    </a:lnTo>
                    <a:lnTo>
                      <a:pt x="725" y="955"/>
                    </a:lnTo>
                    <a:lnTo>
                      <a:pt x="739" y="932"/>
                    </a:lnTo>
                    <a:lnTo>
                      <a:pt x="753" y="910"/>
                    </a:lnTo>
                    <a:lnTo>
                      <a:pt x="760" y="900"/>
                    </a:lnTo>
                    <a:lnTo>
                      <a:pt x="768" y="889"/>
                    </a:lnTo>
                    <a:lnTo>
                      <a:pt x="783" y="867"/>
                    </a:lnTo>
                    <a:lnTo>
                      <a:pt x="800" y="847"/>
                    </a:lnTo>
                    <a:lnTo>
                      <a:pt x="817" y="828"/>
                    </a:lnTo>
                    <a:lnTo>
                      <a:pt x="836" y="810"/>
                    </a:lnTo>
                    <a:lnTo>
                      <a:pt x="854" y="792"/>
                    </a:lnTo>
                    <a:lnTo>
                      <a:pt x="874" y="775"/>
                    </a:lnTo>
                    <a:lnTo>
                      <a:pt x="895" y="759"/>
                    </a:lnTo>
                    <a:lnTo>
                      <a:pt x="906" y="751"/>
                    </a:lnTo>
                    <a:lnTo>
                      <a:pt x="916" y="743"/>
                    </a:lnTo>
                    <a:lnTo>
                      <a:pt x="938" y="729"/>
                    </a:lnTo>
                    <a:lnTo>
                      <a:pt x="960" y="715"/>
                    </a:lnTo>
                    <a:lnTo>
                      <a:pt x="971" y="707"/>
                    </a:lnTo>
                    <a:lnTo>
                      <a:pt x="983" y="701"/>
                    </a:lnTo>
                    <a:lnTo>
                      <a:pt x="1006" y="689"/>
                    </a:lnTo>
                    <a:lnTo>
                      <a:pt x="1030" y="678"/>
                    </a:lnTo>
                    <a:lnTo>
                      <a:pt x="1056" y="668"/>
                    </a:lnTo>
                    <a:lnTo>
                      <a:pt x="1068" y="664"/>
                    </a:lnTo>
                    <a:lnTo>
                      <a:pt x="1081" y="659"/>
                    </a:lnTo>
                    <a:lnTo>
                      <a:pt x="1106" y="651"/>
                    </a:lnTo>
                    <a:lnTo>
                      <a:pt x="1132" y="645"/>
                    </a:lnTo>
                    <a:lnTo>
                      <a:pt x="1379" y="313"/>
                    </a:lnTo>
                    <a:lnTo>
                      <a:pt x="1135" y="0"/>
                    </a:lnTo>
                    <a:lnTo>
                      <a:pt x="1105" y="3"/>
                    </a:lnTo>
                    <a:lnTo>
                      <a:pt x="1076" y="7"/>
                    </a:lnTo>
                    <a:lnTo>
                      <a:pt x="1046" y="12"/>
                    </a:lnTo>
                    <a:lnTo>
                      <a:pt x="1016" y="18"/>
                    </a:lnTo>
                    <a:lnTo>
                      <a:pt x="988" y="24"/>
                    </a:lnTo>
                    <a:lnTo>
                      <a:pt x="959" y="31"/>
                    </a:lnTo>
                    <a:lnTo>
                      <a:pt x="931" y="39"/>
                    </a:lnTo>
                    <a:lnTo>
                      <a:pt x="903" y="47"/>
                    </a:lnTo>
                    <a:lnTo>
                      <a:pt x="874" y="56"/>
                    </a:lnTo>
                    <a:lnTo>
                      <a:pt x="847" y="65"/>
                    </a:lnTo>
                    <a:lnTo>
                      <a:pt x="820" y="76"/>
                    </a:lnTo>
                    <a:lnTo>
                      <a:pt x="793" y="87"/>
                    </a:lnTo>
                    <a:lnTo>
                      <a:pt x="766" y="98"/>
                    </a:lnTo>
                    <a:lnTo>
                      <a:pt x="740" y="109"/>
                    </a:lnTo>
                    <a:lnTo>
                      <a:pt x="713" y="122"/>
                    </a:lnTo>
                    <a:lnTo>
                      <a:pt x="688" y="135"/>
                    </a:lnTo>
                    <a:lnTo>
                      <a:pt x="663" y="148"/>
                    </a:lnTo>
                    <a:lnTo>
                      <a:pt x="638" y="162"/>
                    </a:lnTo>
                    <a:lnTo>
                      <a:pt x="613" y="177"/>
                    </a:lnTo>
                    <a:lnTo>
                      <a:pt x="589" y="192"/>
                    </a:lnTo>
                    <a:lnTo>
                      <a:pt x="565" y="207"/>
                    </a:lnTo>
                    <a:lnTo>
                      <a:pt x="541" y="223"/>
                    </a:lnTo>
                    <a:lnTo>
                      <a:pt x="518" y="241"/>
                    </a:lnTo>
                    <a:lnTo>
                      <a:pt x="495" y="258"/>
                    </a:lnTo>
                    <a:lnTo>
                      <a:pt x="473" y="276"/>
                    </a:lnTo>
                    <a:lnTo>
                      <a:pt x="451" y="294"/>
                    </a:lnTo>
                    <a:lnTo>
                      <a:pt x="430" y="312"/>
                    </a:lnTo>
                    <a:lnTo>
                      <a:pt x="409" y="331"/>
                    </a:lnTo>
                    <a:lnTo>
                      <a:pt x="387" y="351"/>
                    </a:lnTo>
                    <a:lnTo>
                      <a:pt x="367" y="371"/>
                    </a:lnTo>
                    <a:lnTo>
                      <a:pt x="347" y="392"/>
                    </a:lnTo>
                    <a:lnTo>
                      <a:pt x="328" y="413"/>
                    </a:lnTo>
                    <a:lnTo>
                      <a:pt x="309" y="434"/>
                    </a:lnTo>
                    <a:lnTo>
                      <a:pt x="291" y="456"/>
                    </a:lnTo>
                    <a:lnTo>
                      <a:pt x="273" y="478"/>
                    </a:lnTo>
                    <a:lnTo>
                      <a:pt x="256" y="500"/>
                    </a:lnTo>
                    <a:lnTo>
                      <a:pt x="238" y="523"/>
                    </a:lnTo>
                    <a:lnTo>
                      <a:pt x="222" y="546"/>
                    </a:lnTo>
                    <a:lnTo>
                      <a:pt x="206" y="571"/>
                    </a:lnTo>
                    <a:lnTo>
                      <a:pt x="191" y="595"/>
                    </a:lnTo>
                    <a:lnTo>
                      <a:pt x="176" y="619"/>
                    </a:lnTo>
                    <a:lnTo>
                      <a:pt x="162" y="644"/>
                    </a:lnTo>
                    <a:lnTo>
                      <a:pt x="148" y="669"/>
                    </a:lnTo>
                    <a:lnTo>
                      <a:pt x="135" y="695"/>
                    </a:lnTo>
                    <a:lnTo>
                      <a:pt x="122" y="721"/>
                    </a:lnTo>
                    <a:lnTo>
                      <a:pt x="110" y="747"/>
                    </a:lnTo>
                    <a:lnTo>
                      <a:pt x="99" y="774"/>
                    </a:lnTo>
                    <a:lnTo>
                      <a:pt x="88" y="800"/>
                    </a:lnTo>
                    <a:lnTo>
                      <a:pt x="77" y="827"/>
                    </a:lnTo>
                    <a:lnTo>
                      <a:pt x="67" y="855"/>
                    </a:lnTo>
                    <a:lnTo>
                      <a:pt x="58" y="883"/>
                    </a:lnTo>
                    <a:lnTo>
                      <a:pt x="50" y="911"/>
                    </a:lnTo>
                    <a:lnTo>
                      <a:pt x="42" y="939"/>
                    </a:lnTo>
                    <a:lnTo>
                      <a:pt x="35" y="968"/>
                    </a:lnTo>
                    <a:lnTo>
                      <a:pt x="28" y="996"/>
                    </a:lnTo>
                    <a:lnTo>
                      <a:pt x="23" y="1025"/>
                    </a:lnTo>
                    <a:lnTo>
                      <a:pt x="17" y="1055"/>
                    </a:lnTo>
                    <a:lnTo>
                      <a:pt x="13" y="1084"/>
                    </a:lnTo>
                    <a:lnTo>
                      <a:pt x="9" y="1114"/>
                    </a:lnTo>
                    <a:lnTo>
                      <a:pt x="6" y="1144"/>
                    </a:lnTo>
                    <a:lnTo>
                      <a:pt x="3" y="1174"/>
                    </a:lnTo>
                    <a:lnTo>
                      <a:pt x="2" y="1205"/>
                    </a:lnTo>
                    <a:lnTo>
                      <a:pt x="0" y="1235"/>
                    </a:lnTo>
                    <a:lnTo>
                      <a:pt x="0" y="1266"/>
                    </a:lnTo>
                    <a:lnTo>
                      <a:pt x="1" y="1298"/>
                    </a:lnTo>
                    <a:lnTo>
                      <a:pt x="2" y="1331"/>
                    </a:lnTo>
                    <a:lnTo>
                      <a:pt x="4" y="1364"/>
                    </a:lnTo>
                    <a:lnTo>
                      <a:pt x="7" y="1396"/>
                    </a:lnTo>
                    <a:lnTo>
                      <a:pt x="10" y="1428"/>
                    </a:lnTo>
                    <a:lnTo>
                      <a:pt x="15" y="1459"/>
                    </a:lnTo>
                    <a:lnTo>
                      <a:pt x="20" y="1491"/>
                    </a:lnTo>
                    <a:lnTo>
                      <a:pt x="26" y="1523"/>
                    </a:lnTo>
                    <a:lnTo>
                      <a:pt x="33" y="1553"/>
                    </a:lnTo>
                    <a:lnTo>
                      <a:pt x="40" y="1584"/>
                    </a:lnTo>
                    <a:lnTo>
                      <a:pt x="48" y="1614"/>
                    </a:lnTo>
                    <a:lnTo>
                      <a:pt x="57" y="1644"/>
                    </a:lnTo>
                    <a:lnTo>
                      <a:pt x="67" y="1674"/>
                    </a:lnTo>
                    <a:lnTo>
                      <a:pt x="77" y="1704"/>
                    </a:lnTo>
                    <a:lnTo>
                      <a:pt x="89" y="1733"/>
                    </a:lnTo>
                    <a:lnTo>
                      <a:pt x="101" y="1761"/>
                    </a:lnTo>
                    <a:lnTo>
                      <a:pt x="113" y="1789"/>
                    </a:lnTo>
                    <a:lnTo>
                      <a:pt x="126" y="1817"/>
                    </a:lnTo>
                    <a:lnTo>
                      <a:pt x="140" y="1846"/>
                    </a:lnTo>
                    <a:lnTo>
                      <a:pt x="154" y="1873"/>
                    </a:lnTo>
                    <a:lnTo>
                      <a:pt x="169" y="1900"/>
                    </a:lnTo>
                    <a:lnTo>
                      <a:pt x="185" y="1926"/>
                    </a:lnTo>
                    <a:lnTo>
                      <a:pt x="201" y="1952"/>
                    </a:lnTo>
                    <a:lnTo>
                      <a:pt x="218" y="1977"/>
                    </a:lnTo>
                    <a:lnTo>
                      <a:pt x="235" y="2003"/>
                    </a:lnTo>
                    <a:lnTo>
                      <a:pt x="254" y="2028"/>
                    </a:lnTo>
                    <a:lnTo>
                      <a:pt x="273" y="2052"/>
                    </a:lnTo>
                    <a:lnTo>
                      <a:pt x="292" y="2076"/>
                    </a:lnTo>
                    <a:lnTo>
                      <a:pt x="311" y="2099"/>
                    </a:lnTo>
                    <a:lnTo>
                      <a:pt x="332" y="2122"/>
                    </a:lnTo>
                    <a:lnTo>
                      <a:pt x="352" y="2145"/>
                    </a:lnTo>
                    <a:lnTo>
                      <a:pt x="374" y="2167"/>
                    </a:lnTo>
                    <a:lnTo>
                      <a:pt x="395" y="2188"/>
                    </a:lnTo>
                    <a:lnTo>
                      <a:pt x="419" y="2209"/>
                    </a:lnTo>
                    <a:lnTo>
                      <a:pt x="441" y="2229"/>
                    </a:lnTo>
                    <a:lnTo>
                      <a:pt x="464" y="2249"/>
                    </a:lnTo>
                    <a:lnTo>
                      <a:pt x="488" y="2268"/>
                    </a:lnTo>
                    <a:lnTo>
                      <a:pt x="512" y="2287"/>
                    </a:lnTo>
                    <a:lnTo>
                      <a:pt x="537" y="2306"/>
                    </a:lnTo>
                    <a:lnTo>
                      <a:pt x="563" y="2323"/>
                    </a:lnTo>
                    <a:lnTo>
                      <a:pt x="588" y="2340"/>
                    </a:lnTo>
                    <a:lnTo>
                      <a:pt x="614" y="2356"/>
                    </a:lnTo>
                    <a:lnTo>
                      <a:pt x="641" y="2372"/>
                    </a:lnTo>
                    <a:lnTo>
                      <a:pt x="667" y="2387"/>
                    </a:lnTo>
                    <a:lnTo>
                      <a:pt x="694" y="2401"/>
                    </a:lnTo>
                    <a:lnTo>
                      <a:pt x="723" y="2415"/>
                    </a:lnTo>
                    <a:lnTo>
                      <a:pt x="751" y="2428"/>
                    </a:lnTo>
                    <a:lnTo>
                      <a:pt x="779" y="2441"/>
                    </a:lnTo>
                    <a:lnTo>
                      <a:pt x="808" y="2452"/>
                    </a:lnTo>
                    <a:lnTo>
                      <a:pt x="836" y="2465"/>
                    </a:lnTo>
                    <a:lnTo>
                      <a:pt x="866" y="2475"/>
                    </a:lnTo>
                    <a:lnTo>
                      <a:pt x="896" y="2485"/>
                    </a:lnTo>
                    <a:lnTo>
                      <a:pt x="926" y="2494"/>
                    </a:lnTo>
                    <a:lnTo>
                      <a:pt x="956" y="2502"/>
                    </a:lnTo>
                    <a:lnTo>
                      <a:pt x="987" y="2510"/>
                    </a:lnTo>
                    <a:lnTo>
                      <a:pt x="1017" y="2516"/>
                    </a:lnTo>
                    <a:lnTo>
                      <a:pt x="1049" y="2522"/>
                    </a:lnTo>
                    <a:lnTo>
                      <a:pt x="1081" y="2528"/>
                    </a:lnTo>
                    <a:lnTo>
                      <a:pt x="1112" y="2532"/>
                    </a:lnTo>
                    <a:lnTo>
                      <a:pt x="1144" y="2536"/>
                    </a:lnTo>
                    <a:lnTo>
                      <a:pt x="1176" y="2539"/>
                    </a:lnTo>
                    <a:lnTo>
                      <a:pt x="1209" y="2541"/>
                    </a:lnTo>
                    <a:lnTo>
                      <a:pt x="1241" y="2543"/>
                    </a:lnTo>
                    <a:lnTo>
                      <a:pt x="1274" y="2543"/>
                    </a:lnTo>
                    <a:lnTo>
                      <a:pt x="1039" y="2206"/>
                    </a:lnTo>
                    <a:lnTo>
                      <a:pt x="1266" y="19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" name="Oval 8"/>
            <p:cNvSpPr/>
            <p:nvPr/>
          </p:nvSpPr>
          <p:spPr>
            <a:xfrm>
              <a:off x="2167086" y="1948359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ung 4"/>
          <p:cNvGrpSpPr/>
          <p:nvPr/>
        </p:nvGrpSpPr>
        <p:grpSpPr>
          <a:xfrm>
            <a:off x="6014591" y="1340768"/>
            <a:ext cx="2015999" cy="2016000"/>
            <a:chOff x="6014591" y="1340768"/>
            <a:chExt cx="2015999" cy="2016000"/>
          </a:xfrm>
        </p:grpSpPr>
        <p:grpSp>
          <p:nvGrpSpPr>
            <p:cNvPr id="54" name="Group 9"/>
            <p:cNvGrpSpPr>
              <a:grpSpLocks/>
            </p:cNvGrpSpPr>
            <p:nvPr/>
          </p:nvGrpSpPr>
          <p:grpSpPr bwMode="auto">
            <a:xfrm>
              <a:off x="6014591" y="1340768"/>
              <a:ext cx="2015999" cy="2016000"/>
              <a:chOff x="1840" y="1448"/>
              <a:chExt cx="2562" cy="2561"/>
            </a:xfrm>
            <a:solidFill>
              <a:srgbClr val="2F52A0"/>
            </a:solidFill>
          </p:grpSpPr>
          <p:sp>
            <p:nvSpPr>
              <p:cNvPr id="55" name="Freeform 10"/>
              <p:cNvSpPr>
                <a:spLocks noChangeAspect="1"/>
              </p:cNvSpPr>
              <p:nvPr/>
            </p:nvSpPr>
            <p:spPr bwMode="auto">
              <a:xfrm>
                <a:off x="3142" y="1448"/>
                <a:ext cx="1260" cy="1451"/>
              </a:xfrm>
              <a:custGeom>
                <a:avLst/>
                <a:gdLst>
                  <a:gd name="T0" fmla="*/ 35 w 1260"/>
                  <a:gd name="T1" fmla="*/ 1 h 1451"/>
                  <a:gd name="T2" fmla="*/ 100 w 1260"/>
                  <a:gd name="T3" fmla="*/ 6 h 1451"/>
                  <a:gd name="T4" fmla="*/ 162 w 1260"/>
                  <a:gd name="T5" fmla="*/ 13 h 1451"/>
                  <a:gd name="T6" fmla="*/ 225 w 1260"/>
                  <a:gd name="T7" fmla="*/ 23 h 1451"/>
                  <a:gd name="T8" fmla="*/ 285 w 1260"/>
                  <a:gd name="T9" fmla="*/ 37 h 1451"/>
                  <a:gd name="T10" fmla="*/ 345 w 1260"/>
                  <a:gd name="T11" fmla="*/ 53 h 1451"/>
                  <a:gd name="T12" fmla="*/ 404 w 1260"/>
                  <a:gd name="T13" fmla="*/ 72 h 1451"/>
                  <a:gd name="T14" fmla="*/ 461 w 1260"/>
                  <a:gd name="T15" fmla="*/ 94 h 1451"/>
                  <a:gd name="T16" fmla="*/ 517 w 1260"/>
                  <a:gd name="T17" fmla="*/ 119 h 1451"/>
                  <a:gd name="T18" fmla="*/ 572 w 1260"/>
                  <a:gd name="T19" fmla="*/ 145 h 1451"/>
                  <a:gd name="T20" fmla="*/ 625 w 1260"/>
                  <a:gd name="T21" fmla="*/ 175 h 1451"/>
                  <a:gd name="T22" fmla="*/ 676 w 1260"/>
                  <a:gd name="T23" fmla="*/ 206 h 1451"/>
                  <a:gd name="T24" fmla="*/ 726 w 1260"/>
                  <a:gd name="T25" fmla="*/ 240 h 1451"/>
                  <a:gd name="T26" fmla="*/ 774 w 1260"/>
                  <a:gd name="T27" fmla="*/ 277 h 1451"/>
                  <a:gd name="T28" fmla="*/ 820 w 1260"/>
                  <a:gd name="T29" fmla="*/ 316 h 1451"/>
                  <a:gd name="T30" fmla="*/ 866 w 1260"/>
                  <a:gd name="T31" fmla="*/ 356 h 1451"/>
                  <a:gd name="T32" fmla="*/ 908 w 1260"/>
                  <a:gd name="T33" fmla="*/ 398 h 1451"/>
                  <a:gd name="T34" fmla="*/ 948 w 1260"/>
                  <a:gd name="T35" fmla="*/ 444 h 1451"/>
                  <a:gd name="T36" fmla="*/ 986 w 1260"/>
                  <a:gd name="T37" fmla="*/ 490 h 1451"/>
                  <a:gd name="T38" fmla="*/ 1023 w 1260"/>
                  <a:gd name="T39" fmla="*/ 538 h 1451"/>
                  <a:gd name="T40" fmla="*/ 1057 w 1260"/>
                  <a:gd name="T41" fmla="*/ 589 h 1451"/>
                  <a:gd name="T42" fmla="*/ 1088 w 1260"/>
                  <a:gd name="T43" fmla="*/ 640 h 1451"/>
                  <a:gd name="T44" fmla="*/ 1117 w 1260"/>
                  <a:gd name="T45" fmla="*/ 693 h 1451"/>
                  <a:gd name="T46" fmla="*/ 1144 w 1260"/>
                  <a:gd name="T47" fmla="*/ 748 h 1451"/>
                  <a:gd name="T48" fmla="*/ 1168 w 1260"/>
                  <a:gd name="T49" fmla="*/ 804 h 1451"/>
                  <a:gd name="T50" fmla="*/ 1190 w 1260"/>
                  <a:gd name="T51" fmla="*/ 861 h 1451"/>
                  <a:gd name="T52" fmla="*/ 1209 w 1260"/>
                  <a:gd name="T53" fmla="*/ 921 h 1451"/>
                  <a:gd name="T54" fmla="*/ 1224 w 1260"/>
                  <a:gd name="T55" fmla="*/ 980 h 1451"/>
                  <a:gd name="T56" fmla="*/ 1237 w 1260"/>
                  <a:gd name="T57" fmla="*/ 1042 h 1451"/>
                  <a:gd name="T58" fmla="*/ 1248 w 1260"/>
                  <a:gd name="T59" fmla="*/ 1104 h 1451"/>
                  <a:gd name="T60" fmla="*/ 1255 w 1260"/>
                  <a:gd name="T61" fmla="*/ 1166 h 1451"/>
                  <a:gd name="T62" fmla="*/ 1259 w 1260"/>
                  <a:gd name="T63" fmla="*/ 1231 h 1451"/>
                  <a:gd name="T64" fmla="*/ 921 w 1260"/>
                  <a:gd name="T65" fmla="*/ 1451 h 1451"/>
                  <a:gd name="T66" fmla="*/ 622 w 1260"/>
                  <a:gd name="T67" fmla="*/ 1231 h 1451"/>
                  <a:gd name="T68" fmla="*/ 616 w 1260"/>
                  <a:gd name="T69" fmla="*/ 1184 h 1451"/>
                  <a:gd name="T70" fmla="*/ 608 w 1260"/>
                  <a:gd name="T71" fmla="*/ 1139 h 1451"/>
                  <a:gd name="T72" fmla="*/ 597 w 1260"/>
                  <a:gd name="T73" fmla="*/ 1096 h 1451"/>
                  <a:gd name="T74" fmla="*/ 588 w 1260"/>
                  <a:gd name="T75" fmla="*/ 1067 h 1451"/>
                  <a:gd name="T76" fmla="*/ 572 w 1260"/>
                  <a:gd name="T77" fmla="*/ 1025 h 1451"/>
                  <a:gd name="T78" fmla="*/ 559 w 1260"/>
                  <a:gd name="T79" fmla="*/ 998 h 1451"/>
                  <a:gd name="T80" fmla="*/ 539 w 1260"/>
                  <a:gd name="T81" fmla="*/ 959 h 1451"/>
                  <a:gd name="T82" fmla="*/ 523 w 1260"/>
                  <a:gd name="T83" fmla="*/ 934 h 1451"/>
                  <a:gd name="T84" fmla="*/ 498 w 1260"/>
                  <a:gd name="T85" fmla="*/ 898 h 1451"/>
                  <a:gd name="T86" fmla="*/ 480 w 1260"/>
                  <a:gd name="T87" fmla="*/ 874 h 1451"/>
                  <a:gd name="T88" fmla="*/ 461 w 1260"/>
                  <a:gd name="T89" fmla="*/ 852 h 1451"/>
                  <a:gd name="T90" fmla="*/ 431 w 1260"/>
                  <a:gd name="T91" fmla="*/ 821 h 1451"/>
                  <a:gd name="T92" fmla="*/ 399 w 1260"/>
                  <a:gd name="T93" fmla="*/ 791 h 1451"/>
                  <a:gd name="T94" fmla="*/ 375 w 1260"/>
                  <a:gd name="T95" fmla="*/ 773 h 1451"/>
                  <a:gd name="T96" fmla="*/ 352 w 1260"/>
                  <a:gd name="T97" fmla="*/ 755 h 1451"/>
                  <a:gd name="T98" fmla="*/ 328 w 1260"/>
                  <a:gd name="T99" fmla="*/ 739 h 1451"/>
                  <a:gd name="T100" fmla="*/ 290 w 1260"/>
                  <a:gd name="T101" fmla="*/ 716 h 1451"/>
                  <a:gd name="T102" fmla="*/ 264 w 1260"/>
                  <a:gd name="T103" fmla="*/ 702 h 1451"/>
                  <a:gd name="T104" fmla="*/ 223 w 1260"/>
                  <a:gd name="T105" fmla="*/ 684 h 1451"/>
                  <a:gd name="T106" fmla="*/ 181 w 1260"/>
                  <a:gd name="T107" fmla="*/ 669 h 1451"/>
                  <a:gd name="T108" fmla="*/ 137 w 1260"/>
                  <a:gd name="T109" fmla="*/ 656 h 1451"/>
                  <a:gd name="T110" fmla="*/ 108 w 1260"/>
                  <a:gd name="T111" fmla="*/ 649 h 1451"/>
                  <a:gd name="T112" fmla="*/ 63 w 1260"/>
                  <a:gd name="T113" fmla="*/ 642 h 1451"/>
                  <a:gd name="T114" fmla="*/ 31 w 1260"/>
                  <a:gd name="T115" fmla="*/ 639 h 1451"/>
                  <a:gd name="T116" fmla="*/ 0 w 1260"/>
                  <a:gd name="T117" fmla="*/ 637 h 1451"/>
                  <a:gd name="T118" fmla="*/ 3 w 1260"/>
                  <a:gd name="T119" fmla="*/ 0 h 14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60"/>
                  <a:gd name="T181" fmla="*/ 0 h 1451"/>
                  <a:gd name="T182" fmla="*/ 1260 w 1260"/>
                  <a:gd name="T183" fmla="*/ 1451 h 14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60" h="1451">
                    <a:moveTo>
                      <a:pt x="3" y="0"/>
                    </a:moveTo>
                    <a:lnTo>
                      <a:pt x="35" y="1"/>
                    </a:lnTo>
                    <a:lnTo>
                      <a:pt x="68" y="3"/>
                    </a:lnTo>
                    <a:lnTo>
                      <a:pt x="100" y="6"/>
                    </a:lnTo>
                    <a:lnTo>
                      <a:pt x="131" y="9"/>
                    </a:lnTo>
                    <a:lnTo>
                      <a:pt x="162" y="13"/>
                    </a:lnTo>
                    <a:lnTo>
                      <a:pt x="193" y="18"/>
                    </a:lnTo>
                    <a:lnTo>
                      <a:pt x="225" y="23"/>
                    </a:lnTo>
                    <a:lnTo>
                      <a:pt x="255" y="30"/>
                    </a:lnTo>
                    <a:lnTo>
                      <a:pt x="285" y="37"/>
                    </a:lnTo>
                    <a:lnTo>
                      <a:pt x="315" y="44"/>
                    </a:lnTo>
                    <a:lnTo>
                      <a:pt x="345" y="53"/>
                    </a:lnTo>
                    <a:lnTo>
                      <a:pt x="374" y="62"/>
                    </a:lnTo>
                    <a:lnTo>
                      <a:pt x="404" y="72"/>
                    </a:lnTo>
                    <a:lnTo>
                      <a:pt x="433" y="83"/>
                    </a:lnTo>
                    <a:lnTo>
                      <a:pt x="461" y="94"/>
                    </a:lnTo>
                    <a:lnTo>
                      <a:pt x="489" y="106"/>
                    </a:lnTo>
                    <a:lnTo>
                      <a:pt x="517" y="119"/>
                    </a:lnTo>
                    <a:lnTo>
                      <a:pt x="545" y="132"/>
                    </a:lnTo>
                    <a:lnTo>
                      <a:pt x="572" y="145"/>
                    </a:lnTo>
                    <a:lnTo>
                      <a:pt x="599" y="160"/>
                    </a:lnTo>
                    <a:lnTo>
                      <a:pt x="625" y="175"/>
                    </a:lnTo>
                    <a:lnTo>
                      <a:pt x="651" y="190"/>
                    </a:lnTo>
                    <a:lnTo>
                      <a:pt x="676" y="206"/>
                    </a:lnTo>
                    <a:lnTo>
                      <a:pt x="702" y="223"/>
                    </a:lnTo>
                    <a:lnTo>
                      <a:pt x="726" y="240"/>
                    </a:lnTo>
                    <a:lnTo>
                      <a:pt x="751" y="259"/>
                    </a:lnTo>
                    <a:lnTo>
                      <a:pt x="774" y="277"/>
                    </a:lnTo>
                    <a:lnTo>
                      <a:pt x="798" y="296"/>
                    </a:lnTo>
                    <a:lnTo>
                      <a:pt x="820" y="316"/>
                    </a:lnTo>
                    <a:lnTo>
                      <a:pt x="843" y="336"/>
                    </a:lnTo>
                    <a:lnTo>
                      <a:pt x="866" y="356"/>
                    </a:lnTo>
                    <a:lnTo>
                      <a:pt x="887" y="377"/>
                    </a:lnTo>
                    <a:lnTo>
                      <a:pt x="908" y="398"/>
                    </a:lnTo>
                    <a:lnTo>
                      <a:pt x="928" y="421"/>
                    </a:lnTo>
                    <a:lnTo>
                      <a:pt x="948" y="444"/>
                    </a:lnTo>
                    <a:lnTo>
                      <a:pt x="967" y="467"/>
                    </a:lnTo>
                    <a:lnTo>
                      <a:pt x="986" y="490"/>
                    </a:lnTo>
                    <a:lnTo>
                      <a:pt x="1004" y="514"/>
                    </a:lnTo>
                    <a:lnTo>
                      <a:pt x="1023" y="538"/>
                    </a:lnTo>
                    <a:lnTo>
                      <a:pt x="1040" y="564"/>
                    </a:lnTo>
                    <a:lnTo>
                      <a:pt x="1057" y="589"/>
                    </a:lnTo>
                    <a:lnTo>
                      <a:pt x="1073" y="614"/>
                    </a:lnTo>
                    <a:lnTo>
                      <a:pt x="1088" y="640"/>
                    </a:lnTo>
                    <a:lnTo>
                      <a:pt x="1103" y="666"/>
                    </a:lnTo>
                    <a:lnTo>
                      <a:pt x="1117" y="693"/>
                    </a:lnTo>
                    <a:lnTo>
                      <a:pt x="1131" y="720"/>
                    </a:lnTo>
                    <a:lnTo>
                      <a:pt x="1144" y="748"/>
                    </a:lnTo>
                    <a:lnTo>
                      <a:pt x="1156" y="776"/>
                    </a:lnTo>
                    <a:lnTo>
                      <a:pt x="1168" y="804"/>
                    </a:lnTo>
                    <a:lnTo>
                      <a:pt x="1180" y="833"/>
                    </a:lnTo>
                    <a:lnTo>
                      <a:pt x="1190" y="861"/>
                    </a:lnTo>
                    <a:lnTo>
                      <a:pt x="1200" y="891"/>
                    </a:lnTo>
                    <a:lnTo>
                      <a:pt x="1209" y="921"/>
                    </a:lnTo>
                    <a:lnTo>
                      <a:pt x="1217" y="950"/>
                    </a:lnTo>
                    <a:lnTo>
                      <a:pt x="1224" y="980"/>
                    </a:lnTo>
                    <a:lnTo>
                      <a:pt x="1231" y="1010"/>
                    </a:lnTo>
                    <a:lnTo>
                      <a:pt x="1237" y="1042"/>
                    </a:lnTo>
                    <a:lnTo>
                      <a:pt x="1243" y="1073"/>
                    </a:lnTo>
                    <a:lnTo>
                      <a:pt x="1248" y="1104"/>
                    </a:lnTo>
                    <a:lnTo>
                      <a:pt x="1252" y="1135"/>
                    </a:lnTo>
                    <a:lnTo>
                      <a:pt x="1255" y="1166"/>
                    </a:lnTo>
                    <a:lnTo>
                      <a:pt x="1257" y="1198"/>
                    </a:lnTo>
                    <a:lnTo>
                      <a:pt x="1259" y="1231"/>
                    </a:lnTo>
                    <a:lnTo>
                      <a:pt x="1260" y="1263"/>
                    </a:lnTo>
                    <a:lnTo>
                      <a:pt x="921" y="1451"/>
                    </a:lnTo>
                    <a:lnTo>
                      <a:pt x="622" y="1246"/>
                    </a:lnTo>
                    <a:lnTo>
                      <a:pt x="622" y="1231"/>
                    </a:lnTo>
                    <a:lnTo>
                      <a:pt x="620" y="1215"/>
                    </a:lnTo>
                    <a:lnTo>
                      <a:pt x="616" y="1184"/>
                    </a:lnTo>
                    <a:lnTo>
                      <a:pt x="611" y="1154"/>
                    </a:lnTo>
                    <a:lnTo>
                      <a:pt x="608" y="1139"/>
                    </a:lnTo>
                    <a:lnTo>
                      <a:pt x="605" y="1125"/>
                    </a:lnTo>
                    <a:lnTo>
                      <a:pt x="597" y="1096"/>
                    </a:lnTo>
                    <a:lnTo>
                      <a:pt x="593" y="1082"/>
                    </a:lnTo>
                    <a:lnTo>
                      <a:pt x="588" y="1067"/>
                    </a:lnTo>
                    <a:lnTo>
                      <a:pt x="577" y="1039"/>
                    </a:lnTo>
                    <a:lnTo>
                      <a:pt x="572" y="1025"/>
                    </a:lnTo>
                    <a:lnTo>
                      <a:pt x="566" y="1012"/>
                    </a:lnTo>
                    <a:lnTo>
                      <a:pt x="559" y="998"/>
                    </a:lnTo>
                    <a:lnTo>
                      <a:pt x="553" y="985"/>
                    </a:lnTo>
                    <a:lnTo>
                      <a:pt x="539" y="959"/>
                    </a:lnTo>
                    <a:lnTo>
                      <a:pt x="530" y="947"/>
                    </a:lnTo>
                    <a:lnTo>
                      <a:pt x="523" y="934"/>
                    </a:lnTo>
                    <a:lnTo>
                      <a:pt x="506" y="910"/>
                    </a:lnTo>
                    <a:lnTo>
                      <a:pt x="498" y="898"/>
                    </a:lnTo>
                    <a:lnTo>
                      <a:pt x="489" y="887"/>
                    </a:lnTo>
                    <a:lnTo>
                      <a:pt x="480" y="874"/>
                    </a:lnTo>
                    <a:lnTo>
                      <a:pt x="471" y="863"/>
                    </a:lnTo>
                    <a:lnTo>
                      <a:pt x="461" y="852"/>
                    </a:lnTo>
                    <a:lnTo>
                      <a:pt x="451" y="841"/>
                    </a:lnTo>
                    <a:lnTo>
                      <a:pt x="431" y="82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88" y="782"/>
                    </a:lnTo>
                    <a:lnTo>
                      <a:pt x="375" y="773"/>
                    </a:lnTo>
                    <a:lnTo>
                      <a:pt x="364" y="764"/>
                    </a:lnTo>
                    <a:lnTo>
                      <a:pt x="352" y="755"/>
                    </a:lnTo>
                    <a:lnTo>
                      <a:pt x="340" y="747"/>
                    </a:lnTo>
                    <a:lnTo>
                      <a:pt x="328" y="739"/>
                    </a:lnTo>
                    <a:lnTo>
                      <a:pt x="315" y="731"/>
                    </a:lnTo>
                    <a:lnTo>
                      <a:pt x="290" y="716"/>
                    </a:lnTo>
                    <a:lnTo>
                      <a:pt x="277" y="709"/>
                    </a:lnTo>
                    <a:lnTo>
                      <a:pt x="264" y="702"/>
                    </a:lnTo>
                    <a:lnTo>
                      <a:pt x="237" y="690"/>
                    </a:lnTo>
                    <a:lnTo>
                      <a:pt x="223" y="684"/>
                    </a:lnTo>
                    <a:lnTo>
                      <a:pt x="209" y="678"/>
                    </a:lnTo>
                    <a:lnTo>
                      <a:pt x="181" y="669"/>
                    </a:lnTo>
                    <a:lnTo>
                      <a:pt x="152" y="660"/>
                    </a:lnTo>
                    <a:lnTo>
                      <a:pt x="137" y="656"/>
                    </a:lnTo>
                    <a:lnTo>
                      <a:pt x="123" y="653"/>
                    </a:lnTo>
                    <a:lnTo>
                      <a:pt x="108" y="649"/>
                    </a:lnTo>
                    <a:lnTo>
                      <a:pt x="93" y="647"/>
                    </a:lnTo>
                    <a:lnTo>
                      <a:pt x="63" y="642"/>
                    </a:lnTo>
                    <a:lnTo>
                      <a:pt x="47" y="640"/>
                    </a:lnTo>
                    <a:lnTo>
                      <a:pt x="31" y="639"/>
                    </a:lnTo>
                    <a:lnTo>
                      <a:pt x="16" y="638"/>
                    </a:lnTo>
                    <a:lnTo>
                      <a:pt x="0" y="637"/>
                    </a:lnTo>
                    <a:lnTo>
                      <a:pt x="197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6" name="Freeform 11"/>
              <p:cNvSpPr>
                <a:spLocks noChangeAspect="1"/>
              </p:cNvSpPr>
              <p:nvPr/>
            </p:nvSpPr>
            <p:spPr bwMode="auto">
              <a:xfrm>
                <a:off x="1840" y="1449"/>
                <a:ext cx="1431" cy="1325"/>
              </a:xfrm>
              <a:custGeom>
                <a:avLst/>
                <a:gdLst>
                  <a:gd name="T0" fmla="*/ 637 w 1431"/>
                  <a:gd name="T1" fmla="*/ 1302 h 1325"/>
                  <a:gd name="T2" fmla="*/ 637 w 1431"/>
                  <a:gd name="T3" fmla="*/ 1248 h 1325"/>
                  <a:gd name="T4" fmla="*/ 640 w 1431"/>
                  <a:gd name="T5" fmla="*/ 1217 h 1325"/>
                  <a:gd name="T6" fmla="*/ 646 w 1431"/>
                  <a:gd name="T7" fmla="*/ 1170 h 1325"/>
                  <a:gd name="T8" fmla="*/ 655 w 1431"/>
                  <a:gd name="T9" fmla="*/ 1125 h 1325"/>
                  <a:gd name="T10" fmla="*/ 663 w 1431"/>
                  <a:gd name="T11" fmla="*/ 1095 h 1325"/>
                  <a:gd name="T12" fmla="*/ 678 w 1431"/>
                  <a:gd name="T13" fmla="*/ 1052 h 1325"/>
                  <a:gd name="T14" fmla="*/ 689 w 1431"/>
                  <a:gd name="T15" fmla="*/ 1024 h 1325"/>
                  <a:gd name="T16" fmla="*/ 708 w 1431"/>
                  <a:gd name="T17" fmla="*/ 983 h 1325"/>
                  <a:gd name="T18" fmla="*/ 724 w 1431"/>
                  <a:gd name="T19" fmla="*/ 957 h 1325"/>
                  <a:gd name="T20" fmla="*/ 739 w 1431"/>
                  <a:gd name="T21" fmla="*/ 932 h 1325"/>
                  <a:gd name="T22" fmla="*/ 756 w 1431"/>
                  <a:gd name="T23" fmla="*/ 907 h 1325"/>
                  <a:gd name="T24" fmla="*/ 773 w 1431"/>
                  <a:gd name="T25" fmla="*/ 884 h 1325"/>
                  <a:gd name="T26" fmla="*/ 792 w 1431"/>
                  <a:gd name="T27" fmla="*/ 860 h 1325"/>
                  <a:gd name="T28" fmla="*/ 822 w 1431"/>
                  <a:gd name="T29" fmla="*/ 827 h 1325"/>
                  <a:gd name="T30" fmla="*/ 843 w 1431"/>
                  <a:gd name="T31" fmla="*/ 807 h 1325"/>
                  <a:gd name="T32" fmla="*/ 877 w 1431"/>
                  <a:gd name="T33" fmla="*/ 778 h 1325"/>
                  <a:gd name="T34" fmla="*/ 901 w 1431"/>
                  <a:gd name="T35" fmla="*/ 760 h 1325"/>
                  <a:gd name="T36" fmla="*/ 938 w 1431"/>
                  <a:gd name="T37" fmla="*/ 735 h 1325"/>
                  <a:gd name="T38" fmla="*/ 976 w 1431"/>
                  <a:gd name="T39" fmla="*/ 711 h 1325"/>
                  <a:gd name="T40" fmla="*/ 1003 w 1431"/>
                  <a:gd name="T41" fmla="*/ 698 h 1325"/>
                  <a:gd name="T42" fmla="*/ 1030 w 1431"/>
                  <a:gd name="T43" fmla="*/ 686 h 1325"/>
                  <a:gd name="T44" fmla="*/ 1059 w 1431"/>
                  <a:gd name="T45" fmla="*/ 675 h 1325"/>
                  <a:gd name="T46" fmla="*/ 1117 w 1431"/>
                  <a:gd name="T47" fmla="*/ 657 h 1325"/>
                  <a:gd name="T48" fmla="*/ 1147 w 1431"/>
                  <a:gd name="T49" fmla="*/ 649 h 1325"/>
                  <a:gd name="T50" fmla="*/ 1192 w 1431"/>
                  <a:gd name="T51" fmla="*/ 642 h 1325"/>
                  <a:gd name="T52" fmla="*/ 1224 w 1431"/>
                  <a:gd name="T53" fmla="*/ 638 h 1325"/>
                  <a:gd name="T54" fmla="*/ 1431 w 1431"/>
                  <a:gd name="T55" fmla="*/ 334 h 1325"/>
                  <a:gd name="T56" fmla="*/ 1207 w 1431"/>
                  <a:gd name="T57" fmla="*/ 1 h 1325"/>
                  <a:gd name="T58" fmla="*/ 1142 w 1431"/>
                  <a:gd name="T59" fmla="*/ 6 h 1325"/>
                  <a:gd name="T60" fmla="*/ 1080 w 1431"/>
                  <a:gd name="T61" fmla="*/ 15 h 1325"/>
                  <a:gd name="T62" fmla="*/ 1018 w 1431"/>
                  <a:gd name="T63" fmla="*/ 26 h 1325"/>
                  <a:gd name="T64" fmla="*/ 957 w 1431"/>
                  <a:gd name="T65" fmla="*/ 40 h 1325"/>
                  <a:gd name="T66" fmla="*/ 898 w 1431"/>
                  <a:gd name="T67" fmla="*/ 57 h 1325"/>
                  <a:gd name="T68" fmla="*/ 839 w 1431"/>
                  <a:gd name="T69" fmla="*/ 76 h 1325"/>
                  <a:gd name="T70" fmla="*/ 783 w 1431"/>
                  <a:gd name="T71" fmla="*/ 100 h 1325"/>
                  <a:gd name="T72" fmla="*/ 728 w 1431"/>
                  <a:gd name="T73" fmla="*/ 125 h 1325"/>
                  <a:gd name="T74" fmla="*/ 673 w 1431"/>
                  <a:gd name="T75" fmla="*/ 152 h 1325"/>
                  <a:gd name="T76" fmla="*/ 620 w 1431"/>
                  <a:gd name="T77" fmla="*/ 182 h 1325"/>
                  <a:gd name="T78" fmla="*/ 570 w 1431"/>
                  <a:gd name="T79" fmla="*/ 214 h 1325"/>
                  <a:gd name="T80" fmla="*/ 520 w 1431"/>
                  <a:gd name="T81" fmla="*/ 250 h 1325"/>
                  <a:gd name="T82" fmla="*/ 472 w 1431"/>
                  <a:gd name="T83" fmla="*/ 287 h 1325"/>
                  <a:gd name="T84" fmla="*/ 427 w 1431"/>
                  <a:gd name="T85" fmla="*/ 325 h 1325"/>
                  <a:gd name="T86" fmla="*/ 382 w 1431"/>
                  <a:gd name="T87" fmla="*/ 366 h 1325"/>
                  <a:gd name="T88" fmla="*/ 341 w 1431"/>
                  <a:gd name="T89" fmla="*/ 410 h 1325"/>
                  <a:gd name="T90" fmla="*/ 301 w 1431"/>
                  <a:gd name="T91" fmla="*/ 455 h 1325"/>
                  <a:gd name="T92" fmla="*/ 263 w 1431"/>
                  <a:gd name="T93" fmla="*/ 502 h 1325"/>
                  <a:gd name="T94" fmla="*/ 227 w 1431"/>
                  <a:gd name="T95" fmla="*/ 550 h 1325"/>
                  <a:gd name="T96" fmla="*/ 194 w 1431"/>
                  <a:gd name="T97" fmla="*/ 602 h 1325"/>
                  <a:gd name="T98" fmla="*/ 163 w 1431"/>
                  <a:gd name="T99" fmla="*/ 653 h 1325"/>
                  <a:gd name="T100" fmla="*/ 135 w 1431"/>
                  <a:gd name="T101" fmla="*/ 707 h 1325"/>
                  <a:gd name="T102" fmla="*/ 109 w 1431"/>
                  <a:gd name="T103" fmla="*/ 762 h 1325"/>
                  <a:gd name="T104" fmla="*/ 86 w 1431"/>
                  <a:gd name="T105" fmla="*/ 819 h 1325"/>
                  <a:gd name="T106" fmla="*/ 64 w 1431"/>
                  <a:gd name="T107" fmla="*/ 876 h 1325"/>
                  <a:gd name="T108" fmla="*/ 47 w 1431"/>
                  <a:gd name="T109" fmla="*/ 936 h 1325"/>
                  <a:gd name="T110" fmla="*/ 31 w 1431"/>
                  <a:gd name="T111" fmla="*/ 996 h 1325"/>
                  <a:gd name="T112" fmla="*/ 19 w 1431"/>
                  <a:gd name="T113" fmla="*/ 1058 h 1325"/>
                  <a:gd name="T114" fmla="*/ 10 w 1431"/>
                  <a:gd name="T115" fmla="*/ 1120 h 1325"/>
                  <a:gd name="T116" fmla="*/ 4 w 1431"/>
                  <a:gd name="T117" fmla="*/ 1183 h 1325"/>
                  <a:gd name="T118" fmla="*/ 1 w 1431"/>
                  <a:gd name="T119" fmla="*/ 1247 h 1325"/>
                  <a:gd name="T120" fmla="*/ 1 w 1431"/>
                  <a:gd name="T121" fmla="*/ 1302 h 1325"/>
                  <a:gd name="T122" fmla="*/ 335 w 1431"/>
                  <a:gd name="T123" fmla="*/ 1129 h 132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31"/>
                  <a:gd name="T187" fmla="*/ 0 h 1325"/>
                  <a:gd name="T188" fmla="*/ 1431 w 1431"/>
                  <a:gd name="T189" fmla="*/ 1325 h 132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31" h="1325">
                    <a:moveTo>
                      <a:pt x="638" y="1324"/>
                    </a:moveTo>
                    <a:lnTo>
                      <a:pt x="637" y="1302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4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2"/>
                    </a:lnTo>
                    <a:lnTo>
                      <a:pt x="683" y="1038"/>
                    </a:lnTo>
                    <a:lnTo>
                      <a:pt x="689" y="1024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4" y="957"/>
                    </a:lnTo>
                    <a:lnTo>
                      <a:pt x="731" y="944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7"/>
                    </a:lnTo>
                    <a:lnTo>
                      <a:pt x="764" y="895"/>
                    </a:lnTo>
                    <a:lnTo>
                      <a:pt x="773" y="884"/>
                    </a:lnTo>
                    <a:lnTo>
                      <a:pt x="783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1" y="727"/>
                    </a:lnTo>
                    <a:lnTo>
                      <a:pt x="976" y="711"/>
                    </a:lnTo>
                    <a:lnTo>
                      <a:pt x="990" y="705"/>
                    </a:lnTo>
                    <a:lnTo>
                      <a:pt x="1003" y="698"/>
                    </a:lnTo>
                    <a:lnTo>
                      <a:pt x="1017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8" y="665"/>
                    </a:lnTo>
                    <a:lnTo>
                      <a:pt x="1117" y="657"/>
                    </a:lnTo>
                    <a:lnTo>
                      <a:pt x="1132" y="653"/>
                    </a:lnTo>
                    <a:lnTo>
                      <a:pt x="1147" y="649"/>
                    </a:lnTo>
                    <a:lnTo>
                      <a:pt x="1177" y="644"/>
                    </a:lnTo>
                    <a:lnTo>
                      <a:pt x="1192" y="642"/>
                    </a:lnTo>
                    <a:lnTo>
                      <a:pt x="1209" y="640"/>
                    </a:lnTo>
                    <a:lnTo>
                      <a:pt x="1224" y="638"/>
                    </a:lnTo>
                    <a:lnTo>
                      <a:pt x="1240" y="637"/>
                    </a:lnTo>
                    <a:lnTo>
                      <a:pt x="1431" y="334"/>
                    </a:lnTo>
                    <a:lnTo>
                      <a:pt x="1239" y="0"/>
                    </a:lnTo>
                    <a:lnTo>
                      <a:pt x="1207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8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5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1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2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02"/>
                    </a:lnTo>
                    <a:lnTo>
                      <a:pt x="2" y="1325"/>
                    </a:lnTo>
                    <a:lnTo>
                      <a:pt x="335" y="1129"/>
                    </a:lnTo>
                    <a:lnTo>
                      <a:pt x="638" y="1324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7" name="Freeform 12"/>
              <p:cNvSpPr>
                <a:spLocks noChangeAspect="1"/>
              </p:cNvSpPr>
              <p:nvPr/>
            </p:nvSpPr>
            <p:spPr bwMode="auto">
              <a:xfrm>
                <a:off x="1845" y="2645"/>
                <a:ext cx="1295" cy="1364"/>
              </a:xfrm>
              <a:custGeom>
                <a:avLst/>
                <a:gdLst>
                  <a:gd name="T0" fmla="*/ 1096 w 1295"/>
                  <a:gd name="T1" fmla="*/ 1023 h 1364"/>
                  <a:gd name="T2" fmla="*/ 1276 w 1295"/>
                  <a:gd name="T3" fmla="*/ 728 h 1364"/>
                  <a:gd name="T4" fmla="*/ 1232 w 1295"/>
                  <a:gd name="T5" fmla="*/ 726 h 1364"/>
                  <a:gd name="T6" fmla="*/ 1187 w 1295"/>
                  <a:gd name="T7" fmla="*/ 722 h 1364"/>
                  <a:gd name="T8" fmla="*/ 1131 w 1295"/>
                  <a:gd name="T9" fmla="*/ 711 h 1364"/>
                  <a:gd name="T10" fmla="*/ 1103 w 1295"/>
                  <a:gd name="T11" fmla="*/ 704 h 1364"/>
                  <a:gd name="T12" fmla="*/ 1050 w 1295"/>
                  <a:gd name="T13" fmla="*/ 687 h 1364"/>
                  <a:gd name="T14" fmla="*/ 1023 w 1295"/>
                  <a:gd name="T15" fmla="*/ 677 h 1364"/>
                  <a:gd name="T16" fmla="*/ 973 w 1295"/>
                  <a:gd name="T17" fmla="*/ 653 h 1364"/>
                  <a:gd name="T18" fmla="*/ 949 w 1295"/>
                  <a:gd name="T19" fmla="*/ 638 h 1364"/>
                  <a:gd name="T20" fmla="*/ 902 w 1295"/>
                  <a:gd name="T21" fmla="*/ 608 h 1364"/>
                  <a:gd name="T22" fmla="*/ 880 w 1295"/>
                  <a:gd name="T23" fmla="*/ 591 h 1364"/>
                  <a:gd name="T24" fmla="*/ 837 w 1295"/>
                  <a:gd name="T25" fmla="*/ 556 h 1364"/>
                  <a:gd name="T26" fmla="*/ 799 w 1295"/>
                  <a:gd name="T27" fmla="*/ 517 h 1364"/>
                  <a:gd name="T28" fmla="*/ 781 w 1295"/>
                  <a:gd name="T29" fmla="*/ 496 h 1364"/>
                  <a:gd name="T30" fmla="*/ 747 w 1295"/>
                  <a:gd name="T31" fmla="*/ 451 h 1364"/>
                  <a:gd name="T32" fmla="*/ 725 w 1295"/>
                  <a:gd name="T33" fmla="*/ 417 h 1364"/>
                  <a:gd name="T34" fmla="*/ 703 w 1295"/>
                  <a:gd name="T35" fmla="*/ 380 h 1364"/>
                  <a:gd name="T36" fmla="*/ 680 w 1295"/>
                  <a:gd name="T37" fmla="*/ 330 h 1364"/>
                  <a:gd name="T38" fmla="*/ 670 w 1295"/>
                  <a:gd name="T39" fmla="*/ 303 h 1364"/>
                  <a:gd name="T40" fmla="*/ 657 w 1295"/>
                  <a:gd name="T41" fmla="*/ 263 h 1364"/>
                  <a:gd name="T42" fmla="*/ 646 w 1295"/>
                  <a:gd name="T43" fmla="*/ 221 h 1364"/>
                  <a:gd name="T44" fmla="*/ 322 w 1295"/>
                  <a:gd name="T45" fmla="*/ 0 h 1364"/>
                  <a:gd name="T46" fmla="*/ 2 w 1295"/>
                  <a:gd name="T47" fmla="*/ 222 h 1364"/>
                  <a:gd name="T48" fmla="*/ 10 w 1295"/>
                  <a:gd name="T49" fmla="*/ 282 h 1364"/>
                  <a:gd name="T50" fmla="*/ 21 w 1295"/>
                  <a:gd name="T51" fmla="*/ 343 h 1364"/>
                  <a:gd name="T52" fmla="*/ 35 w 1295"/>
                  <a:gd name="T53" fmla="*/ 401 h 1364"/>
                  <a:gd name="T54" fmla="*/ 51 w 1295"/>
                  <a:gd name="T55" fmla="*/ 458 h 1364"/>
                  <a:gd name="T56" fmla="*/ 69 w 1295"/>
                  <a:gd name="T57" fmla="*/ 516 h 1364"/>
                  <a:gd name="T58" fmla="*/ 91 w 1295"/>
                  <a:gd name="T59" fmla="*/ 571 h 1364"/>
                  <a:gd name="T60" fmla="*/ 115 w 1295"/>
                  <a:gd name="T61" fmla="*/ 624 h 1364"/>
                  <a:gd name="T62" fmla="*/ 141 w 1295"/>
                  <a:gd name="T63" fmla="*/ 678 h 1364"/>
                  <a:gd name="T64" fmla="*/ 169 w 1295"/>
                  <a:gd name="T65" fmla="*/ 729 h 1364"/>
                  <a:gd name="T66" fmla="*/ 200 w 1295"/>
                  <a:gd name="T67" fmla="*/ 779 h 1364"/>
                  <a:gd name="T68" fmla="*/ 233 w 1295"/>
                  <a:gd name="T69" fmla="*/ 828 h 1364"/>
                  <a:gd name="T70" fmla="*/ 268 w 1295"/>
                  <a:gd name="T71" fmla="*/ 874 h 1364"/>
                  <a:gd name="T72" fmla="*/ 305 w 1295"/>
                  <a:gd name="T73" fmla="*/ 919 h 1364"/>
                  <a:gd name="T74" fmla="*/ 344 w 1295"/>
                  <a:gd name="T75" fmla="*/ 962 h 1364"/>
                  <a:gd name="T76" fmla="*/ 385 w 1295"/>
                  <a:gd name="T77" fmla="*/ 1004 h 1364"/>
                  <a:gd name="T78" fmla="*/ 428 w 1295"/>
                  <a:gd name="T79" fmla="*/ 1043 h 1364"/>
                  <a:gd name="T80" fmla="*/ 473 w 1295"/>
                  <a:gd name="T81" fmla="*/ 1081 h 1364"/>
                  <a:gd name="T82" fmla="*/ 519 w 1295"/>
                  <a:gd name="T83" fmla="*/ 1116 h 1364"/>
                  <a:gd name="T84" fmla="*/ 567 w 1295"/>
                  <a:gd name="T85" fmla="*/ 1151 h 1364"/>
                  <a:gd name="T86" fmla="*/ 616 w 1295"/>
                  <a:gd name="T87" fmla="*/ 1182 h 1364"/>
                  <a:gd name="T88" fmla="*/ 667 w 1295"/>
                  <a:gd name="T89" fmla="*/ 1211 h 1364"/>
                  <a:gd name="T90" fmla="*/ 720 w 1295"/>
                  <a:gd name="T91" fmla="*/ 1237 h 1364"/>
                  <a:gd name="T92" fmla="*/ 774 w 1295"/>
                  <a:gd name="T93" fmla="*/ 1262 h 1364"/>
                  <a:gd name="T94" fmla="*/ 828 w 1295"/>
                  <a:gd name="T95" fmla="*/ 1283 h 1364"/>
                  <a:gd name="T96" fmla="*/ 885 w 1295"/>
                  <a:gd name="T97" fmla="*/ 1304 h 1364"/>
                  <a:gd name="T98" fmla="*/ 942 w 1295"/>
                  <a:gd name="T99" fmla="*/ 1321 h 1364"/>
                  <a:gd name="T100" fmla="*/ 1001 w 1295"/>
                  <a:gd name="T101" fmla="*/ 1335 h 1364"/>
                  <a:gd name="T102" fmla="*/ 1061 w 1295"/>
                  <a:gd name="T103" fmla="*/ 1346 h 1364"/>
                  <a:gd name="T104" fmla="*/ 1121 w 1295"/>
                  <a:gd name="T105" fmla="*/ 1355 h 1364"/>
                  <a:gd name="T106" fmla="*/ 1182 w 1295"/>
                  <a:gd name="T107" fmla="*/ 1361 h 1364"/>
                  <a:gd name="T108" fmla="*/ 1245 w 1295"/>
                  <a:gd name="T109" fmla="*/ 1364 h 1364"/>
                  <a:gd name="T110" fmla="*/ 1281 w 1295"/>
                  <a:gd name="T111" fmla="*/ 1364 h 1364"/>
                  <a:gd name="T112" fmla="*/ 1290 w 1295"/>
                  <a:gd name="T113" fmla="*/ 1362 h 13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295"/>
                  <a:gd name="T172" fmla="*/ 0 h 1364"/>
                  <a:gd name="T173" fmla="*/ 1295 w 1295"/>
                  <a:gd name="T174" fmla="*/ 1364 h 136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295" h="1364">
                    <a:moveTo>
                      <a:pt x="1295" y="1362"/>
                    </a:moveTo>
                    <a:lnTo>
                      <a:pt x="1096" y="1023"/>
                    </a:lnTo>
                    <a:lnTo>
                      <a:pt x="1295" y="727"/>
                    </a:lnTo>
                    <a:lnTo>
                      <a:pt x="1276" y="728"/>
                    </a:lnTo>
                    <a:lnTo>
                      <a:pt x="1246" y="727"/>
                    </a:lnTo>
                    <a:lnTo>
                      <a:pt x="1232" y="726"/>
                    </a:lnTo>
                    <a:lnTo>
                      <a:pt x="1217" y="725"/>
                    </a:lnTo>
                    <a:lnTo>
                      <a:pt x="1187" y="722"/>
                    </a:lnTo>
                    <a:lnTo>
                      <a:pt x="1159" y="717"/>
                    </a:lnTo>
                    <a:lnTo>
                      <a:pt x="1131" y="711"/>
                    </a:lnTo>
                    <a:lnTo>
                      <a:pt x="1117" y="708"/>
                    </a:lnTo>
                    <a:lnTo>
                      <a:pt x="1103" y="704"/>
                    </a:lnTo>
                    <a:lnTo>
                      <a:pt x="1076" y="696"/>
                    </a:lnTo>
                    <a:lnTo>
                      <a:pt x="1050" y="687"/>
                    </a:lnTo>
                    <a:lnTo>
                      <a:pt x="1037" y="682"/>
                    </a:lnTo>
                    <a:lnTo>
                      <a:pt x="1023" y="677"/>
                    </a:lnTo>
                    <a:lnTo>
                      <a:pt x="998" y="665"/>
                    </a:lnTo>
                    <a:lnTo>
                      <a:pt x="973" y="653"/>
                    </a:lnTo>
                    <a:lnTo>
                      <a:pt x="961" y="646"/>
                    </a:lnTo>
                    <a:lnTo>
                      <a:pt x="949" y="638"/>
                    </a:lnTo>
                    <a:lnTo>
                      <a:pt x="925" y="623"/>
                    </a:lnTo>
                    <a:lnTo>
                      <a:pt x="902" y="608"/>
                    </a:lnTo>
                    <a:lnTo>
                      <a:pt x="891" y="600"/>
                    </a:lnTo>
                    <a:lnTo>
                      <a:pt x="880" y="591"/>
                    </a:lnTo>
                    <a:lnTo>
                      <a:pt x="858" y="574"/>
                    </a:lnTo>
                    <a:lnTo>
                      <a:pt x="837" y="556"/>
                    </a:lnTo>
                    <a:lnTo>
                      <a:pt x="818" y="537"/>
                    </a:lnTo>
                    <a:lnTo>
                      <a:pt x="799" y="517"/>
                    </a:lnTo>
                    <a:lnTo>
                      <a:pt x="790" y="506"/>
                    </a:lnTo>
                    <a:lnTo>
                      <a:pt x="781" y="496"/>
                    </a:lnTo>
                    <a:lnTo>
                      <a:pt x="764" y="473"/>
                    </a:lnTo>
                    <a:lnTo>
                      <a:pt x="747" y="451"/>
                    </a:lnTo>
                    <a:lnTo>
                      <a:pt x="732" y="428"/>
                    </a:lnTo>
                    <a:lnTo>
                      <a:pt x="725" y="417"/>
                    </a:lnTo>
                    <a:lnTo>
                      <a:pt x="718" y="405"/>
                    </a:lnTo>
                    <a:lnTo>
                      <a:pt x="703" y="380"/>
                    </a:lnTo>
                    <a:lnTo>
                      <a:pt x="691" y="355"/>
                    </a:lnTo>
                    <a:lnTo>
                      <a:pt x="680" y="330"/>
                    </a:lnTo>
                    <a:lnTo>
                      <a:pt x="675" y="316"/>
                    </a:lnTo>
                    <a:lnTo>
                      <a:pt x="670" y="303"/>
                    </a:lnTo>
                    <a:lnTo>
                      <a:pt x="661" y="276"/>
                    </a:lnTo>
                    <a:lnTo>
                      <a:pt x="657" y="263"/>
                    </a:lnTo>
                    <a:lnTo>
                      <a:pt x="653" y="249"/>
                    </a:lnTo>
                    <a:lnTo>
                      <a:pt x="646" y="221"/>
                    </a:lnTo>
                    <a:lnTo>
                      <a:pt x="641" y="193"/>
                    </a:lnTo>
                    <a:lnTo>
                      <a:pt x="322" y="0"/>
                    </a:lnTo>
                    <a:lnTo>
                      <a:pt x="0" y="191"/>
                    </a:lnTo>
                    <a:lnTo>
                      <a:pt x="2" y="222"/>
                    </a:lnTo>
                    <a:lnTo>
                      <a:pt x="6" y="252"/>
                    </a:lnTo>
                    <a:lnTo>
                      <a:pt x="10" y="282"/>
                    </a:lnTo>
                    <a:lnTo>
                      <a:pt x="15" y="312"/>
                    </a:lnTo>
                    <a:lnTo>
                      <a:pt x="21" y="343"/>
                    </a:lnTo>
                    <a:lnTo>
                      <a:pt x="27" y="372"/>
                    </a:lnTo>
                    <a:lnTo>
                      <a:pt x="35" y="401"/>
                    </a:lnTo>
                    <a:lnTo>
                      <a:pt x="42" y="430"/>
                    </a:lnTo>
                    <a:lnTo>
                      <a:pt x="51" y="458"/>
                    </a:lnTo>
                    <a:lnTo>
                      <a:pt x="60" y="488"/>
                    </a:lnTo>
                    <a:lnTo>
                      <a:pt x="69" y="516"/>
                    </a:lnTo>
                    <a:lnTo>
                      <a:pt x="81" y="543"/>
                    </a:lnTo>
                    <a:lnTo>
                      <a:pt x="91" y="571"/>
                    </a:lnTo>
                    <a:lnTo>
                      <a:pt x="103" y="598"/>
                    </a:lnTo>
                    <a:lnTo>
                      <a:pt x="115" y="624"/>
                    </a:lnTo>
                    <a:lnTo>
                      <a:pt x="128" y="652"/>
                    </a:lnTo>
                    <a:lnTo>
                      <a:pt x="141" y="678"/>
                    </a:lnTo>
                    <a:lnTo>
                      <a:pt x="155" y="704"/>
                    </a:lnTo>
                    <a:lnTo>
                      <a:pt x="169" y="729"/>
                    </a:lnTo>
                    <a:lnTo>
                      <a:pt x="184" y="754"/>
                    </a:lnTo>
                    <a:lnTo>
                      <a:pt x="200" y="779"/>
                    </a:lnTo>
                    <a:lnTo>
                      <a:pt x="216" y="803"/>
                    </a:lnTo>
                    <a:lnTo>
                      <a:pt x="233" y="828"/>
                    </a:lnTo>
                    <a:lnTo>
                      <a:pt x="251" y="851"/>
                    </a:lnTo>
                    <a:lnTo>
                      <a:pt x="268" y="874"/>
                    </a:lnTo>
                    <a:lnTo>
                      <a:pt x="287" y="897"/>
                    </a:lnTo>
                    <a:lnTo>
                      <a:pt x="305" y="919"/>
                    </a:lnTo>
                    <a:lnTo>
                      <a:pt x="324" y="941"/>
                    </a:lnTo>
                    <a:lnTo>
                      <a:pt x="344" y="962"/>
                    </a:lnTo>
                    <a:lnTo>
                      <a:pt x="364" y="984"/>
                    </a:lnTo>
                    <a:lnTo>
                      <a:pt x="385" y="1004"/>
                    </a:lnTo>
                    <a:lnTo>
                      <a:pt x="407" y="1024"/>
                    </a:lnTo>
                    <a:lnTo>
                      <a:pt x="428" y="1043"/>
                    </a:lnTo>
                    <a:lnTo>
                      <a:pt x="450" y="1062"/>
                    </a:lnTo>
                    <a:lnTo>
                      <a:pt x="473" y="1081"/>
                    </a:lnTo>
                    <a:lnTo>
                      <a:pt x="495" y="1099"/>
                    </a:lnTo>
                    <a:lnTo>
                      <a:pt x="519" y="1116"/>
                    </a:lnTo>
                    <a:lnTo>
                      <a:pt x="542" y="1134"/>
                    </a:lnTo>
                    <a:lnTo>
                      <a:pt x="567" y="1151"/>
                    </a:lnTo>
                    <a:lnTo>
                      <a:pt x="592" y="1166"/>
                    </a:lnTo>
                    <a:lnTo>
                      <a:pt x="616" y="1182"/>
                    </a:lnTo>
                    <a:lnTo>
                      <a:pt x="642" y="1196"/>
                    </a:lnTo>
                    <a:lnTo>
                      <a:pt x="667" y="1211"/>
                    </a:lnTo>
                    <a:lnTo>
                      <a:pt x="693" y="1224"/>
                    </a:lnTo>
                    <a:lnTo>
                      <a:pt x="720" y="1237"/>
                    </a:lnTo>
                    <a:lnTo>
                      <a:pt x="747" y="1250"/>
                    </a:lnTo>
                    <a:lnTo>
                      <a:pt x="774" y="1262"/>
                    </a:lnTo>
                    <a:lnTo>
                      <a:pt x="801" y="1273"/>
                    </a:lnTo>
                    <a:lnTo>
                      <a:pt x="828" y="1283"/>
                    </a:lnTo>
                    <a:lnTo>
                      <a:pt x="856" y="1294"/>
                    </a:lnTo>
                    <a:lnTo>
                      <a:pt x="885" y="1304"/>
                    </a:lnTo>
                    <a:lnTo>
                      <a:pt x="914" y="1312"/>
                    </a:lnTo>
                    <a:lnTo>
                      <a:pt x="942" y="1321"/>
                    </a:lnTo>
                    <a:lnTo>
                      <a:pt x="971" y="1328"/>
                    </a:lnTo>
                    <a:lnTo>
                      <a:pt x="1001" y="1335"/>
                    </a:lnTo>
                    <a:lnTo>
                      <a:pt x="1030" y="1341"/>
                    </a:lnTo>
                    <a:lnTo>
                      <a:pt x="1061" y="1346"/>
                    </a:lnTo>
                    <a:lnTo>
                      <a:pt x="1091" y="1351"/>
                    </a:lnTo>
                    <a:lnTo>
                      <a:pt x="1121" y="1355"/>
                    </a:lnTo>
                    <a:lnTo>
                      <a:pt x="1151" y="1358"/>
                    </a:lnTo>
                    <a:lnTo>
                      <a:pt x="1182" y="1361"/>
                    </a:lnTo>
                    <a:lnTo>
                      <a:pt x="1214" y="1363"/>
                    </a:lnTo>
                    <a:lnTo>
                      <a:pt x="1245" y="1364"/>
                    </a:lnTo>
                    <a:lnTo>
                      <a:pt x="1276" y="1364"/>
                    </a:lnTo>
                    <a:lnTo>
                      <a:pt x="1281" y="1364"/>
                    </a:lnTo>
                    <a:lnTo>
                      <a:pt x="1285" y="1363"/>
                    </a:lnTo>
                    <a:lnTo>
                      <a:pt x="1290" y="1362"/>
                    </a:lnTo>
                    <a:lnTo>
                      <a:pt x="1295" y="13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8" name="Freeform 13"/>
              <p:cNvSpPr>
                <a:spLocks noChangeAspect="1"/>
              </p:cNvSpPr>
              <p:nvPr/>
            </p:nvSpPr>
            <p:spPr bwMode="auto">
              <a:xfrm>
                <a:off x="3015" y="2774"/>
                <a:ext cx="1385" cy="1233"/>
              </a:xfrm>
              <a:custGeom>
                <a:avLst/>
                <a:gdLst>
                  <a:gd name="T0" fmla="*/ 0 w 1385"/>
                  <a:gd name="T1" fmla="*/ 903 h 1233"/>
                  <a:gd name="T2" fmla="*/ 221 w 1385"/>
                  <a:gd name="T3" fmla="*/ 588 h 1233"/>
                  <a:gd name="T4" fmla="*/ 262 w 1385"/>
                  <a:gd name="T5" fmla="*/ 579 h 1233"/>
                  <a:gd name="T6" fmla="*/ 302 w 1385"/>
                  <a:gd name="T7" fmla="*/ 567 h 1233"/>
                  <a:gd name="T8" fmla="*/ 354 w 1385"/>
                  <a:gd name="T9" fmla="*/ 548 h 1233"/>
                  <a:gd name="T10" fmla="*/ 391 w 1385"/>
                  <a:gd name="T11" fmla="*/ 531 h 1233"/>
                  <a:gd name="T12" fmla="*/ 427 w 1385"/>
                  <a:gd name="T13" fmla="*/ 511 h 1233"/>
                  <a:gd name="T14" fmla="*/ 472 w 1385"/>
                  <a:gd name="T15" fmla="*/ 482 h 1233"/>
                  <a:gd name="T16" fmla="*/ 506 w 1385"/>
                  <a:gd name="T17" fmla="*/ 458 h 1233"/>
                  <a:gd name="T18" fmla="*/ 526 w 1385"/>
                  <a:gd name="T19" fmla="*/ 441 h 1233"/>
                  <a:gd name="T20" fmla="*/ 546 w 1385"/>
                  <a:gd name="T21" fmla="*/ 423 h 1233"/>
                  <a:gd name="T22" fmla="*/ 565 w 1385"/>
                  <a:gd name="T23" fmla="*/ 405 h 1233"/>
                  <a:gd name="T24" fmla="*/ 584 w 1385"/>
                  <a:gd name="T25" fmla="*/ 385 h 1233"/>
                  <a:gd name="T26" fmla="*/ 610 w 1385"/>
                  <a:gd name="T27" fmla="*/ 353 h 1233"/>
                  <a:gd name="T28" fmla="*/ 642 w 1385"/>
                  <a:gd name="T29" fmla="*/ 310 h 1233"/>
                  <a:gd name="T30" fmla="*/ 671 w 1385"/>
                  <a:gd name="T31" fmla="*/ 264 h 1233"/>
                  <a:gd name="T32" fmla="*/ 689 w 1385"/>
                  <a:gd name="T33" fmla="*/ 228 h 1233"/>
                  <a:gd name="T34" fmla="*/ 705 w 1385"/>
                  <a:gd name="T35" fmla="*/ 189 h 1233"/>
                  <a:gd name="T36" fmla="*/ 723 w 1385"/>
                  <a:gd name="T37" fmla="*/ 138 h 1233"/>
                  <a:gd name="T38" fmla="*/ 737 w 1385"/>
                  <a:gd name="T39" fmla="*/ 84 h 1233"/>
                  <a:gd name="T40" fmla="*/ 746 w 1385"/>
                  <a:gd name="T41" fmla="*/ 28 h 1233"/>
                  <a:gd name="T42" fmla="*/ 748 w 1385"/>
                  <a:gd name="T43" fmla="*/ 0 h 1233"/>
                  <a:gd name="T44" fmla="*/ 1385 w 1385"/>
                  <a:gd name="T45" fmla="*/ 4 h 1233"/>
                  <a:gd name="T46" fmla="*/ 1382 w 1385"/>
                  <a:gd name="T47" fmla="*/ 66 h 1233"/>
                  <a:gd name="T48" fmla="*/ 1375 w 1385"/>
                  <a:gd name="T49" fmla="*/ 126 h 1233"/>
                  <a:gd name="T50" fmla="*/ 1366 w 1385"/>
                  <a:gd name="T51" fmla="*/ 185 h 1233"/>
                  <a:gd name="T52" fmla="*/ 1354 w 1385"/>
                  <a:gd name="T53" fmla="*/ 245 h 1233"/>
                  <a:gd name="T54" fmla="*/ 1339 w 1385"/>
                  <a:gd name="T55" fmla="*/ 302 h 1233"/>
                  <a:gd name="T56" fmla="*/ 1322 w 1385"/>
                  <a:gd name="T57" fmla="*/ 359 h 1233"/>
                  <a:gd name="T58" fmla="*/ 1301 w 1385"/>
                  <a:gd name="T59" fmla="*/ 414 h 1233"/>
                  <a:gd name="T60" fmla="*/ 1279 w 1385"/>
                  <a:gd name="T61" fmla="*/ 468 h 1233"/>
                  <a:gd name="T62" fmla="*/ 1255 w 1385"/>
                  <a:gd name="T63" fmla="*/ 522 h 1233"/>
                  <a:gd name="T64" fmla="*/ 1228 w 1385"/>
                  <a:gd name="T65" fmla="*/ 573 h 1233"/>
                  <a:gd name="T66" fmla="*/ 1200 w 1385"/>
                  <a:gd name="T67" fmla="*/ 623 h 1233"/>
                  <a:gd name="T68" fmla="*/ 1169 w 1385"/>
                  <a:gd name="T69" fmla="*/ 671 h 1233"/>
                  <a:gd name="T70" fmla="*/ 1135 w 1385"/>
                  <a:gd name="T71" fmla="*/ 719 h 1233"/>
                  <a:gd name="T72" fmla="*/ 1099 w 1385"/>
                  <a:gd name="T73" fmla="*/ 764 h 1233"/>
                  <a:gd name="T74" fmla="*/ 1062 w 1385"/>
                  <a:gd name="T75" fmla="*/ 808 h 1233"/>
                  <a:gd name="T76" fmla="*/ 1023 w 1385"/>
                  <a:gd name="T77" fmla="*/ 851 h 1233"/>
                  <a:gd name="T78" fmla="*/ 982 w 1385"/>
                  <a:gd name="T79" fmla="*/ 891 h 1233"/>
                  <a:gd name="T80" fmla="*/ 939 w 1385"/>
                  <a:gd name="T81" fmla="*/ 929 h 1233"/>
                  <a:gd name="T82" fmla="*/ 895 w 1385"/>
                  <a:gd name="T83" fmla="*/ 965 h 1233"/>
                  <a:gd name="T84" fmla="*/ 849 w 1385"/>
                  <a:gd name="T85" fmla="*/ 1000 h 1233"/>
                  <a:gd name="T86" fmla="*/ 801 w 1385"/>
                  <a:gd name="T87" fmla="*/ 1032 h 1233"/>
                  <a:gd name="T88" fmla="*/ 752 w 1385"/>
                  <a:gd name="T89" fmla="*/ 1063 h 1233"/>
                  <a:gd name="T90" fmla="*/ 701 w 1385"/>
                  <a:gd name="T91" fmla="*/ 1090 h 1233"/>
                  <a:gd name="T92" fmla="*/ 649 w 1385"/>
                  <a:gd name="T93" fmla="*/ 1116 h 1233"/>
                  <a:gd name="T94" fmla="*/ 595 w 1385"/>
                  <a:gd name="T95" fmla="*/ 1139 h 1233"/>
                  <a:gd name="T96" fmla="*/ 541 w 1385"/>
                  <a:gd name="T97" fmla="*/ 1161 h 1233"/>
                  <a:gd name="T98" fmla="*/ 485 w 1385"/>
                  <a:gd name="T99" fmla="*/ 1180 h 1233"/>
                  <a:gd name="T100" fmla="*/ 428 w 1385"/>
                  <a:gd name="T101" fmla="*/ 1196 h 1233"/>
                  <a:gd name="T102" fmla="*/ 370 w 1385"/>
                  <a:gd name="T103" fmla="*/ 1209 h 1233"/>
                  <a:gd name="T104" fmla="*/ 311 w 1385"/>
                  <a:gd name="T105" fmla="*/ 1220 h 1233"/>
                  <a:gd name="T106" fmla="*/ 251 w 1385"/>
                  <a:gd name="T107" fmla="*/ 1228 h 1233"/>
                  <a:gd name="T108" fmla="*/ 191 w 1385"/>
                  <a:gd name="T109" fmla="*/ 1233 h 12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385"/>
                  <a:gd name="T166" fmla="*/ 0 h 1233"/>
                  <a:gd name="T167" fmla="*/ 1385 w 1385"/>
                  <a:gd name="T168" fmla="*/ 1233 h 12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385" h="1233">
                    <a:moveTo>
                      <a:pt x="191" y="1233"/>
                    </a:moveTo>
                    <a:lnTo>
                      <a:pt x="0" y="903"/>
                    </a:lnTo>
                    <a:lnTo>
                      <a:pt x="194" y="592"/>
                    </a:lnTo>
                    <a:lnTo>
                      <a:pt x="221" y="588"/>
                    </a:lnTo>
                    <a:lnTo>
                      <a:pt x="248" y="582"/>
                    </a:lnTo>
                    <a:lnTo>
                      <a:pt x="262" y="579"/>
                    </a:lnTo>
                    <a:lnTo>
                      <a:pt x="275" y="575"/>
                    </a:lnTo>
                    <a:lnTo>
                      <a:pt x="302" y="567"/>
                    </a:lnTo>
                    <a:lnTo>
                      <a:pt x="327" y="558"/>
                    </a:lnTo>
                    <a:lnTo>
                      <a:pt x="354" y="548"/>
                    </a:lnTo>
                    <a:lnTo>
                      <a:pt x="379" y="537"/>
                    </a:lnTo>
                    <a:lnTo>
                      <a:pt x="391" y="531"/>
                    </a:lnTo>
                    <a:lnTo>
                      <a:pt x="403" y="525"/>
                    </a:lnTo>
                    <a:lnTo>
                      <a:pt x="427" y="511"/>
                    </a:lnTo>
                    <a:lnTo>
                      <a:pt x="450" y="497"/>
                    </a:lnTo>
                    <a:lnTo>
                      <a:pt x="472" y="482"/>
                    </a:lnTo>
                    <a:lnTo>
                      <a:pt x="494" y="467"/>
                    </a:lnTo>
                    <a:lnTo>
                      <a:pt x="506" y="458"/>
                    </a:lnTo>
                    <a:lnTo>
                      <a:pt x="516" y="450"/>
                    </a:lnTo>
                    <a:lnTo>
                      <a:pt x="526" y="441"/>
                    </a:lnTo>
                    <a:lnTo>
                      <a:pt x="536" y="432"/>
                    </a:lnTo>
                    <a:lnTo>
                      <a:pt x="546" y="423"/>
                    </a:lnTo>
                    <a:lnTo>
                      <a:pt x="556" y="414"/>
                    </a:lnTo>
                    <a:lnTo>
                      <a:pt x="565" y="405"/>
                    </a:lnTo>
                    <a:lnTo>
                      <a:pt x="575" y="395"/>
                    </a:lnTo>
                    <a:lnTo>
                      <a:pt x="584" y="385"/>
                    </a:lnTo>
                    <a:lnTo>
                      <a:pt x="593" y="375"/>
                    </a:lnTo>
                    <a:lnTo>
                      <a:pt x="610" y="353"/>
                    </a:lnTo>
                    <a:lnTo>
                      <a:pt x="626" y="332"/>
                    </a:lnTo>
                    <a:lnTo>
                      <a:pt x="642" y="310"/>
                    </a:lnTo>
                    <a:lnTo>
                      <a:pt x="656" y="287"/>
                    </a:lnTo>
                    <a:lnTo>
                      <a:pt x="671" y="264"/>
                    </a:lnTo>
                    <a:lnTo>
                      <a:pt x="683" y="240"/>
                    </a:lnTo>
                    <a:lnTo>
                      <a:pt x="689" y="228"/>
                    </a:lnTo>
                    <a:lnTo>
                      <a:pt x="695" y="215"/>
                    </a:lnTo>
                    <a:lnTo>
                      <a:pt x="705" y="189"/>
                    </a:lnTo>
                    <a:lnTo>
                      <a:pt x="715" y="164"/>
                    </a:lnTo>
                    <a:lnTo>
                      <a:pt x="723" y="138"/>
                    </a:lnTo>
                    <a:lnTo>
                      <a:pt x="731" y="111"/>
                    </a:lnTo>
                    <a:lnTo>
                      <a:pt x="737" y="84"/>
                    </a:lnTo>
                    <a:lnTo>
                      <a:pt x="742" y="57"/>
                    </a:lnTo>
                    <a:lnTo>
                      <a:pt x="746" y="28"/>
                    </a:lnTo>
                    <a:lnTo>
                      <a:pt x="747" y="14"/>
                    </a:lnTo>
                    <a:lnTo>
                      <a:pt x="748" y="0"/>
                    </a:lnTo>
                    <a:lnTo>
                      <a:pt x="1032" y="202"/>
                    </a:lnTo>
                    <a:lnTo>
                      <a:pt x="1385" y="4"/>
                    </a:lnTo>
                    <a:lnTo>
                      <a:pt x="1384" y="36"/>
                    </a:lnTo>
                    <a:lnTo>
                      <a:pt x="1382" y="66"/>
                    </a:lnTo>
                    <a:lnTo>
                      <a:pt x="1379" y="96"/>
                    </a:lnTo>
                    <a:lnTo>
                      <a:pt x="1375" y="126"/>
                    </a:lnTo>
                    <a:lnTo>
                      <a:pt x="1371" y="156"/>
                    </a:lnTo>
                    <a:lnTo>
                      <a:pt x="1366" y="185"/>
                    </a:lnTo>
                    <a:lnTo>
                      <a:pt x="1360" y="216"/>
                    </a:lnTo>
                    <a:lnTo>
                      <a:pt x="1354" y="245"/>
                    </a:lnTo>
                    <a:lnTo>
                      <a:pt x="1347" y="273"/>
                    </a:lnTo>
                    <a:lnTo>
                      <a:pt x="1339" y="302"/>
                    </a:lnTo>
                    <a:lnTo>
                      <a:pt x="1331" y="330"/>
                    </a:lnTo>
                    <a:lnTo>
                      <a:pt x="1322" y="359"/>
                    </a:lnTo>
                    <a:lnTo>
                      <a:pt x="1313" y="387"/>
                    </a:lnTo>
                    <a:lnTo>
                      <a:pt x="1301" y="414"/>
                    </a:lnTo>
                    <a:lnTo>
                      <a:pt x="1291" y="441"/>
                    </a:lnTo>
                    <a:lnTo>
                      <a:pt x="1279" y="468"/>
                    </a:lnTo>
                    <a:lnTo>
                      <a:pt x="1268" y="494"/>
                    </a:lnTo>
                    <a:lnTo>
                      <a:pt x="1255" y="522"/>
                    </a:lnTo>
                    <a:lnTo>
                      <a:pt x="1242" y="547"/>
                    </a:lnTo>
                    <a:lnTo>
                      <a:pt x="1228" y="573"/>
                    </a:lnTo>
                    <a:lnTo>
                      <a:pt x="1214" y="598"/>
                    </a:lnTo>
                    <a:lnTo>
                      <a:pt x="1200" y="623"/>
                    </a:lnTo>
                    <a:lnTo>
                      <a:pt x="1184" y="647"/>
                    </a:lnTo>
                    <a:lnTo>
                      <a:pt x="1169" y="671"/>
                    </a:lnTo>
                    <a:lnTo>
                      <a:pt x="1152" y="696"/>
                    </a:lnTo>
                    <a:lnTo>
                      <a:pt x="1135" y="719"/>
                    </a:lnTo>
                    <a:lnTo>
                      <a:pt x="1117" y="742"/>
                    </a:lnTo>
                    <a:lnTo>
                      <a:pt x="1099" y="764"/>
                    </a:lnTo>
                    <a:lnTo>
                      <a:pt x="1081" y="786"/>
                    </a:lnTo>
                    <a:lnTo>
                      <a:pt x="1062" y="808"/>
                    </a:lnTo>
                    <a:lnTo>
                      <a:pt x="1043" y="829"/>
                    </a:lnTo>
                    <a:lnTo>
                      <a:pt x="1023" y="851"/>
                    </a:lnTo>
                    <a:lnTo>
                      <a:pt x="1003" y="871"/>
                    </a:lnTo>
                    <a:lnTo>
                      <a:pt x="982" y="891"/>
                    </a:lnTo>
                    <a:lnTo>
                      <a:pt x="961" y="910"/>
                    </a:lnTo>
                    <a:lnTo>
                      <a:pt x="939" y="929"/>
                    </a:lnTo>
                    <a:lnTo>
                      <a:pt x="917" y="947"/>
                    </a:lnTo>
                    <a:lnTo>
                      <a:pt x="895" y="965"/>
                    </a:lnTo>
                    <a:lnTo>
                      <a:pt x="872" y="982"/>
                    </a:lnTo>
                    <a:lnTo>
                      <a:pt x="849" y="1000"/>
                    </a:lnTo>
                    <a:lnTo>
                      <a:pt x="826" y="1017"/>
                    </a:lnTo>
                    <a:lnTo>
                      <a:pt x="801" y="1032"/>
                    </a:lnTo>
                    <a:lnTo>
                      <a:pt x="776" y="1048"/>
                    </a:lnTo>
                    <a:lnTo>
                      <a:pt x="752" y="1063"/>
                    </a:lnTo>
                    <a:lnTo>
                      <a:pt x="727" y="1077"/>
                    </a:lnTo>
                    <a:lnTo>
                      <a:pt x="701" y="1090"/>
                    </a:lnTo>
                    <a:lnTo>
                      <a:pt x="676" y="1104"/>
                    </a:lnTo>
                    <a:lnTo>
                      <a:pt x="649" y="1116"/>
                    </a:lnTo>
                    <a:lnTo>
                      <a:pt x="622" y="1128"/>
                    </a:lnTo>
                    <a:lnTo>
                      <a:pt x="595" y="1139"/>
                    </a:lnTo>
                    <a:lnTo>
                      <a:pt x="568" y="1150"/>
                    </a:lnTo>
                    <a:lnTo>
                      <a:pt x="541" y="1161"/>
                    </a:lnTo>
                    <a:lnTo>
                      <a:pt x="514" y="1171"/>
                    </a:lnTo>
                    <a:lnTo>
                      <a:pt x="485" y="1180"/>
                    </a:lnTo>
                    <a:lnTo>
                      <a:pt x="456" y="1188"/>
                    </a:lnTo>
                    <a:lnTo>
                      <a:pt x="428" y="1196"/>
                    </a:lnTo>
                    <a:lnTo>
                      <a:pt x="399" y="1203"/>
                    </a:lnTo>
                    <a:lnTo>
                      <a:pt x="370" y="1209"/>
                    </a:lnTo>
                    <a:lnTo>
                      <a:pt x="340" y="1215"/>
                    </a:lnTo>
                    <a:lnTo>
                      <a:pt x="311" y="1220"/>
                    </a:lnTo>
                    <a:lnTo>
                      <a:pt x="281" y="1224"/>
                    </a:lnTo>
                    <a:lnTo>
                      <a:pt x="251" y="1228"/>
                    </a:lnTo>
                    <a:lnTo>
                      <a:pt x="221" y="1231"/>
                    </a:lnTo>
                    <a:lnTo>
                      <a:pt x="191" y="1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3" name="Oval 92"/>
            <p:cNvSpPr/>
            <p:nvPr/>
          </p:nvSpPr>
          <p:spPr>
            <a:xfrm>
              <a:off x="6636350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8210103" y="1340768"/>
            <a:ext cx="2015999" cy="2016000"/>
            <a:chOff x="8210103" y="1340768"/>
            <a:chExt cx="2015999" cy="2016000"/>
          </a:xfrm>
        </p:grpSpPr>
        <p:grpSp>
          <p:nvGrpSpPr>
            <p:cNvPr id="61" name="Group 14"/>
            <p:cNvGrpSpPr>
              <a:grpSpLocks/>
            </p:cNvGrpSpPr>
            <p:nvPr/>
          </p:nvGrpSpPr>
          <p:grpSpPr bwMode="auto">
            <a:xfrm>
              <a:off x="8210103" y="1340768"/>
              <a:ext cx="2015999" cy="2016000"/>
              <a:chOff x="1840" y="1426"/>
              <a:chExt cx="2561" cy="2560"/>
            </a:xfrm>
            <a:solidFill>
              <a:srgbClr val="2F52A0"/>
            </a:solidFill>
          </p:grpSpPr>
          <p:sp>
            <p:nvSpPr>
              <p:cNvPr id="62" name="Freeform 15"/>
              <p:cNvSpPr>
                <a:spLocks noChangeAspect="1"/>
              </p:cNvSpPr>
              <p:nvPr/>
            </p:nvSpPr>
            <p:spPr bwMode="auto">
              <a:xfrm>
                <a:off x="1890" y="1426"/>
                <a:ext cx="1381" cy="1119"/>
              </a:xfrm>
              <a:custGeom>
                <a:avLst/>
                <a:gdLst>
                  <a:gd name="T0" fmla="*/ 1165 w 1381"/>
                  <a:gd name="T1" fmla="*/ 639 h 1119"/>
                  <a:gd name="T2" fmla="*/ 1112 w 1381"/>
                  <a:gd name="T3" fmla="*/ 646 h 1119"/>
                  <a:gd name="T4" fmla="*/ 1062 w 1381"/>
                  <a:gd name="T5" fmla="*/ 658 h 1119"/>
                  <a:gd name="T6" fmla="*/ 1038 w 1381"/>
                  <a:gd name="T7" fmla="*/ 665 h 1119"/>
                  <a:gd name="T8" fmla="*/ 1002 w 1381"/>
                  <a:gd name="T9" fmla="*/ 677 h 1119"/>
                  <a:gd name="T10" fmla="*/ 966 w 1381"/>
                  <a:gd name="T11" fmla="*/ 692 h 1119"/>
                  <a:gd name="T12" fmla="*/ 921 w 1381"/>
                  <a:gd name="T13" fmla="*/ 714 h 1119"/>
                  <a:gd name="T14" fmla="*/ 879 w 1381"/>
                  <a:gd name="T15" fmla="*/ 741 h 1119"/>
                  <a:gd name="T16" fmla="*/ 838 w 1381"/>
                  <a:gd name="T17" fmla="*/ 770 h 1119"/>
                  <a:gd name="T18" fmla="*/ 799 w 1381"/>
                  <a:gd name="T19" fmla="*/ 801 h 1119"/>
                  <a:gd name="T20" fmla="*/ 781 w 1381"/>
                  <a:gd name="T21" fmla="*/ 818 h 1119"/>
                  <a:gd name="T22" fmla="*/ 747 w 1381"/>
                  <a:gd name="T23" fmla="*/ 854 h 1119"/>
                  <a:gd name="T24" fmla="*/ 716 w 1381"/>
                  <a:gd name="T25" fmla="*/ 894 h 1119"/>
                  <a:gd name="T26" fmla="*/ 701 w 1381"/>
                  <a:gd name="T27" fmla="*/ 914 h 1119"/>
                  <a:gd name="T28" fmla="*/ 674 w 1381"/>
                  <a:gd name="T29" fmla="*/ 956 h 1119"/>
                  <a:gd name="T30" fmla="*/ 656 w 1381"/>
                  <a:gd name="T31" fmla="*/ 989 h 1119"/>
                  <a:gd name="T32" fmla="*/ 640 w 1381"/>
                  <a:gd name="T33" fmla="*/ 1023 h 1119"/>
                  <a:gd name="T34" fmla="*/ 621 w 1381"/>
                  <a:gd name="T35" fmla="*/ 1071 h 1119"/>
                  <a:gd name="T36" fmla="*/ 610 w 1381"/>
                  <a:gd name="T37" fmla="*/ 1107 h 1119"/>
                  <a:gd name="T38" fmla="*/ 383 w 1381"/>
                  <a:gd name="T39" fmla="*/ 833 h 1119"/>
                  <a:gd name="T40" fmla="*/ 7 w 1381"/>
                  <a:gd name="T41" fmla="*/ 899 h 1119"/>
                  <a:gd name="T42" fmla="*/ 23 w 1381"/>
                  <a:gd name="T43" fmla="*/ 850 h 1119"/>
                  <a:gd name="T44" fmla="*/ 42 w 1381"/>
                  <a:gd name="T45" fmla="*/ 804 h 1119"/>
                  <a:gd name="T46" fmla="*/ 61 w 1381"/>
                  <a:gd name="T47" fmla="*/ 758 h 1119"/>
                  <a:gd name="T48" fmla="*/ 83 w 1381"/>
                  <a:gd name="T49" fmla="*/ 712 h 1119"/>
                  <a:gd name="T50" fmla="*/ 105 w 1381"/>
                  <a:gd name="T51" fmla="*/ 668 h 1119"/>
                  <a:gd name="T52" fmla="*/ 130 w 1381"/>
                  <a:gd name="T53" fmla="*/ 625 h 1119"/>
                  <a:gd name="T54" fmla="*/ 156 w 1381"/>
                  <a:gd name="T55" fmla="*/ 583 h 1119"/>
                  <a:gd name="T56" fmla="*/ 184 w 1381"/>
                  <a:gd name="T57" fmla="*/ 541 h 1119"/>
                  <a:gd name="T58" fmla="*/ 214 w 1381"/>
                  <a:gd name="T59" fmla="*/ 502 h 1119"/>
                  <a:gd name="T60" fmla="*/ 245 w 1381"/>
                  <a:gd name="T61" fmla="*/ 463 h 1119"/>
                  <a:gd name="T62" fmla="*/ 277 w 1381"/>
                  <a:gd name="T63" fmla="*/ 426 h 1119"/>
                  <a:gd name="T64" fmla="*/ 310 w 1381"/>
                  <a:gd name="T65" fmla="*/ 389 h 1119"/>
                  <a:gd name="T66" fmla="*/ 345 w 1381"/>
                  <a:gd name="T67" fmla="*/ 354 h 1119"/>
                  <a:gd name="T68" fmla="*/ 382 w 1381"/>
                  <a:gd name="T69" fmla="*/ 321 h 1119"/>
                  <a:gd name="T70" fmla="*/ 439 w 1381"/>
                  <a:gd name="T71" fmla="*/ 274 h 1119"/>
                  <a:gd name="T72" fmla="*/ 478 w 1381"/>
                  <a:gd name="T73" fmla="*/ 244 h 1119"/>
                  <a:gd name="T74" fmla="*/ 519 w 1381"/>
                  <a:gd name="T75" fmla="*/ 215 h 1119"/>
                  <a:gd name="T76" fmla="*/ 561 w 1381"/>
                  <a:gd name="T77" fmla="*/ 188 h 1119"/>
                  <a:gd name="T78" fmla="*/ 603 w 1381"/>
                  <a:gd name="T79" fmla="*/ 163 h 1119"/>
                  <a:gd name="T80" fmla="*/ 647 w 1381"/>
                  <a:gd name="T81" fmla="*/ 140 h 1119"/>
                  <a:gd name="T82" fmla="*/ 693 w 1381"/>
                  <a:gd name="T83" fmla="*/ 118 h 1119"/>
                  <a:gd name="T84" fmla="*/ 738 w 1381"/>
                  <a:gd name="T85" fmla="*/ 98 h 1119"/>
                  <a:gd name="T86" fmla="*/ 785 w 1381"/>
                  <a:gd name="T87" fmla="*/ 79 h 1119"/>
                  <a:gd name="T88" fmla="*/ 833 w 1381"/>
                  <a:gd name="T89" fmla="*/ 62 h 1119"/>
                  <a:gd name="T90" fmla="*/ 882 w 1381"/>
                  <a:gd name="T91" fmla="*/ 47 h 1119"/>
                  <a:gd name="T92" fmla="*/ 931 w 1381"/>
                  <a:gd name="T93" fmla="*/ 35 h 1119"/>
                  <a:gd name="T94" fmla="*/ 980 w 1381"/>
                  <a:gd name="T95" fmla="*/ 24 h 1119"/>
                  <a:gd name="T96" fmla="*/ 1032 w 1381"/>
                  <a:gd name="T97" fmla="*/ 15 h 1119"/>
                  <a:gd name="T98" fmla="*/ 1083 w 1381"/>
                  <a:gd name="T99" fmla="*/ 8 h 1119"/>
                  <a:gd name="T100" fmla="*/ 1135 w 1381"/>
                  <a:gd name="T101" fmla="*/ 3 h 1119"/>
                  <a:gd name="T102" fmla="*/ 1188 w 1381"/>
                  <a:gd name="T103" fmla="*/ 0 h 1119"/>
                  <a:gd name="T104" fmla="*/ 1190 w 1381"/>
                  <a:gd name="T105" fmla="*/ 637 h 11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81"/>
                  <a:gd name="T160" fmla="*/ 0 h 1119"/>
                  <a:gd name="T161" fmla="*/ 1381 w 1381"/>
                  <a:gd name="T162" fmla="*/ 1119 h 11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81" h="1119">
                    <a:moveTo>
                      <a:pt x="1191" y="637"/>
                    </a:moveTo>
                    <a:lnTo>
                      <a:pt x="1165" y="639"/>
                    </a:lnTo>
                    <a:lnTo>
                      <a:pt x="1138" y="642"/>
                    </a:lnTo>
                    <a:lnTo>
                      <a:pt x="1112" y="646"/>
                    </a:lnTo>
                    <a:lnTo>
                      <a:pt x="1087" y="652"/>
                    </a:lnTo>
                    <a:lnTo>
                      <a:pt x="1062" y="658"/>
                    </a:lnTo>
                    <a:lnTo>
                      <a:pt x="1050" y="661"/>
                    </a:lnTo>
                    <a:lnTo>
                      <a:pt x="1038" y="665"/>
                    </a:lnTo>
                    <a:lnTo>
                      <a:pt x="1014" y="673"/>
                    </a:lnTo>
                    <a:lnTo>
                      <a:pt x="1002" y="677"/>
                    </a:lnTo>
                    <a:lnTo>
                      <a:pt x="989" y="682"/>
                    </a:lnTo>
                    <a:lnTo>
                      <a:pt x="966" y="692"/>
                    </a:lnTo>
                    <a:lnTo>
                      <a:pt x="943" y="703"/>
                    </a:lnTo>
                    <a:lnTo>
                      <a:pt x="921" y="714"/>
                    </a:lnTo>
                    <a:lnTo>
                      <a:pt x="900" y="728"/>
                    </a:lnTo>
                    <a:lnTo>
                      <a:pt x="879" y="741"/>
                    </a:lnTo>
                    <a:lnTo>
                      <a:pt x="858" y="755"/>
                    </a:lnTo>
                    <a:lnTo>
                      <a:pt x="838" y="770"/>
                    </a:lnTo>
                    <a:lnTo>
                      <a:pt x="818" y="785"/>
                    </a:lnTo>
                    <a:lnTo>
                      <a:pt x="799" y="801"/>
                    </a:lnTo>
                    <a:lnTo>
                      <a:pt x="790" y="810"/>
                    </a:lnTo>
                    <a:lnTo>
                      <a:pt x="781" y="818"/>
                    </a:lnTo>
                    <a:lnTo>
                      <a:pt x="764" y="836"/>
                    </a:lnTo>
                    <a:lnTo>
                      <a:pt x="747" y="854"/>
                    </a:lnTo>
                    <a:lnTo>
                      <a:pt x="731" y="873"/>
                    </a:lnTo>
                    <a:lnTo>
                      <a:pt x="716" y="894"/>
                    </a:lnTo>
                    <a:lnTo>
                      <a:pt x="708" y="904"/>
                    </a:lnTo>
                    <a:lnTo>
                      <a:pt x="701" y="914"/>
                    </a:lnTo>
                    <a:lnTo>
                      <a:pt x="687" y="934"/>
                    </a:lnTo>
                    <a:lnTo>
                      <a:pt x="674" y="956"/>
                    </a:lnTo>
                    <a:lnTo>
                      <a:pt x="661" y="978"/>
                    </a:lnTo>
                    <a:lnTo>
                      <a:pt x="656" y="989"/>
                    </a:lnTo>
                    <a:lnTo>
                      <a:pt x="650" y="1000"/>
                    </a:lnTo>
                    <a:lnTo>
                      <a:pt x="640" y="1023"/>
                    </a:lnTo>
                    <a:lnTo>
                      <a:pt x="630" y="1047"/>
                    </a:lnTo>
                    <a:lnTo>
                      <a:pt x="621" y="1071"/>
                    </a:lnTo>
                    <a:lnTo>
                      <a:pt x="614" y="1095"/>
                    </a:lnTo>
                    <a:lnTo>
                      <a:pt x="610" y="1107"/>
                    </a:lnTo>
                    <a:lnTo>
                      <a:pt x="607" y="1119"/>
                    </a:lnTo>
                    <a:lnTo>
                      <a:pt x="383" y="833"/>
                    </a:lnTo>
                    <a:lnTo>
                      <a:pt x="0" y="923"/>
                    </a:lnTo>
                    <a:lnTo>
                      <a:pt x="7" y="899"/>
                    </a:lnTo>
                    <a:lnTo>
                      <a:pt x="15" y="874"/>
                    </a:lnTo>
                    <a:lnTo>
                      <a:pt x="23" y="850"/>
                    </a:lnTo>
                    <a:lnTo>
                      <a:pt x="33" y="827"/>
                    </a:lnTo>
                    <a:lnTo>
                      <a:pt x="42" y="804"/>
                    </a:lnTo>
                    <a:lnTo>
                      <a:pt x="51" y="781"/>
                    </a:lnTo>
                    <a:lnTo>
                      <a:pt x="61" y="758"/>
                    </a:lnTo>
                    <a:lnTo>
                      <a:pt x="72" y="735"/>
                    </a:lnTo>
                    <a:lnTo>
                      <a:pt x="83" y="712"/>
                    </a:lnTo>
                    <a:lnTo>
                      <a:pt x="94" y="690"/>
                    </a:lnTo>
                    <a:lnTo>
                      <a:pt x="105" y="668"/>
                    </a:lnTo>
                    <a:lnTo>
                      <a:pt x="117" y="646"/>
                    </a:lnTo>
                    <a:lnTo>
                      <a:pt x="130" y="625"/>
                    </a:lnTo>
                    <a:lnTo>
                      <a:pt x="143" y="604"/>
                    </a:lnTo>
                    <a:lnTo>
                      <a:pt x="156" y="583"/>
                    </a:lnTo>
                    <a:lnTo>
                      <a:pt x="170" y="562"/>
                    </a:lnTo>
                    <a:lnTo>
                      <a:pt x="184" y="541"/>
                    </a:lnTo>
                    <a:lnTo>
                      <a:pt x="199" y="521"/>
                    </a:lnTo>
                    <a:lnTo>
                      <a:pt x="214" y="502"/>
                    </a:lnTo>
                    <a:lnTo>
                      <a:pt x="229" y="482"/>
                    </a:lnTo>
                    <a:lnTo>
                      <a:pt x="245" y="463"/>
                    </a:lnTo>
                    <a:lnTo>
                      <a:pt x="260" y="444"/>
                    </a:lnTo>
                    <a:lnTo>
                      <a:pt x="277" y="426"/>
                    </a:lnTo>
                    <a:lnTo>
                      <a:pt x="293" y="408"/>
                    </a:lnTo>
                    <a:lnTo>
                      <a:pt x="310" y="389"/>
                    </a:lnTo>
                    <a:lnTo>
                      <a:pt x="327" y="371"/>
                    </a:lnTo>
                    <a:lnTo>
                      <a:pt x="345" y="354"/>
                    </a:lnTo>
                    <a:lnTo>
                      <a:pt x="364" y="337"/>
                    </a:lnTo>
                    <a:lnTo>
                      <a:pt x="382" y="321"/>
                    </a:lnTo>
                    <a:lnTo>
                      <a:pt x="401" y="305"/>
                    </a:lnTo>
                    <a:lnTo>
                      <a:pt x="439" y="274"/>
                    </a:lnTo>
                    <a:lnTo>
                      <a:pt x="458" y="259"/>
                    </a:lnTo>
                    <a:lnTo>
                      <a:pt x="478" y="244"/>
                    </a:lnTo>
                    <a:lnTo>
                      <a:pt x="498" y="229"/>
                    </a:lnTo>
                    <a:lnTo>
                      <a:pt x="519" y="215"/>
                    </a:lnTo>
                    <a:lnTo>
                      <a:pt x="540" y="201"/>
                    </a:lnTo>
                    <a:lnTo>
                      <a:pt x="561" y="188"/>
                    </a:lnTo>
                    <a:lnTo>
                      <a:pt x="582" y="175"/>
                    </a:lnTo>
                    <a:lnTo>
                      <a:pt x="603" y="163"/>
                    </a:lnTo>
                    <a:lnTo>
                      <a:pt x="625" y="151"/>
                    </a:lnTo>
                    <a:lnTo>
                      <a:pt x="647" y="140"/>
                    </a:lnTo>
                    <a:lnTo>
                      <a:pt x="669" y="129"/>
                    </a:lnTo>
                    <a:lnTo>
                      <a:pt x="693" y="118"/>
                    </a:lnTo>
                    <a:lnTo>
                      <a:pt x="715" y="108"/>
                    </a:lnTo>
                    <a:lnTo>
                      <a:pt x="738" y="98"/>
                    </a:lnTo>
                    <a:lnTo>
                      <a:pt x="762" y="88"/>
                    </a:lnTo>
                    <a:lnTo>
                      <a:pt x="785" y="79"/>
                    </a:lnTo>
                    <a:lnTo>
                      <a:pt x="808" y="70"/>
                    </a:lnTo>
                    <a:lnTo>
                      <a:pt x="833" y="62"/>
                    </a:lnTo>
                    <a:lnTo>
                      <a:pt x="857" y="54"/>
                    </a:lnTo>
                    <a:lnTo>
                      <a:pt x="882" y="47"/>
                    </a:lnTo>
                    <a:lnTo>
                      <a:pt x="906" y="41"/>
                    </a:lnTo>
                    <a:lnTo>
                      <a:pt x="931" y="35"/>
                    </a:lnTo>
                    <a:lnTo>
                      <a:pt x="955" y="29"/>
                    </a:lnTo>
                    <a:lnTo>
                      <a:pt x="980" y="24"/>
                    </a:lnTo>
                    <a:lnTo>
                      <a:pt x="1006" y="19"/>
                    </a:lnTo>
                    <a:lnTo>
                      <a:pt x="1032" y="15"/>
                    </a:lnTo>
                    <a:lnTo>
                      <a:pt x="1057" y="11"/>
                    </a:lnTo>
                    <a:lnTo>
                      <a:pt x="1083" y="8"/>
                    </a:lnTo>
                    <a:lnTo>
                      <a:pt x="1109" y="5"/>
                    </a:lnTo>
                    <a:lnTo>
                      <a:pt x="1135" y="3"/>
                    </a:lnTo>
                    <a:lnTo>
                      <a:pt x="1162" y="1"/>
                    </a:lnTo>
                    <a:lnTo>
                      <a:pt x="1188" y="0"/>
                    </a:lnTo>
                    <a:lnTo>
                      <a:pt x="1381" y="334"/>
                    </a:lnTo>
                    <a:lnTo>
                      <a:pt x="1190" y="637"/>
                    </a:lnTo>
                    <a:lnTo>
                      <a:pt x="1191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3" name="Freeform 16"/>
              <p:cNvSpPr>
                <a:spLocks noChangeAspect="1"/>
              </p:cNvSpPr>
              <p:nvPr/>
            </p:nvSpPr>
            <p:spPr bwMode="auto">
              <a:xfrm>
                <a:off x="3143" y="1426"/>
                <a:ext cx="1190" cy="1155"/>
              </a:xfrm>
              <a:custGeom>
                <a:avLst/>
                <a:gdLst>
                  <a:gd name="T0" fmla="*/ 25 w 1190"/>
                  <a:gd name="T1" fmla="*/ 637 h 1155"/>
                  <a:gd name="T2" fmla="*/ 49 w 1190"/>
                  <a:gd name="T3" fmla="*/ 639 h 1155"/>
                  <a:gd name="T4" fmla="*/ 98 w 1190"/>
                  <a:gd name="T5" fmla="*/ 647 h 1155"/>
                  <a:gd name="T6" fmla="*/ 121 w 1190"/>
                  <a:gd name="T7" fmla="*/ 652 h 1155"/>
                  <a:gd name="T8" fmla="*/ 167 w 1190"/>
                  <a:gd name="T9" fmla="*/ 664 h 1155"/>
                  <a:gd name="T10" fmla="*/ 201 w 1190"/>
                  <a:gd name="T11" fmla="*/ 675 h 1155"/>
                  <a:gd name="T12" fmla="*/ 235 w 1190"/>
                  <a:gd name="T13" fmla="*/ 688 h 1155"/>
                  <a:gd name="T14" fmla="*/ 256 w 1190"/>
                  <a:gd name="T15" fmla="*/ 698 h 1155"/>
                  <a:gd name="T16" fmla="*/ 277 w 1190"/>
                  <a:gd name="T17" fmla="*/ 708 h 1155"/>
                  <a:gd name="T18" fmla="*/ 297 w 1190"/>
                  <a:gd name="T19" fmla="*/ 721 h 1155"/>
                  <a:gd name="T20" fmla="*/ 317 w 1190"/>
                  <a:gd name="T21" fmla="*/ 733 h 1155"/>
                  <a:gd name="T22" fmla="*/ 356 w 1190"/>
                  <a:gd name="T23" fmla="*/ 758 h 1155"/>
                  <a:gd name="T24" fmla="*/ 393 w 1190"/>
                  <a:gd name="T25" fmla="*/ 787 h 1155"/>
                  <a:gd name="T26" fmla="*/ 427 w 1190"/>
                  <a:gd name="T27" fmla="*/ 818 h 1155"/>
                  <a:gd name="T28" fmla="*/ 443 w 1190"/>
                  <a:gd name="T29" fmla="*/ 834 h 1155"/>
                  <a:gd name="T30" fmla="*/ 467 w 1190"/>
                  <a:gd name="T31" fmla="*/ 860 h 1155"/>
                  <a:gd name="T32" fmla="*/ 489 w 1190"/>
                  <a:gd name="T33" fmla="*/ 888 h 1155"/>
                  <a:gd name="T34" fmla="*/ 515 w 1190"/>
                  <a:gd name="T35" fmla="*/ 926 h 1155"/>
                  <a:gd name="T36" fmla="*/ 541 w 1190"/>
                  <a:gd name="T37" fmla="*/ 965 h 1155"/>
                  <a:gd name="T38" fmla="*/ 562 w 1190"/>
                  <a:gd name="T39" fmla="*/ 1007 h 1155"/>
                  <a:gd name="T40" fmla="*/ 580 w 1190"/>
                  <a:gd name="T41" fmla="*/ 1051 h 1155"/>
                  <a:gd name="T42" fmla="*/ 1190 w 1190"/>
                  <a:gd name="T43" fmla="*/ 865 h 1155"/>
                  <a:gd name="T44" fmla="*/ 1173 w 1190"/>
                  <a:gd name="T45" fmla="*/ 819 h 1155"/>
                  <a:gd name="T46" fmla="*/ 1154 w 1190"/>
                  <a:gd name="T47" fmla="*/ 774 h 1155"/>
                  <a:gd name="T48" fmla="*/ 1134 w 1190"/>
                  <a:gd name="T49" fmla="*/ 730 h 1155"/>
                  <a:gd name="T50" fmla="*/ 1112 w 1190"/>
                  <a:gd name="T51" fmla="*/ 685 h 1155"/>
                  <a:gd name="T52" fmla="*/ 1089 w 1190"/>
                  <a:gd name="T53" fmla="*/ 643 h 1155"/>
                  <a:gd name="T54" fmla="*/ 1064 w 1190"/>
                  <a:gd name="T55" fmla="*/ 602 h 1155"/>
                  <a:gd name="T56" fmla="*/ 1038 w 1190"/>
                  <a:gd name="T57" fmla="*/ 561 h 1155"/>
                  <a:gd name="T58" fmla="*/ 1009 w 1190"/>
                  <a:gd name="T59" fmla="*/ 521 h 1155"/>
                  <a:gd name="T60" fmla="*/ 980 w 1190"/>
                  <a:gd name="T61" fmla="*/ 483 h 1155"/>
                  <a:gd name="T62" fmla="*/ 934 w 1190"/>
                  <a:gd name="T63" fmla="*/ 428 h 1155"/>
                  <a:gd name="T64" fmla="*/ 901 w 1190"/>
                  <a:gd name="T65" fmla="*/ 392 h 1155"/>
                  <a:gd name="T66" fmla="*/ 868 w 1190"/>
                  <a:gd name="T67" fmla="*/ 358 h 1155"/>
                  <a:gd name="T68" fmla="*/ 831 w 1190"/>
                  <a:gd name="T69" fmla="*/ 326 h 1155"/>
                  <a:gd name="T70" fmla="*/ 795 w 1190"/>
                  <a:gd name="T71" fmla="*/ 294 h 1155"/>
                  <a:gd name="T72" fmla="*/ 758 w 1190"/>
                  <a:gd name="T73" fmla="*/ 264 h 1155"/>
                  <a:gd name="T74" fmla="*/ 719 w 1190"/>
                  <a:gd name="T75" fmla="*/ 235 h 1155"/>
                  <a:gd name="T76" fmla="*/ 678 w 1190"/>
                  <a:gd name="T77" fmla="*/ 208 h 1155"/>
                  <a:gd name="T78" fmla="*/ 638 w 1190"/>
                  <a:gd name="T79" fmla="*/ 182 h 1155"/>
                  <a:gd name="T80" fmla="*/ 596 w 1190"/>
                  <a:gd name="T81" fmla="*/ 158 h 1155"/>
                  <a:gd name="T82" fmla="*/ 553 w 1190"/>
                  <a:gd name="T83" fmla="*/ 136 h 1155"/>
                  <a:gd name="T84" fmla="*/ 508 w 1190"/>
                  <a:gd name="T85" fmla="*/ 115 h 1155"/>
                  <a:gd name="T86" fmla="*/ 464 w 1190"/>
                  <a:gd name="T87" fmla="*/ 96 h 1155"/>
                  <a:gd name="T88" fmla="*/ 418 w 1190"/>
                  <a:gd name="T89" fmla="*/ 77 h 1155"/>
                  <a:gd name="T90" fmla="*/ 371 w 1190"/>
                  <a:gd name="T91" fmla="*/ 61 h 1155"/>
                  <a:gd name="T92" fmla="*/ 324 w 1190"/>
                  <a:gd name="T93" fmla="*/ 47 h 1155"/>
                  <a:gd name="T94" fmla="*/ 276 w 1190"/>
                  <a:gd name="T95" fmla="*/ 34 h 1155"/>
                  <a:gd name="T96" fmla="*/ 202 w 1190"/>
                  <a:gd name="T97" fmla="*/ 19 h 1155"/>
                  <a:gd name="T98" fmla="*/ 153 w 1190"/>
                  <a:gd name="T99" fmla="*/ 12 h 1155"/>
                  <a:gd name="T100" fmla="*/ 102 w 1190"/>
                  <a:gd name="T101" fmla="*/ 6 h 1155"/>
                  <a:gd name="T102" fmla="*/ 51 w 1190"/>
                  <a:gd name="T103" fmla="*/ 2 h 1155"/>
                  <a:gd name="T104" fmla="*/ 0 w 1190"/>
                  <a:gd name="T105" fmla="*/ 0 h 1155"/>
                  <a:gd name="T106" fmla="*/ 0 w 1190"/>
                  <a:gd name="T107" fmla="*/ 636 h 11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90"/>
                  <a:gd name="T163" fmla="*/ 0 h 1155"/>
                  <a:gd name="T164" fmla="*/ 1190 w 1190"/>
                  <a:gd name="T165" fmla="*/ 1155 h 115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90" h="1155">
                    <a:moveTo>
                      <a:pt x="0" y="636"/>
                    </a:moveTo>
                    <a:lnTo>
                      <a:pt x="25" y="637"/>
                    </a:lnTo>
                    <a:lnTo>
                      <a:pt x="37" y="638"/>
                    </a:lnTo>
                    <a:lnTo>
                      <a:pt x="49" y="639"/>
                    </a:lnTo>
                    <a:lnTo>
                      <a:pt x="74" y="643"/>
                    </a:lnTo>
                    <a:lnTo>
                      <a:pt x="98" y="647"/>
                    </a:lnTo>
                    <a:lnTo>
                      <a:pt x="110" y="649"/>
                    </a:lnTo>
                    <a:lnTo>
                      <a:pt x="121" y="652"/>
                    </a:lnTo>
                    <a:lnTo>
                      <a:pt x="145" y="657"/>
                    </a:lnTo>
                    <a:lnTo>
                      <a:pt x="167" y="664"/>
                    </a:lnTo>
                    <a:lnTo>
                      <a:pt x="190" y="671"/>
                    </a:lnTo>
                    <a:lnTo>
                      <a:pt x="201" y="675"/>
                    </a:lnTo>
                    <a:lnTo>
                      <a:pt x="212" y="679"/>
                    </a:lnTo>
                    <a:lnTo>
                      <a:pt x="235" y="688"/>
                    </a:lnTo>
                    <a:lnTo>
                      <a:pt x="245" y="693"/>
                    </a:lnTo>
                    <a:lnTo>
                      <a:pt x="256" y="698"/>
                    </a:lnTo>
                    <a:lnTo>
                      <a:pt x="266" y="703"/>
                    </a:lnTo>
                    <a:lnTo>
                      <a:pt x="277" y="708"/>
                    </a:lnTo>
                    <a:lnTo>
                      <a:pt x="287" y="714"/>
                    </a:lnTo>
                    <a:lnTo>
                      <a:pt x="297" y="721"/>
                    </a:lnTo>
                    <a:lnTo>
                      <a:pt x="307" y="727"/>
                    </a:lnTo>
                    <a:lnTo>
                      <a:pt x="317" y="733"/>
                    </a:lnTo>
                    <a:lnTo>
                      <a:pt x="337" y="745"/>
                    </a:lnTo>
                    <a:lnTo>
                      <a:pt x="356" y="758"/>
                    </a:lnTo>
                    <a:lnTo>
                      <a:pt x="374" y="772"/>
                    </a:lnTo>
                    <a:lnTo>
                      <a:pt x="393" y="787"/>
                    </a:lnTo>
                    <a:lnTo>
                      <a:pt x="410" y="802"/>
                    </a:lnTo>
                    <a:lnTo>
                      <a:pt x="427" y="818"/>
                    </a:lnTo>
                    <a:lnTo>
                      <a:pt x="435" y="826"/>
                    </a:lnTo>
                    <a:lnTo>
                      <a:pt x="443" y="834"/>
                    </a:lnTo>
                    <a:lnTo>
                      <a:pt x="459" y="851"/>
                    </a:lnTo>
                    <a:lnTo>
                      <a:pt x="467" y="860"/>
                    </a:lnTo>
                    <a:lnTo>
                      <a:pt x="474" y="869"/>
                    </a:lnTo>
                    <a:lnTo>
                      <a:pt x="489" y="888"/>
                    </a:lnTo>
                    <a:lnTo>
                      <a:pt x="502" y="907"/>
                    </a:lnTo>
                    <a:lnTo>
                      <a:pt x="515" y="926"/>
                    </a:lnTo>
                    <a:lnTo>
                      <a:pt x="528" y="945"/>
                    </a:lnTo>
                    <a:lnTo>
                      <a:pt x="541" y="965"/>
                    </a:lnTo>
                    <a:lnTo>
                      <a:pt x="552" y="986"/>
                    </a:lnTo>
                    <a:lnTo>
                      <a:pt x="562" y="1007"/>
                    </a:lnTo>
                    <a:lnTo>
                      <a:pt x="571" y="1028"/>
                    </a:lnTo>
                    <a:lnTo>
                      <a:pt x="580" y="1051"/>
                    </a:lnTo>
                    <a:lnTo>
                      <a:pt x="926" y="1155"/>
                    </a:lnTo>
                    <a:lnTo>
                      <a:pt x="1190" y="865"/>
                    </a:lnTo>
                    <a:lnTo>
                      <a:pt x="1182" y="842"/>
                    </a:lnTo>
                    <a:lnTo>
                      <a:pt x="1173" y="819"/>
                    </a:lnTo>
                    <a:lnTo>
                      <a:pt x="1164" y="796"/>
                    </a:lnTo>
                    <a:lnTo>
                      <a:pt x="1154" y="774"/>
                    </a:lnTo>
                    <a:lnTo>
                      <a:pt x="1144" y="752"/>
                    </a:lnTo>
                    <a:lnTo>
                      <a:pt x="1134" y="730"/>
                    </a:lnTo>
                    <a:lnTo>
                      <a:pt x="1123" y="707"/>
                    </a:lnTo>
                    <a:lnTo>
                      <a:pt x="1112" y="685"/>
                    </a:lnTo>
                    <a:lnTo>
                      <a:pt x="1101" y="664"/>
                    </a:lnTo>
                    <a:lnTo>
                      <a:pt x="1089" y="643"/>
                    </a:lnTo>
                    <a:lnTo>
                      <a:pt x="1077" y="622"/>
                    </a:lnTo>
                    <a:lnTo>
                      <a:pt x="1064" y="602"/>
                    </a:lnTo>
                    <a:lnTo>
                      <a:pt x="1051" y="581"/>
                    </a:lnTo>
                    <a:lnTo>
                      <a:pt x="1038" y="561"/>
                    </a:lnTo>
                    <a:lnTo>
                      <a:pt x="1024" y="541"/>
                    </a:lnTo>
                    <a:lnTo>
                      <a:pt x="1009" y="521"/>
                    </a:lnTo>
                    <a:lnTo>
                      <a:pt x="995" y="502"/>
                    </a:lnTo>
                    <a:lnTo>
                      <a:pt x="980" y="483"/>
                    </a:lnTo>
                    <a:lnTo>
                      <a:pt x="950" y="446"/>
                    </a:lnTo>
                    <a:lnTo>
                      <a:pt x="934" y="428"/>
                    </a:lnTo>
                    <a:lnTo>
                      <a:pt x="918" y="410"/>
                    </a:lnTo>
                    <a:lnTo>
                      <a:pt x="901" y="392"/>
                    </a:lnTo>
                    <a:lnTo>
                      <a:pt x="885" y="375"/>
                    </a:lnTo>
                    <a:lnTo>
                      <a:pt x="868" y="358"/>
                    </a:lnTo>
                    <a:lnTo>
                      <a:pt x="849" y="342"/>
                    </a:lnTo>
                    <a:lnTo>
                      <a:pt x="831" y="326"/>
                    </a:lnTo>
                    <a:lnTo>
                      <a:pt x="813" y="310"/>
                    </a:lnTo>
                    <a:lnTo>
                      <a:pt x="795" y="294"/>
                    </a:lnTo>
                    <a:lnTo>
                      <a:pt x="777" y="279"/>
                    </a:lnTo>
                    <a:lnTo>
                      <a:pt x="758" y="264"/>
                    </a:lnTo>
                    <a:lnTo>
                      <a:pt x="738" y="250"/>
                    </a:lnTo>
                    <a:lnTo>
                      <a:pt x="719" y="235"/>
                    </a:lnTo>
                    <a:lnTo>
                      <a:pt x="699" y="221"/>
                    </a:lnTo>
                    <a:lnTo>
                      <a:pt x="678" y="208"/>
                    </a:lnTo>
                    <a:lnTo>
                      <a:pt x="658" y="195"/>
                    </a:lnTo>
                    <a:lnTo>
                      <a:pt x="638" y="182"/>
                    </a:lnTo>
                    <a:lnTo>
                      <a:pt x="617" y="170"/>
                    </a:lnTo>
                    <a:lnTo>
                      <a:pt x="596" y="158"/>
                    </a:lnTo>
                    <a:lnTo>
                      <a:pt x="575" y="147"/>
                    </a:lnTo>
                    <a:lnTo>
                      <a:pt x="553" y="136"/>
                    </a:lnTo>
                    <a:lnTo>
                      <a:pt x="530" y="125"/>
                    </a:lnTo>
                    <a:lnTo>
                      <a:pt x="508" y="115"/>
                    </a:lnTo>
                    <a:lnTo>
                      <a:pt x="486" y="105"/>
                    </a:lnTo>
                    <a:lnTo>
                      <a:pt x="464" y="96"/>
                    </a:lnTo>
                    <a:lnTo>
                      <a:pt x="441" y="87"/>
                    </a:lnTo>
                    <a:lnTo>
                      <a:pt x="418" y="77"/>
                    </a:lnTo>
                    <a:lnTo>
                      <a:pt x="395" y="69"/>
                    </a:lnTo>
                    <a:lnTo>
                      <a:pt x="371" y="61"/>
                    </a:lnTo>
                    <a:lnTo>
                      <a:pt x="348" y="54"/>
                    </a:lnTo>
                    <a:lnTo>
                      <a:pt x="324" y="47"/>
                    </a:lnTo>
                    <a:lnTo>
                      <a:pt x="300" y="40"/>
                    </a:lnTo>
                    <a:lnTo>
                      <a:pt x="276" y="34"/>
                    </a:lnTo>
                    <a:lnTo>
                      <a:pt x="252" y="29"/>
                    </a:lnTo>
                    <a:lnTo>
                      <a:pt x="202" y="19"/>
                    </a:lnTo>
                    <a:lnTo>
                      <a:pt x="177" y="15"/>
                    </a:lnTo>
                    <a:lnTo>
                      <a:pt x="153" y="12"/>
                    </a:lnTo>
                    <a:lnTo>
                      <a:pt x="128" y="8"/>
                    </a:lnTo>
                    <a:lnTo>
                      <a:pt x="102" y="6"/>
                    </a:lnTo>
                    <a:lnTo>
                      <a:pt x="77" y="4"/>
                    </a:lnTo>
                    <a:lnTo>
                      <a:pt x="51" y="2"/>
                    </a:lnTo>
                    <a:lnTo>
                      <a:pt x="25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0" y="6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4" name="Freeform 17"/>
              <p:cNvSpPr>
                <a:spLocks noChangeAspect="1"/>
              </p:cNvSpPr>
              <p:nvPr/>
            </p:nvSpPr>
            <p:spPr bwMode="auto">
              <a:xfrm>
                <a:off x="3562" y="2361"/>
                <a:ext cx="839" cy="1334"/>
              </a:xfrm>
              <a:custGeom>
                <a:avLst/>
                <a:gdLst>
                  <a:gd name="T0" fmla="*/ 11 w 839"/>
                  <a:gd name="T1" fmla="*/ 803 h 1334"/>
                  <a:gd name="T2" fmla="*/ 44 w 839"/>
                  <a:gd name="T3" fmla="*/ 768 h 1334"/>
                  <a:gd name="T4" fmla="*/ 64 w 839"/>
                  <a:gd name="T5" fmla="*/ 743 h 1334"/>
                  <a:gd name="T6" fmla="*/ 93 w 839"/>
                  <a:gd name="T7" fmla="*/ 704 h 1334"/>
                  <a:gd name="T8" fmla="*/ 110 w 839"/>
                  <a:gd name="T9" fmla="*/ 677 h 1334"/>
                  <a:gd name="T10" fmla="*/ 127 w 839"/>
                  <a:gd name="T11" fmla="*/ 649 h 1334"/>
                  <a:gd name="T12" fmla="*/ 142 w 839"/>
                  <a:gd name="T13" fmla="*/ 620 h 1334"/>
                  <a:gd name="T14" fmla="*/ 161 w 839"/>
                  <a:gd name="T15" fmla="*/ 574 h 1334"/>
                  <a:gd name="T16" fmla="*/ 172 w 839"/>
                  <a:gd name="T17" fmla="*/ 543 h 1334"/>
                  <a:gd name="T18" fmla="*/ 181 w 839"/>
                  <a:gd name="T19" fmla="*/ 512 h 1334"/>
                  <a:gd name="T20" fmla="*/ 189 w 839"/>
                  <a:gd name="T21" fmla="*/ 480 h 1334"/>
                  <a:gd name="T22" fmla="*/ 195 w 839"/>
                  <a:gd name="T23" fmla="*/ 447 h 1334"/>
                  <a:gd name="T24" fmla="*/ 199 w 839"/>
                  <a:gd name="T25" fmla="*/ 413 h 1334"/>
                  <a:gd name="T26" fmla="*/ 202 w 839"/>
                  <a:gd name="T27" fmla="*/ 379 h 1334"/>
                  <a:gd name="T28" fmla="*/ 203 w 839"/>
                  <a:gd name="T29" fmla="*/ 345 h 1334"/>
                  <a:gd name="T30" fmla="*/ 202 w 839"/>
                  <a:gd name="T31" fmla="*/ 306 h 1334"/>
                  <a:gd name="T32" fmla="*/ 198 w 839"/>
                  <a:gd name="T33" fmla="*/ 268 h 1334"/>
                  <a:gd name="T34" fmla="*/ 193 w 839"/>
                  <a:gd name="T35" fmla="*/ 230 h 1334"/>
                  <a:gd name="T36" fmla="*/ 185 w 839"/>
                  <a:gd name="T37" fmla="*/ 194 h 1334"/>
                  <a:gd name="T38" fmla="*/ 793 w 839"/>
                  <a:gd name="T39" fmla="*/ 0 h 1334"/>
                  <a:gd name="T40" fmla="*/ 808 w 839"/>
                  <a:gd name="T41" fmla="*/ 62 h 1334"/>
                  <a:gd name="T42" fmla="*/ 817 w 839"/>
                  <a:gd name="T43" fmla="*/ 104 h 1334"/>
                  <a:gd name="T44" fmla="*/ 824 w 839"/>
                  <a:gd name="T45" fmla="*/ 147 h 1334"/>
                  <a:gd name="T46" fmla="*/ 833 w 839"/>
                  <a:gd name="T47" fmla="*/ 212 h 1334"/>
                  <a:gd name="T48" fmla="*/ 838 w 839"/>
                  <a:gd name="T49" fmla="*/ 278 h 1334"/>
                  <a:gd name="T50" fmla="*/ 839 w 839"/>
                  <a:gd name="T51" fmla="*/ 345 h 1334"/>
                  <a:gd name="T52" fmla="*/ 837 w 839"/>
                  <a:gd name="T53" fmla="*/ 418 h 1334"/>
                  <a:gd name="T54" fmla="*/ 835 w 839"/>
                  <a:gd name="T55" fmla="*/ 456 h 1334"/>
                  <a:gd name="T56" fmla="*/ 831 w 839"/>
                  <a:gd name="T57" fmla="*/ 492 h 1334"/>
                  <a:gd name="T58" fmla="*/ 823 w 839"/>
                  <a:gd name="T59" fmla="*/ 546 h 1334"/>
                  <a:gd name="T60" fmla="*/ 814 w 839"/>
                  <a:gd name="T61" fmla="*/ 600 h 1334"/>
                  <a:gd name="T62" fmla="*/ 798 w 839"/>
                  <a:gd name="T63" fmla="*/ 669 h 1334"/>
                  <a:gd name="T64" fmla="*/ 778 w 839"/>
                  <a:gd name="T65" fmla="*/ 737 h 1334"/>
                  <a:gd name="T66" fmla="*/ 753 w 839"/>
                  <a:gd name="T67" fmla="*/ 805 h 1334"/>
                  <a:gd name="T68" fmla="*/ 740 w 839"/>
                  <a:gd name="T69" fmla="*/ 837 h 1334"/>
                  <a:gd name="T70" fmla="*/ 711 w 839"/>
                  <a:gd name="T71" fmla="*/ 901 h 1334"/>
                  <a:gd name="T72" fmla="*/ 695 w 839"/>
                  <a:gd name="T73" fmla="*/ 933 h 1334"/>
                  <a:gd name="T74" fmla="*/ 679 w 839"/>
                  <a:gd name="T75" fmla="*/ 963 h 1334"/>
                  <a:gd name="T76" fmla="*/ 644 w 839"/>
                  <a:gd name="T77" fmla="*/ 1023 h 1334"/>
                  <a:gd name="T78" fmla="*/ 605 w 839"/>
                  <a:gd name="T79" fmla="*/ 1082 h 1334"/>
                  <a:gd name="T80" fmla="*/ 563 w 839"/>
                  <a:gd name="T81" fmla="*/ 1137 h 1334"/>
                  <a:gd name="T82" fmla="*/ 518 w 839"/>
                  <a:gd name="T83" fmla="*/ 1190 h 1334"/>
                  <a:gd name="T84" fmla="*/ 495 w 839"/>
                  <a:gd name="T85" fmla="*/ 1215 h 1334"/>
                  <a:gd name="T86" fmla="*/ 447 w 839"/>
                  <a:gd name="T87" fmla="*/ 1265 h 1334"/>
                  <a:gd name="T88" fmla="*/ 395 w 839"/>
                  <a:gd name="T89" fmla="*/ 1312 h 1334"/>
                  <a:gd name="T90" fmla="*/ 13 w 839"/>
                  <a:gd name="T91" fmla="*/ 1187 h 133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39"/>
                  <a:gd name="T139" fmla="*/ 0 h 1334"/>
                  <a:gd name="T140" fmla="*/ 839 w 839"/>
                  <a:gd name="T141" fmla="*/ 1334 h 133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39" h="1334">
                    <a:moveTo>
                      <a:pt x="0" y="814"/>
                    </a:moveTo>
                    <a:lnTo>
                      <a:pt x="11" y="803"/>
                    </a:lnTo>
                    <a:lnTo>
                      <a:pt x="22" y="792"/>
                    </a:lnTo>
                    <a:lnTo>
                      <a:pt x="44" y="768"/>
                    </a:lnTo>
                    <a:lnTo>
                      <a:pt x="54" y="756"/>
                    </a:lnTo>
                    <a:lnTo>
                      <a:pt x="64" y="743"/>
                    </a:lnTo>
                    <a:lnTo>
                      <a:pt x="84" y="717"/>
                    </a:lnTo>
                    <a:lnTo>
                      <a:pt x="93" y="704"/>
                    </a:lnTo>
                    <a:lnTo>
                      <a:pt x="102" y="690"/>
                    </a:lnTo>
                    <a:lnTo>
                      <a:pt x="110" y="677"/>
                    </a:lnTo>
                    <a:lnTo>
                      <a:pt x="119" y="663"/>
                    </a:lnTo>
                    <a:lnTo>
                      <a:pt x="127" y="649"/>
                    </a:lnTo>
                    <a:lnTo>
                      <a:pt x="134" y="634"/>
                    </a:lnTo>
                    <a:lnTo>
                      <a:pt x="142" y="620"/>
                    </a:lnTo>
                    <a:lnTo>
                      <a:pt x="148" y="605"/>
                    </a:lnTo>
                    <a:lnTo>
                      <a:pt x="161" y="574"/>
                    </a:lnTo>
                    <a:lnTo>
                      <a:pt x="166" y="559"/>
                    </a:lnTo>
                    <a:lnTo>
                      <a:pt x="172" y="543"/>
                    </a:lnTo>
                    <a:lnTo>
                      <a:pt x="176" y="528"/>
                    </a:lnTo>
                    <a:lnTo>
                      <a:pt x="181" y="512"/>
                    </a:lnTo>
                    <a:lnTo>
                      <a:pt x="185" y="496"/>
                    </a:lnTo>
                    <a:lnTo>
                      <a:pt x="189" y="480"/>
                    </a:lnTo>
                    <a:lnTo>
                      <a:pt x="192" y="463"/>
                    </a:lnTo>
                    <a:lnTo>
                      <a:pt x="195" y="447"/>
                    </a:lnTo>
                    <a:lnTo>
                      <a:pt x="197" y="430"/>
                    </a:lnTo>
                    <a:lnTo>
                      <a:pt x="199" y="413"/>
                    </a:lnTo>
                    <a:lnTo>
                      <a:pt x="201" y="396"/>
                    </a:lnTo>
                    <a:lnTo>
                      <a:pt x="202" y="379"/>
                    </a:lnTo>
                    <a:lnTo>
                      <a:pt x="202" y="362"/>
                    </a:lnTo>
                    <a:lnTo>
                      <a:pt x="203" y="345"/>
                    </a:lnTo>
                    <a:lnTo>
                      <a:pt x="202" y="325"/>
                    </a:lnTo>
                    <a:lnTo>
                      <a:pt x="202" y="306"/>
                    </a:lnTo>
                    <a:lnTo>
                      <a:pt x="200" y="287"/>
                    </a:lnTo>
                    <a:lnTo>
                      <a:pt x="198" y="268"/>
                    </a:lnTo>
                    <a:lnTo>
                      <a:pt x="196" y="249"/>
                    </a:lnTo>
                    <a:lnTo>
                      <a:pt x="193" y="230"/>
                    </a:lnTo>
                    <a:lnTo>
                      <a:pt x="189" y="212"/>
                    </a:lnTo>
                    <a:lnTo>
                      <a:pt x="185" y="194"/>
                    </a:lnTo>
                    <a:lnTo>
                      <a:pt x="513" y="300"/>
                    </a:lnTo>
                    <a:lnTo>
                      <a:pt x="793" y="0"/>
                    </a:lnTo>
                    <a:lnTo>
                      <a:pt x="803" y="41"/>
                    </a:lnTo>
                    <a:lnTo>
                      <a:pt x="808" y="62"/>
                    </a:lnTo>
                    <a:lnTo>
                      <a:pt x="813" y="83"/>
                    </a:lnTo>
                    <a:lnTo>
                      <a:pt x="817" y="104"/>
                    </a:lnTo>
                    <a:lnTo>
                      <a:pt x="821" y="126"/>
                    </a:lnTo>
                    <a:lnTo>
                      <a:pt x="824" y="147"/>
                    </a:lnTo>
                    <a:lnTo>
                      <a:pt x="827" y="169"/>
                    </a:lnTo>
                    <a:lnTo>
                      <a:pt x="833" y="212"/>
                    </a:lnTo>
                    <a:lnTo>
                      <a:pt x="836" y="255"/>
                    </a:lnTo>
                    <a:lnTo>
                      <a:pt x="838" y="278"/>
                    </a:lnTo>
                    <a:lnTo>
                      <a:pt x="839" y="300"/>
                    </a:lnTo>
                    <a:lnTo>
                      <a:pt x="839" y="345"/>
                    </a:lnTo>
                    <a:lnTo>
                      <a:pt x="839" y="382"/>
                    </a:lnTo>
                    <a:lnTo>
                      <a:pt x="837" y="418"/>
                    </a:lnTo>
                    <a:lnTo>
                      <a:pt x="836" y="438"/>
                    </a:lnTo>
                    <a:lnTo>
                      <a:pt x="835" y="456"/>
                    </a:lnTo>
                    <a:lnTo>
                      <a:pt x="833" y="474"/>
                    </a:lnTo>
                    <a:lnTo>
                      <a:pt x="831" y="492"/>
                    </a:lnTo>
                    <a:lnTo>
                      <a:pt x="826" y="528"/>
                    </a:lnTo>
                    <a:lnTo>
                      <a:pt x="823" y="546"/>
                    </a:lnTo>
                    <a:lnTo>
                      <a:pt x="821" y="564"/>
                    </a:lnTo>
                    <a:lnTo>
                      <a:pt x="814" y="600"/>
                    </a:lnTo>
                    <a:lnTo>
                      <a:pt x="806" y="635"/>
                    </a:lnTo>
                    <a:lnTo>
                      <a:pt x="798" y="669"/>
                    </a:lnTo>
                    <a:lnTo>
                      <a:pt x="788" y="704"/>
                    </a:lnTo>
                    <a:lnTo>
                      <a:pt x="778" y="737"/>
                    </a:lnTo>
                    <a:lnTo>
                      <a:pt x="766" y="772"/>
                    </a:lnTo>
                    <a:lnTo>
                      <a:pt x="753" y="805"/>
                    </a:lnTo>
                    <a:lnTo>
                      <a:pt x="747" y="821"/>
                    </a:lnTo>
                    <a:lnTo>
                      <a:pt x="740" y="837"/>
                    </a:lnTo>
                    <a:lnTo>
                      <a:pt x="726" y="869"/>
                    </a:lnTo>
                    <a:lnTo>
                      <a:pt x="711" y="901"/>
                    </a:lnTo>
                    <a:lnTo>
                      <a:pt x="703" y="917"/>
                    </a:lnTo>
                    <a:lnTo>
                      <a:pt x="695" y="933"/>
                    </a:lnTo>
                    <a:lnTo>
                      <a:pt x="687" y="948"/>
                    </a:lnTo>
                    <a:lnTo>
                      <a:pt x="679" y="963"/>
                    </a:lnTo>
                    <a:lnTo>
                      <a:pt x="662" y="993"/>
                    </a:lnTo>
                    <a:lnTo>
                      <a:pt x="644" y="1023"/>
                    </a:lnTo>
                    <a:lnTo>
                      <a:pt x="625" y="1052"/>
                    </a:lnTo>
                    <a:lnTo>
                      <a:pt x="605" y="1082"/>
                    </a:lnTo>
                    <a:lnTo>
                      <a:pt x="584" y="1109"/>
                    </a:lnTo>
                    <a:lnTo>
                      <a:pt x="563" y="1137"/>
                    </a:lnTo>
                    <a:lnTo>
                      <a:pt x="541" y="1164"/>
                    </a:lnTo>
                    <a:lnTo>
                      <a:pt x="518" y="1190"/>
                    </a:lnTo>
                    <a:lnTo>
                      <a:pt x="507" y="1203"/>
                    </a:lnTo>
                    <a:lnTo>
                      <a:pt x="495" y="1215"/>
                    </a:lnTo>
                    <a:lnTo>
                      <a:pt x="471" y="1241"/>
                    </a:lnTo>
                    <a:lnTo>
                      <a:pt x="447" y="1265"/>
                    </a:lnTo>
                    <a:lnTo>
                      <a:pt x="421" y="1289"/>
                    </a:lnTo>
                    <a:lnTo>
                      <a:pt x="395" y="1312"/>
                    </a:lnTo>
                    <a:lnTo>
                      <a:pt x="368" y="1334"/>
                    </a:lnTo>
                    <a:lnTo>
                      <a:pt x="13" y="1187"/>
                    </a:lnTo>
                    <a:lnTo>
                      <a:pt x="0" y="814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5" name="Freeform 18"/>
              <p:cNvSpPr>
                <a:spLocks noChangeAspect="1"/>
              </p:cNvSpPr>
              <p:nvPr/>
            </p:nvSpPr>
            <p:spPr bwMode="auto">
              <a:xfrm>
                <a:off x="2460" y="3232"/>
                <a:ext cx="1411" cy="754"/>
              </a:xfrm>
              <a:custGeom>
                <a:avLst/>
                <a:gdLst>
                  <a:gd name="T0" fmla="*/ 33 w 1411"/>
                  <a:gd name="T1" fmla="*/ 196 h 754"/>
                  <a:gd name="T2" fmla="*/ 406 w 1411"/>
                  <a:gd name="T3" fmla="*/ 64 h 754"/>
                  <a:gd name="T4" fmla="*/ 438 w 1411"/>
                  <a:gd name="T5" fmla="*/ 77 h 754"/>
                  <a:gd name="T6" fmla="*/ 470 w 1411"/>
                  <a:gd name="T7" fmla="*/ 88 h 754"/>
                  <a:gd name="T8" fmla="*/ 503 w 1411"/>
                  <a:gd name="T9" fmla="*/ 97 h 754"/>
                  <a:gd name="T10" fmla="*/ 537 w 1411"/>
                  <a:gd name="T11" fmla="*/ 105 h 754"/>
                  <a:gd name="T12" fmla="*/ 571 w 1411"/>
                  <a:gd name="T13" fmla="*/ 111 h 754"/>
                  <a:gd name="T14" fmla="*/ 607 w 1411"/>
                  <a:gd name="T15" fmla="*/ 115 h 754"/>
                  <a:gd name="T16" fmla="*/ 643 w 1411"/>
                  <a:gd name="T17" fmla="*/ 117 h 754"/>
                  <a:gd name="T18" fmla="*/ 686 w 1411"/>
                  <a:gd name="T19" fmla="*/ 117 h 754"/>
                  <a:gd name="T20" fmla="*/ 737 w 1411"/>
                  <a:gd name="T21" fmla="*/ 113 h 754"/>
                  <a:gd name="T22" fmla="*/ 787 w 1411"/>
                  <a:gd name="T23" fmla="*/ 105 h 754"/>
                  <a:gd name="T24" fmla="*/ 835 w 1411"/>
                  <a:gd name="T25" fmla="*/ 94 h 754"/>
                  <a:gd name="T26" fmla="*/ 882 w 1411"/>
                  <a:gd name="T27" fmla="*/ 79 h 754"/>
                  <a:gd name="T28" fmla="*/ 928 w 1411"/>
                  <a:gd name="T29" fmla="*/ 60 h 754"/>
                  <a:gd name="T30" fmla="*/ 960 w 1411"/>
                  <a:gd name="T31" fmla="*/ 44 h 754"/>
                  <a:gd name="T32" fmla="*/ 981 w 1411"/>
                  <a:gd name="T33" fmla="*/ 32 h 754"/>
                  <a:gd name="T34" fmla="*/ 1002 w 1411"/>
                  <a:gd name="T35" fmla="*/ 19 h 754"/>
                  <a:gd name="T36" fmla="*/ 1022 w 1411"/>
                  <a:gd name="T37" fmla="*/ 6 h 754"/>
                  <a:gd name="T38" fmla="*/ 1036 w 1411"/>
                  <a:gd name="T39" fmla="*/ 351 h 754"/>
                  <a:gd name="T40" fmla="*/ 1391 w 1411"/>
                  <a:gd name="T41" fmla="*/ 526 h 754"/>
                  <a:gd name="T42" fmla="*/ 1350 w 1411"/>
                  <a:gd name="T43" fmla="*/ 553 h 754"/>
                  <a:gd name="T44" fmla="*/ 1308 w 1411"/>
                  <a:gd name="T45" fmla="*/ 579 h 754"/>
                  <a:gd name="T46" fmla="*/ 1266 w 1411"/>
                  <a:gd name="T47" fmla="*/ 602 h 754"/>
                  <a:gd name="T48" fmla="*/ 1222 w 1411"/>
                  <a:gd name="T49" fmla="*/ 625 h 754"/>
                  <a:gd name="T50" fmla="*/ 1177 w 1411"/>
                  <a:gd name="T51" fmla="*/ 645 h 754"/>
                  <a:gd name="T52" fmla="*/ 1132 w 1411"/>
                  <a:gd name="T53" fmla="*/ 664 h 754"/>
                  <a:gd name="T54" fmla="*/ 1086 w 1411"/>
                  <a:gd name="T55" fmla="*/ 683 h 754"/>
                  <a:gd name="T56" fmla="*/ 1038 w 1411"/>
                  <a:gd name="T57" fmla="*/ 698 h 754"/>
                  <a:gd name="T58" fmla="*/ 990 w 1411"/>
                  <a:gd name="T59" fmla="*/ 712 h 754"/>
                  <a:gd name="T60" fmla="*/ 941 w 1411"/>
                  <a:gd name="T61" fmla="*/ 724 h 754"/>
                  <a:gd name="T62" fmla="*/ 866 w 1411"/>
                  <a:gd name="T63" fmla="*/ 738 h 754"/>
                  <a:gd name="T64" fmla="*/ 816 w 1411"/>
                  <a:gd name="T65" fmla="*/ 745 h 754"/>
                  <a:gd name="T66" fmla="*/ 765 w 1411"/>
                  <a:gd name="T67" fmla="*/ 750 h 754"/>
                  <a:gd name="T68" fmla="*/ 713 w 1411"/>
                  <a:gd name="T69" fmla="*/ 753 h 754"/>
                  <a:gd name="T70" fmla="*/ 661 w 1411"/>
                  <a:gd name="T71" fmla="*/ 754 h 754"/>
                  <a:gd name="T72" fmla="*/ 593 w 1411"/>
                  <a:gd name="T73" fmla="*/ 752 h 754"/>
                  <a:gd name="T74" fmla="*/ 548 w 1411"/>
                  <a:gd name="T75" fmla="*/ 749 h 754"/>
                  <a:gd name="T76" fmla="*/ 504 w 1411"/>
                  <a:gd name="T77" fmla="*/ 744 h 754"/>
                  <a:gd name="T78" fmla="*/ 461 w 1411"/>
                  <a:gd name="T79" fmla="*/ 738 h 754"/>
                  <a:gd name="T80" fmla="*/ 417 w 1411"/>
                  <a:gd name="T81" fmla="*/ 731 h 754"/>
                  <a:gd name="T82" fmla="*/ 374 w 1411"/>
                  <a:gd name="T83" fmla="*/ 722 h 754"/>
                  <a:gd name="T84" fmla="*/ 333 w 1411"/>
                  <a:gd name="T85" fmla="*/ 711 h 754"/>
                  <a:gd name="T86" fmla="*/ 271 w 1411"/>
                  <a:gd name="T87" fmla="*/ 693 h 754"/>
                  <a:gd name="T88" fmla="*/ 229 w 1411"/>
                  <a:gd name="T89" fmla="*/ 679 h 754"/>
                  <a:gd name="T90" fmla="*/ 190 w 1411"/>
                  <a:gd name="T91" fmla="*/ 663 h 754"/>
                  <a:gd name="T92" fmla="*/ 150 w 1411"/>
                  <a:gd name="T93" fmla="*/ 646 h 754"/>
                  <a:gd name="T94" fmla="*/ 112 w 1411"/>
                  <a:gd name="T95" fmla="*/ 628 h 754"/>
                  <a:gd name="T96" fmla="*/ 73 w 1411"/>
                  <a:gd name="T97" fmla="*/ 610 h 754"/>
                  <a:gd name="T98" fmla="*/ 0 w 1411"/>
                  <a:gd name="T99" fmla="*/ 568 h 75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411"/>
                  <a:gd name="T151" fmla="*/ 0 h 754"/>
                  <a:gd name="T152" fmla="*/ 1411 w 1411"/>
                  <a:gd name="T153" fmla="*/ 754 h 75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411" h="754">
                    <a:moveTo>
                      <a:pt x="0" y="568"/>
                    </a:moveTo>
                    <a:lnTo>
                      <a:pt x="33" y="196"/>
                    </a:lnTo>
                    <a:lnTo>
                      <a:pt x="390" y="57"/>
                    </a:lnTo>
                    <a:lnTo>
                      <a:pt x="406" y="64"/>
                    </a:lnTo>
                    <a:lnTo>
                      <a:pt x="422" y="71"/>
                    </a:lnTo>
                    <a:lnTo>
                      <a:pt x="438" y="77"/>
                    </a:lnTo>
                    <a:lnTo>
                      <a:pt x="454" y="83"/>
                    </a:lnTo>
                    <a:lnTo>
                      <a:pt x="470" y="88"/>
                    </a:lnTo>
                    <a:lnTo>
                      <a:pt x="487" y="93"/>
                    </a:lnTo>
                    <a:lnTo>
                      <a:pt x="503" y="97"/>
                    </a:lnTo>
                    <a:lnTo>
                      <a:pt x="520" y="102"/>
                    </a:lnTo>
                    <a:lnTo>
                      <a:pt x="537" y="105"/>
                    </a:lnTo>
                    <a:lnTo>
                      <a:pt x="554" y="108"/>
                    </a:lnTo>
                    <a:lnTo>
                      <a:pt x="571" y="111"/>
                    </a:lnTo>
                    <a:lnTo>
                      <a:pt x="590" y="113"/>
                    </a:lnTo>
                    <a:lnTo>
                      <a:pt x="607" y="115"/>
                    </a:lnTo>
                    <a:lnTo>
                      <a:pt x="625" y="117"/>
                    </a:lnTo>
                    <a:lnTo>
                      <a:pt x="643" y="117"/>
                    </a:lnTo>
                    <a:lnTo>
                      <a:pt x="661" y="118"/>
                    </a:lnTo>
                    <a:lnTo>
                      <a:pt x="686" y="117"/>
                    </a:lnTo>
                    <a:lnTo>
                      <a:pt x="712" y="116"/>
                    </a:lnTo>
                    <a:lnTo>
                      <a:pt x="737" y="113"/>
                    </a:lnTo>
                    <a:lnTo>
                      <a:pt x="763" y="110"/>
                    </a:lnTo>
                    <a:lnTo>
                      <a:pt x="787" y="105"/>
                    </a:lnTo>
                    <a:lnTo>
                      <a:pt x="811" y="100"/>
                    </a:lnTo>
                    <a:lnTo>
                      <a:pt x="835" y="94"/>
                    </a:lnTo>
                    <a:lnTo>
                      <a:pt x="859" y="87"/>
                    </a:lnTo>
                    <a:lnTo>
                      <a:pt x="882" y="79"/>
                    </a:lnTo>
                    <a:lnTo>
                      <a:pt x="905" y="70"/>
                    </a:lnTo>
                    <a:lnTo>
                      <a:pt x="928" y="60"/>
                    </a:lnTo>
                    <a:lnTo>
                      <a:pt x="949" y="50"/>
                    </a:lnTo>
                    <a:lnTo>
                      <a:pt x="960" y="44"/>
                    </a:lnTo>
                    <a:lnTo>
                      <a:pt x="971" y="39"/>
                    </a:lnTo>
                    <a:lnTo>
                      <a:pt x="981" y="32"/>
                    </a:lnTo>
                    <a:lnTo>
                      <a:pt x="991" y="26"/>
                    </a:lnTo>
                    <a:lnTo>
                      <a:pt x="1002" y="19"/>
                    </a:lnTo>
                    <a:lnTo>
                      <a:pt x="1012" y="13"/>
                    </a:lnTo>
                    <a:lnTo>
                      <a:pt x="1022" y="6"/>
                    </a:lnTo>
                    <a:lnTo>
                      <a:pt x="1032" y="0"/>
                    </a:lnTo>
                    <a:lnTo>
                      <a:pt x="1036" y="351"/>
                    </a:lnTo>
                    <a:lnTo>
                      <a:pt x="1411" y="511"/>
                    </a:lnTo>
                    <a:lnTo>
                      <a:pt x="1391" y="526"/>
                    </a:lnTo>
                    <a:lnTo>
                      <a:pt x="1370" y="540"/>
                    </a:lnTo>
                    <a:lnTo>
                      <a:pt x="1350" y="553"/>
                    </a:lnTo>
                    <a:lnTo>
                      <a:pt x="1329" y="566"/>
                    </a:lnTo>
                    <a:lnTo>
                      <a:pt x="1308" y="579"/>
                    </a:lnTo>
                    <a:lnTo>
                      <a:pt x="1287" y="591"/>
                    </a:lnTo>
                    <a:lnTo>
                      <a:pt x="1266" y="602"/>
                    </a:lnTo>
                    <a:lnTo>
                      <a:pt x="1244" y="614"/>
                    </a:lnTo>
                    <a:lnTo>
                      <a:pt x="1222" y="625"/>
                    </a:lnTo>
                    <a:lnTo>
                      <a:pt x="1199" y="635"/>
                    </a:lnTo>
                    <a:lnTo>
                      <a:pt x="1177" y="645"/>
                    </a:lnTo>
                    <a:lnTo>
                      <a:pt x="1154" y="655"/>
                    </a:lnTo>
                    <a:lnTo>
                      <a:pt x="1132" y="664"/>
                    </a:lnTo>
                    <a:lnTo>
                      <a:pt x="1109" y="673"/>
                    </a:lnTo>
                    <a:lnTo>
                      <a:pt x="1086" y="683"/>
                    </a:lnTo>
                    <a:lnTo>
                      <a:pt x="1062" y="691"/>
                    </a:lnTo>
                    <a:lnTo>
                      <a:pt x="1038" y="698"/>
                    </a:lnTo>
                    <a:lnTo>
                      <a:pt x="1014" y="705"/>
                    </a:lnTo>
                    <a:lnTo>
                      <a:pt x="990" y="712"/>
                    </a:lnTo>
                    <a:lnTo>
                      <a:pt x="966" y="718"/>
                    </a:lnTo>
                    <a:lnTo>
                      <a:pt x="941" y="724"/>
                    </a:lnTo>
                    <a:lnTo>
                      <a:pt x="917" y="729"/>
                    </a:lnTo>
                    <a:lnTo>
                      <a:pt x="866" y="738"/>
                    </a:lnTo>
                    <a:lnTo>
                      <a:pt x="841" y="742"/>
                    </a:lnTo>
                    <a:lnTo>
                      <a:pt x="816" y="745"/>
                    </a:lnTo>
                    <a:lnTo>
                      <a:pt x="791" y="748"/>
                    </a:lnTo>
                    <a:lnTo>
                      <a:pt x="765" y="750"/>
                    </a:lnTo>
                    <a:lnTo>
                      <a:pt x="738" y="752"/>
                    </a:lnTo>
                    <a:lnTo>
                      <a:pt x="713" y="753"/>
                    </a:lnTo>
                    <a:lnTo>
                      <a:pt x="687" y="754"/>
                    </a:lnTo>
                    <a:lnTo>
                      <a:pt x="661" y="754"/>
                    </a:lnTo>
                    <a:lnTo>
                      <a:pt x="616" y="753"/>
                    </a:lnTo>
                    <a:lnTo>
                      <a:pt x="593" y="752"/>
                    </a:lnTo>
                    <a:lnTo>
                      <a:pt x="570" y="751"/>
                    </a:lnTo>
                    <a:lnTo>
                      <a:pt x="548" y="749"/>
                    </a:lnTo>
                    <a:lnTo>
                      <a:pt x="526" y="747"/>
                    </a:lnTo>
                    <a:lnTo>
                      <a:pt x="504" y="744"/>
                    </a:lnTo>
                    <a:lnTo>
                      <a:pt x="482" y="742"/>
                    </a:lnTo>
                    <a:lnTo>
                      <a:pt x="461" y="738"/>
                    </a:lnTo>
                    <a:lnTo>
                      <a:pt x="439" y="735"/>
                    </a:lnTo>
                    <a:lnTo>
                      <a:pt x="417" y="731"/>
                    </a:lnTo>
                    <a:lnTo>
                      <a:pt x="396" y="726"/>
                    </a:lnTo>
                    <a:lnTo>
                      <a:pt x="374" y="722"/>
                    </a:lnTo>
                    <a:lnTo>
                      <a:pt x="353" y="716"/>
                    </a:lnTo>
                    <a:lnTo>
                      <a:pt x="333" y="711"/>
                    </a:lnTo>
                    <a:lnTo>
                      <a:pt x="312" y="705"/>
                    </a:lnTo>
                    <a:lnTo>
                      <a:pt x="271" y="693"/>
                    </a:lnTo>
                    <a:lnTo>
                      <a:pt x="250" y="686"/>
                    </a:lnTo>
                    <a:lnTo>
                      <a:pt x="229" y="679"/>
                    </a:lnTo>
                    <a:lnTo>
                      <a:pt x="209" y="670"/>
                    </a:lnTo>
                    <a:lnTo>
                      <a:pt x="190" y="663"/>
                    </a:lnTo>
                    <a:lnTo>
                      <a:pt x="170" y="655"/>
                    </a:lnTo>
                    <a:lnTo>
                      <a:pt x="150" y="646"/>
                    </a:lnTo>
                    <a:lnTo>
                      <a:pt x="131" y="637"/>
                    </a:lnTo>
                    <a:lnTo>
                      <a:pt x="112" y="628"/>
                    </a:lnTo>
                    <a:lnTo>
                      <a:pt x="92" y="619"/>
                    </a:lnTo>
                    <a:lnTo>
                      <a:pt x="73" y="610"/>
                    </a:lnTo>
                    <a:lnTo>
                      <a:pt x="36" y="590"/>
                    </a:lnTo>
                    <a:lnTo>
                      <a:pt x="0" y="5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6" name="Freeform 19"/>
              <p:cNvSpPr>
                <a:spLocks noChangeAspect="1"/>
              </p:cNvSpPr>
              <p:nvPr/>
            </p:nvSpPr>
            <p:spPr bwMode="auto">
              <a:xfrm>
                <a:off x="1840" y="2330"/>
                <a:ext cx="934" cy="1434"/>
              </a:xfrm>
              <a:custGeom>
                <a:avLst/>
                <a:gdLst>
                  <a:gd name="T0" fmla="*/ 917 w 934"/>
                  <a:gd name="T1" fmla="*/ 907 h 1434"/>
                  <a:gd name="T2" fmla="*/ 885 w 934"/>
                  <a:gd name="T3" fmla="*/ 883 h 1434"/>
                  <a:gd name="T4" fmla="*/ 854 w 934"/>
                  <a:gd name="T5" fmla="*/ 858 h 1434"/>
                  <a:gd name="T6" fmla="*/ 825 w 934"/>
                  <a:gd name="T7" fmla="*/ 831 h 1434"/>
                  <a:gd name="T8" fmla="*/ 798 w 934"/>
                  <a:gd name="T9" fmla="*/ 803 h 1434"/>
                  <a:gd name="T10" fmla="*/ 773 w 934"/>
                  <a:gd name="T11" fmla="*/ 771 h 1434"/>
                  <a:gd name="T12" fmla="*/ 750 w 934"/>
                  <a:gd name="T13" fmla="*/ 740 h 1434"/>
                  <a:gd name="T14" fmla="*/ 729 w 934"/>
                  <a:gd name="T15" fmla="*/ 706 h 1434"/>
                  <a:gd name="T16" fmla="*/ 708 w 934"/>
                  <a:gd name="T17" fmla="*/ 672 h 1434"/>
                  <a:gd name="T18" fmla="*/ 691 w 934"/>
                  <a:gd name="T19" fmla="*/ 636 h 1434"/>
                  <a:gd name="T20" fmla="*/ 676 w 934"/>
                  <a:gd name="T21" fmla="*/ 598 h 1434"/>
                  <a:gd name="T22" fmla="*/ 663 w 934"/>
                  <a:gd name="T23" fmla="*/ 560 h 1434"/>
                  <a:gd name="T24" fmla="*/ 653 w 934"/>
                  <a:gd name="T25" fmla="*/ 521 h 1434"/>
                  <a:gd name="T26" fmla="*/ 645 w 934"/>
                  <a:gd name="T27" fmla="*/ 480 h 1434"/>
                  <a:gd name="T28" fmla="*/ 640 w 934"/>
                  <a:gd name="T29" fmla="*/ 438 h 1434"/>
                  <a:gd name="T30" fmla="*/ 637 w 934"/>
                  <a:gd name="T31" fmla="*/ 397 h 1434"/>
                  <a:gd name="T32" fmla="*/ 637 w 934"/>
                  <a:gd name="T33" fmla="*/ 355 h 1434"/>
                  <a:gd name="T34" fmla="*/ 639 w 934"/>
                  <a:gd name="T35" fmla="*/ 315 h 1434"/>
                  <a:gd name="T36" fmla="*/ 401 w 934"/>
                  <a:gd name="T37" fmla="*/ 0 h 1434"/>
                  <a:gd name="T38" fmla="*/ 26 w 934"/>
                  <a:gd name="T39" fmla="*/ 115 h 1434"/>
                  <a:gd name="T40" fmla="*/ 14 w 934"/>
                  <a:gd name="T41" fmla="*/ 188 h 1434"/>
                  <a:gd name="T42" fmla="*/ 9 w 934"/>
                  <a:gd name="T43" fmla="*/ 225 h 1434"/>
                  <a:gd name="T44" fmla="*/ 5 w 934"/>
                  <a:gd name="T45" fmla="*/ 262 h 1434"/>
                  <a:gd name="T46" fmla="*/ 1 w 934"/>
                  <a:gd name="T47" fmla="*/ 338 h 1434"/>
                  <a:gd name="T48" fmla="*/ 0 w 934"/>
                  <a:gd name="T49" fmla="*/ 396 h 1434"/>
                  <a:gd name="T50" fmla="*/ 2 w 934"/>
                  <a:gd name="T51" fmla="*/ 437 h 1434"/>
                  <a:gd name="T52" fmla="*/ 4 w 934"/>
                  <a:gd name="T53" fmla="*/ 478 h 1434"/>
                  <a:gd name="T54" fmla="*/ 10 w 934"/>
                  <a:gd name="T55" fmla="*/ 538 h 1434"/>
                  <a:gd name="T56" fmla="*/ 16 w 934"/>
                  <a:gd name="T57" fmla="*/ 577 h 1434"/>
                  <a:gd name="T58" fmla="*/ 31 w 934"/>
                  <a:gd name="T59" fmla="*/ 656 h 1434"/>
                  <a:gd name="T60" fmla="*/ 40 w 934"/>
                  <a:gd name="T61" fmla="*/ 694 h 1434"/>
                  <a:gd name="T62" fmla="*/ 62 w 934"/>
                  <a:gd name="T63" fmla="*/ 769 h 1434"/>
                  <a:gd name="T64" fmla="*/ 82 w 934"/>
                  <a:gd name="T65" fmla="*/ 825 h 1434"/>
                  <a:gd name="T66" fmla="*/ 96 w 934"/>
                  <a:gd name="T67" fmla="*/ 861 h 1434"/>
                  <a:gd name="T68" fmla="*/ 119 w 934"/>
                  <a:gd name="T69" fmla="*/ 914 h 1434"/>
                  <a:gd name="T70" fmla="*/ 154 w 934"/>
                  <a:gd name="T71" fmla="*/ 983 h 1434"/>
                  <a:gd name="T72" fmla="*/ 173 w 934"/>
                  <a:gd name="T73" fmla="*/ 1016 h 1434"/>
                  <a:gd name="T74" fmla="*/ 203 w 934"/>
                  <a:gd name="T75" fmla="*/ 1065 h 1434"/>
                  <a:gd name="T76" fmla="*/ 235 w 934"/>
                  <a:gd name="T77" fmla="*/ 1114 h 1434"/>
                  <a:gd name="T78" fmla="*/ 281 w 934"/>
                  <a:gd name="T79" fmla="*/ 1175 h 1434"/>
                  <a:gd name="T80" fmla="*/ 306 w 934"/>
                  <a:gd name="T81" fmla="*/ 1204 h 1434"/>
                  <a:gd name="T82" fmla="*/ 331 w 934"/>
                  <a:gd name="T83" fmla="*/ 1232 h 1434"/>
                  <a:gd name="T84" fmla="*/ 357 w 934"/>
                  <a:gd name="T85" fmla="*/ 1261 h 1434"/>
                  <a:gd name="T86" fmla="*/ 383 w 934"/>
                  <a:gd name="T87" fmla="*/ 1288 h 1434"/>
                  <a:gd name="T88" fmla="*/ 412 w 934"/>
                  <a:gd name="T89" fmla="*/ 1315 h 1434"/>
                  <a:gd name="T90" fmla="*/ 469 w 934"/>
                  <a:gd name="T91" fmla="*/ 1364 h 1434"/>
                  <a:gd name="T92" fmla="*/ 529 w 934"/>
                  <a:gd name="T93" fmla="*/ 1411 h 1434"/>
                  <a:gd name="T94" fmla="*/ 601 w 934"/>
                  <a:gd name="T95" fmla="*/ 1030 h 143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934"/>
                  <a:gd name="T145" fmla="*/ 0 h 1434"/>
                  <a:gd name="T146" fmla="*/ 934 w 934"/>
                  <a:gd name="T147" fmla="*/ 1434 h 143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934" h="1434">
                    <a:moveTo>
                      <a:pt x="934" y="918"/>
                    </a:moveTo>
                    <a:lnTo>
                      <a:pt x="917" y="907"/>
                    </a:lnTo>
                    <a:lnTo>
                      <a:pt x="901" y="895"/>
                    </a:lnTo>
                    <a:lnTo>
                      <a:pt x="885" y="883"/>
                    </a:lnTo>
                    <a:lnTo>
                      <a:pt x="869" y="871"/>
                    </a:lnTo>
                    <a:lnTo>
                      <a:pt x="854" y="858"/>
                    </a:lnTo>
                    <a:lnTo>
                      <a:pt x="839" y="845"/>
                    </a:lnTo>
                    <a:lnTo>
                      <a:pt x="825" y="831"/>
                    </a:lnTo>
                    <a:lnTo>
                      <a:pt x="812" y="817"/>
                    </a:lnTo>
                    <a:lnTo>
                      <a:pt x="798" y="803"/>
                    </a:lnTo>
                    <a:lnTo>
                      <a:pt x="786" y="788"/>
                    </a:lnTo>
                    <a:lnTo>
                      <a:pt x="773" y="771"/>
                    </a:lnTo>
                    <a:lnTo>
                      <a:pt x="761" y="756"/>
                    </a:lnTo>
                    <a:lnTo>
                      <a:pt x="750" y="740"/>
                    </a:lnTo>
                    <a:lnTo>
                      <a:pt x="739" y="723"/>
                    </a:lnTo>
                    <a:lnTo>
                      <a:pt x="729" y="706"/>
                    </a:lnTo>
                    <a:lnTo>
                      <a:pt x="718" y="689"/>
                    </a:lnTo>
                    <a:lnTo>
                      <a:pt x="708" y="672"/>
                    </a:lnTo>
                    <a:lnTo>
                      <a:pt x="699" y="654"/>
                    </a:lnTo>
                    <a:lnTo>
                      <a:pt x="691" y="636"/>
                    </a:lnTo>
                    <a:lnTo>
                      <a:pt x="683" y="618"/>
                    </a:lnTo>
                    <a:lnTo>
                      <a:pt x="676" y="598"/>
                    </a:lnTo>
                    <a:lnTo>
                      <a:pt x="669" y="579"/>
                    </a:lnTo>
                    <a:lnTo>
                      <a:pt x="663" y="560"/>
                    </a:lnTo>
                    <a:lnTo>
                      <a:pt x="658" y="540"/>
                    </a:lnTo>
                    <a:lnTo>
                      <a:pt x="653" y="521"/>
                    </a:lnTo>
                    <a:lnTo>
                      <a:pt x="649" y="501"/>
                    </a:lnTo>
                    <a:lnTo>
                      <a:pt x="645" y="480"/>
                    </a:lnTo>
                    <a:lnTo>
                      <a:pt x="642" y="460"/>
                    </a:lnTo>
                    <a:lnTo>
                      <a:pt x="640" y="438"/>
                    </a:lnTo>
                    <a:lnTo>
                      <a:pt x="638" y="418"/>
                    </a:lnTo>
                    <a:lnTo>
                      <a:pt x="637" y="397"/>
                    </a:lnTo>
                    <a:lnTo>
                      <a:pt x="637" y="376"/>
                    </a:lnTo>
                    <a:lnTo>
                      <a:pt x="637" y="355"/>
                    </a:lnTo>
                    <a:lnTo>
                      <a:pt x="638" y="335"/>
                    </a:lnTo>
                    <a:lnTo>
                      <a:pt x="639" y="315"/>
                    </a:lnTo>
                    <a:lnTo>
                      <a:pt x="642" y="295"/>
                    </a:lnTo>
                    <a:lnTo>
                      <a:pt x="401" y="0"/>
                    </a:lnTo>
                    <a:lnTo>
                      <a:pt x="34" y="80"/>
                    </a:lnTo>
                    <a:lnTo>
                      <a:pt x="26" y="115"/>
                    </a:lnTo>
                    <a:lnTo>
                      <a:pt x="20" y="152"/>
                    </a:lnTo>
                    <a:lnTo>
                      <a:pt x="14" y="188"/>
                    </a:lnTo>
                    <a:lnTo>
                      <a:pt x="11" y="207"/>
                    </a:lnTo>
                    <a:lnTo>
                      <a:pt x="9" y="225"/>
                    </a:lnTo>
                    <a:lnTo>
                      <a:pt x="7" y="243"/>
                    </a:lnTo>
                    <a:lnTo>
                      <a:pt x="5" y="262"/>
                    </a:lnTo>
                    <a:lnTo>
                      <a:pt x="2" y="300"/>
                    </a:lnTo>
                    <a:lnTo>
                      <a:pt x="1" y="338"/>
                    </a:lnTo>
                    <a:lnTo>
                      <a:pt x="0" y="376"/>
                    </a:lnTo>
                    <a:lnTo>
                      <a:pt x="0" y="396"/>
                    </a:lnTo>
                    <a:lnTo>
                      <a:pt x="1" y="416"/>
                    </a:lnTo>
                    <a:lnTo>
                      <a:pt x="2" y="437"/>
                    </a:lnTo>
                    <a:lnTo>
                      <a:pt x="3" y="458"/>
                    </a:lnTo>
                    <a:lnTo>
                      <a:pt x="4" y="478"/>
                    </a:lnTo>
                    <a:lnTo>
                      <a:pt x="6" y="498"/>
                    </a:lnTo>
                    <a:lnTo>
                      <a:pt x="10" y="538"/>
                    </a:lnTo>
                    <a:lnTo>
                      <a:pt x="13" y="557"/>
                    </a:lnTo>
                    <a:lnTo>
                      <a:pt x="16" y="577"/>
                    </a:lnTo>
                    <a:lnTo>
                      <a:pt x="23" y="617"/>
                    </a:lnTo>
                    <a:lnTo>
                      <a:pt x="31" y="656"/>
                    </a:lnTo>
                    <a:lnTo>
                      <a:pt x="35" y="675"/>
                    </a:lnTo>
                    <a:lnTo>
                      <a:pt x="40" y="694"/>
                    </a:lnTo>
                    <a:lnTo>
                      <a:pt x="50" y="732"/>
                    </a:lnTo>
                    <a:lnTo>
                      <a:pt x="62" y="769"/>
                    </a:lnTo>
                    <a:lnTo>
                      <a:pt x="74" y="807"/>
                    </a:lnTo>
                    <a:lnTo>
                      <a:pt x="82" y="825"/>
                    </a:lnTo>
                    <a:lnTo>
                      <a:pt x="89" y="843"/>
                    </a:lnTo>
                    <a:lnTo>
                      <a:pt x="96" y="861"/>
                    </a:lnTo>
                    <a:lnTo>
                      <a:pt x="104" y="878"/>
                    </a:lnTo>
                    <a:lnTo>
                      <a:pt x="119" y="914"/>
                    </a:lnTo>
                    <a:lnTo>
                      <a:pt x="136" y="949"/>
                    </a:lnTo>
                    <a:lnTo>
                      <a:pt x="154" y="983"/>
                    </a:lnTo>
                    <a:lnTo>
                      <a:pt x="163" y="1000"/>
                    </a:lnTo>
                    <a:lnTo>
                      <a:pt x="173" y="1016"/>
                    </a:lnTo>
                    <a:lnTo>
                      <a:pt x="192" y="1049"/>
                    </a:lnTo>
                    <a:lnTo>
                      <a:pt x="203" y="1065"/>
                    </a:lnTo>
                    <a:lnTo>
                      <a:pt x="213" y="1081"/>
                    </a:lnTo>
                    <a:lnTo>
                      <a:pt x="235" y="1114"/>
                    </a:lnTo>
                    <a:lnTo>
                      <a:pt x="258" y="1145"/>
                    </a:lnTo>
                    <a:lnTo>
                      <a:pt x="281" y="1175"/>
                    </a:lnTo>
                    <a:lnTo>
                      <a:pt x="293" y="1189"/>
                    </a:lnTo>
                    <a:lnTo>
                      <a:pt x="306" y="1204"/>
                    </a:lnTo>
                    <a:lnTo>
                      <a:pt x="318" y="1218"/>
                    </a:lnTo>
                    <a:lnTo>
                      <a:pt x="331" y="1232"/>
                    </a:lnTo>
                    <a:lnTo>
                      <a:pt x="344" y="1246"/>
                    </a:lnTo>
                    <a:lnTo>
                      <a:pt x="357" y="1261"/>
                    </a:lnTo>
                    <a:lnTo>
                      <a:pt x="370" y="1275"/>
                    </a:lnTo>
                    <a:lnTo>
                      <a:pt x="383" y="1288"/>
                    </a:lnTo>
                    <a:lnTo>
                      <a:pt x="397" y="1301"/>
                    </a:lnTo>
                    <a:lnTo>
                      <a:pt x="412" y="1315"/>
                    </a:lnTo>
                    <a:lnTo>
                      <a:pt x="440" y="1340"/>
                    </a:lnTo>
                    <a:lnTo>
                      <a:pt x="469" y="1364"/>
                    </a:lnTo>
                    <a:lnTo>
                      <a:pt x="499" y="1388"/>
                    </a:lnTo>
                    <a:lnTo>
                      <a:pt x="529" y="1411"/>
                    </a:lnTo>
                    <a:lnTo>
                      <a:pt x="561" y="1434"/>
                    </a:lnTo>
                    <a:lnTo>
                      <a:pt x="601" y="1030"/>
                    </a:lnTo>
                    <a:lnTo>
                      <a:pt x="934" y="9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>
            <a:xfrm>
              <a:off x="8831862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" name="Gruppierung 7"/>
          <p:cNvGrpSpPr/>
          <p:nvPr/>
        </p:nvGrpSpPr>
        <p:grpSpPr>
          <a:xfrm>
            <a:off x="2567608" y="3661693"/>
            <a:ext cx="2015999" cy="2016000"/>
            <a:chOff x="2567608" y="3661693"/>
            <a:chExt cx="2015999" cy="2016000"/>
          </a:xfrm>
        </p:grpSpPr>
        <p:grpSp>
          <p:nvGrpSpPr>
            <p:cNvPr id="67" name="Group 20"/>
            <p:cNvGrpSpPr>
              <a:grpSpLocks/>
            </p:cNvGrpSpPr>
            <p:nvPr/>
          </p:nvGrpSpPr>
          <p:grpSpPr bwMode="auto">
            <a:xfrm>
              <a:off x="2567608" y="3661693"/>
              <a:ext cx="2015999" cy="2016000"/>
              <a:chOff x="1840" y="1360"/>
              <a:chExt cx="2561" cy="2560"/>
            </a:xfrm>
            <a:solidFill>
              <a:srgbClr val="2F52A0"/>
            </a:solidFill>
          </p:grpSpPr>
          <p:sp>
            <p:nvSpPr>
              <p:cNvPr id="68" name="Freeform 21"/>
              <p:cNvSpPr>
                <a:spLocks noChangeAspect="1"/>
              </p:cNvSpPr>
              <p:nvPr/>
            </p:nvSpPr>
            <p:spPr bwMode="auto">
              <a:xfrm>
                <a:off x="1840" y="2078"/>
                <a:ext cx="750" cy="1243"/>
              </a:xfrm>
              <a:custGeom>
                <a:avLst/>
                <a:gdLst>
                  <a:gd name="T0" fmla="*/ 384 w 750"/>
                  <a:gd name="T1" fmla="*/ 899 h 1243"/>
                  <a:gd name="T2" fmla="*/ 185 w 750"/>
                  <a:gd name="T3" fmla="*/ 1225 h 1243"/>
                  <a:gd name="T4" fmla="*/ 163 w 750"/>
                  <a:gd name="T5" fmla="*/ 1187 h 1243"/>
                  <a:gd name="T6" fmla="*/ 142 w 750"/>
                  <a:gd name="T7" fmla="*/ 1149 h 1243"/>
                  <a:gd name="T8" fmla="*/ 123 w 750"/>
                  <a:gd name="T9" fmla="*/ 1108 h 1243"/>
                  <a:gd name="T10" fmla="*/ 96 w 750"/>
                  <a:gd name="T11" fmla="*/ 1048 h 1243"/>
                  <a:gd name="T12" fmla="*/ 79 w 750"/>
                  <a:gd name="T13" fmla="*/ 1007 h 1243"/>
                  <a:gd name="T14" fmla="*/ 58 w 750"/>
                  <a:gd name="T15" fmla="*/ 943 h 1243"/>
                  <a:gd name="T16" fmla="*/ 45 w 750"/>
                  <a:gd name="T17" fmla="*/ 901 h 1243"/>
                  <a:gd name="T18" fmla="*/ 34 w 750"/>
                  <a:gd name="T19" fmla="*/ 858 h 1243"/>
                  <a:gd name="T20" fmla="*/ 25 w 750"/>
                  <a:gd name="T21" fmla="*/ 814 h 1243"/>
                  <a:gd name="T22" fmla="*/ 17 w 750"/>
                  <a:gd name="T23" fmla="*/ 768 h 1243"/>
                  <a:gd name="T24" fmla="*/ 10 w 750"/>
                  <a:gd name="T25" fmla="*/ 723 h 1243"/>
                  <a:gd name="T26" fmla="*/ 5 w 750"/>
                  <a:gd name="T27" fmla="*/ 678 h 1243"/>
                  <a:gd name="T28" fmla="*/ 2 w 750"/>
                  <a:gd name="T29" fmla="*/ 631 h 1243"/>
                  <a:gd name="T30" fmla="*/ 0 w 750"/>
                  <a:gd name="T31" fmla="*/ 562 h 1243"/>
                  <a:gd name="T32" fmla="*/ 1 w 750"/>
                  <a:gd name="T33" fmla="*/ 507 h 1243"/>
                  <a:gd name="T34" fmla="*/ 5 w 750"/>
                  <a:gd name="T35" fmla="*/ 452 h 1243"/>
                  <a:gd name="T36" fmla="*/ 13 w 750"/>
                  <a:gd name="T37" fmla="*/ 381 h 1243"/>
                  <a:gd name="T38" fmla="*/ 21 w 750"/>
                  <a:gd name="T39" fmla="*/ 328 h 1243"/>
                  <a:gd name="T40" fmla="*/ 32 w 750"/>
                  <a:gd name="T41" fmla="*/ 275 h 1243"/>
                  <a:gd name="T42" fmla="*/ 40 w 750"/>
                  <a:gd name="T43" fmla="*/ 241 h 1243"/>
                  <a:gd name="T44" fmla="*/ 60 w 750"/>
                  <a:gd name="T45" fmla="*/ 174 h 1243"/>
                  <a:gd name="T46" fmla="*/ 83 w 750"/>
                  <a:gd name="T47" fmla="*/ 108 h 1243"/>
                  <a:gd name="T48" fmla="*/ 103 w 750"/>
                  <a:gd name="T49" fmla="*/ 60 h 1243"/>
                  <a:gd name="T50" fmla="*/ 124 w 750"/>
                  <a:gd name="T51" fmla="*/ 13 h 1243"/>
                  <a:gd name="T52" fmla="*/ 680 w 750"/>
                  <a:gd name="T53" fmla="*/ 330 h 1243"/>
                  <a:gd name="T54" fmla="*/ 670 w 750"/>
                  <a:gd name="T55" fmla="*/ 357 h 1243"/>
                  <a:gd name="T56" fmla="*/ 661 w 750"/>
                  <a:gd name="T57" fmla="*/ 384 h 1243"/>
                  <a:gd name="T58" fmla="*/ 654 w 750"/>
                  <a:gd name="T59" fmla="*/ 413 h 1243"/>
                  <a:gd name="T60" fmla="*/ 648 w 750"/>
                  <a:gd name="T61" fmla="*/ 441 h 1243"/>
                  <a:gd name="T62" fmla="*/ 643 w 750"/>
                  <a:gd name="T63" fmla="*/ 471 h 1243"/>
                  <a:gd name="T64" fmla="*/ 640 w 750"/>
                  <a:gd name="T65" fmla="*/ 501 h 1243"/>
                  <a:gd name="T66" fmla="*/ 637 w 750"/>
                  <a:gd name="T67" fmla="*/ 531 h 1243"/>
                  <a:gd name="T68" fmla="*/ 637 w 750"/>
                  <a:gd name="T69" fmla="*/ 587 h 1243"/>
                  <a:gd name="T70" fmla="*/ 641 w 750"/>
                  <a:gd name="T71" fmla="*/ 636 h 1243"/>
                  <a:gd name="T72" fmla="*/ 649 w 750"/>
                  <a:gd name="T73" fmla="*/ 685 h 1243"/>
                  <a:gd name="T74" fmla="*/ 654 w 750"/>
                  <a:gd name="T75" fmla="*/ 709 h 1243"/>
                  <a:gd name="T76" fmla="*/ 660 w 750"/>
                  <a:gd name="T77" fmla="*/ 733 h 1243"/>
                  <a:gd name="T78" fmla="*/ 674 w 750"/>
                  <a:gd name="T79" fmla="*/ 779 h 1243"/>
                  <a:gd name="T80" fmla="*/ 692 w 750"/>
                  <a:gd name="T81" fmla="*/ 824 h 1243"/>
                  <a:gd name="T82" fmla="*/ 713 w 750"/>
                  <a:gd name="T83" fmla="*/ 867 h 1243"/>
                  <a:gd name="T84" fmla="*/ 737 w 750"/>
                  <a:gd name="T85" fmla="*/ 907 h 124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50"/>
                  <a:gd name="T130" fmla="*/ 0 h 1243"/>
                  <a:gd name="T131" fmla="*/ 750 w 750"/>
                  <a:gd name="T132" fmla="*/ 1243 h 124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50" h="1243">
                    <a:moveTo>
                      <a:pt x="750" y="927"/>
                    </a:moveTo>
                    <a:lnTo>
                      <a:pt x="384" y="899"/>
                    </a:lnTo>
                    <a:lnTo>
                      <a:pt x="196" y="1243"/>
                    </a:lnTo>
                    <a:lnTo>
                      <a:pt x="185" y="1225"/>
                    </a:lnTo>
                    <a:lnTo>
                      <a:pt x="174" y="1206"/>
                    </a:lnTo>
                    <a:lnTo>
                      <a:pt x="163" y="1187"/>
                    </a:lnTo>
                    <a:lnTo>
                      <a:pt x="152" y="1168"/>
                    </a:lnTo>
                    <a:lnTo>
                      <a:pt x="142" y="1149"/>
                    </a:lnTo>
                    <a:lnTo>
                      <a:pt x="132" y="1129"/>
                    </a:lnTo>
                    <a:lnTo>
                      <a:pt x="123" y="1108"/>
                    </a:lnTo>
                    <a:lnTo>
                      <a:pt x="114" y="1089"/>
                    </a:lnTo>
                    <a:lnTo>
                      <a:pt x="96" y="1048"/>
                    </a:lnTo>
                    <a:lnTo>
                      <a:pt x="88" y="1028"/>
                    </a:lnTo>
                    <a:lnTo>
                      <a:pt x="79" y="1007"/>
                    </a:lnTo>
                    <a:lnTo>
                      <a:pt x="65" y="966"/>
                    </a:lnTo>
                    <a:lnTo>
                      <a:pt x="58" y="943"/>
                    </a:lnTo>
                    <a:lnTo>
                      <a:pt x="51" y="922"/>
                    </a:lnTo>
                    <a:lnTo>
                      <a:pt x="45" y="901"/>
                    </a:lnTo>
                    <a:lnTo>
                      <a:pt x="40" y="879"/>
                    </a:lnTo>
                    <a:lnTo>
                      <a:pt x="34" y="858"/>
                    </a:lnTo>
                    <a:lnTo>
                      <a:pt x="29" y="836"/>
                    </a:lnTo>
                    <a:lnTo>
                      <a:pt x="25" y="814"/>
                    </a:lnTo>
                    <a:lnTo>
                      <a:pt x="20" y="791"/>
                    </a:lnTo>
                    <a:lnTo>
                      <a:pt x="17" y="768"/>
                    </a:lnTo>
                    <a:lnTo>
                      <a:pt x="13" y="746"/>
                    </a:lnTo>
                    <a:lnTo>
                      <a:pt x="10" y="723"/>
                    </a:lnTo>
                    <a:lnTo>
                      <a:pt x="8" y="701"/>
                    </a:lnTo>
                    <a:lnTo>
                      <a:pt x="5" y="678"/>
                    </a:lnTo>
                    <a:lnTo>
                      <a:pt x="3" y="655"/>
                    </a:lnTo>
                    <a:lnTo>
                      <a:pt x="2" y="631"/>
                    </a:lnTo>
                    <a:lnTo>
                      <a:pt x="1" y="608"/>
                    </a:lnTo>
                    <a:lnTo>
                      <a:pt x="0" y="562"/>
                    </a:lnTo>
                    <a:lnTo>
                      <a:pt x="1" y="525"/>
                    </a:lnTo>
                    <a:lnTo>
                      <a:pt x="1" y="507"/>
                    </a:lnTo>
                    <a:lnTo>
                      <a:pt x="2" y="489"/>
                    </a:lnTo>
                    <a:lnTo>
                      <a:pt x="5" y="452"/>
                    </a:lnTo>
                    <a:lnTo>
                      <a:pt x="8" y="416"/>
                    </a:lnTo>
                    <a:lnTo>
                      <a:pt x="13" y="381"/>
                    </a:lnTo>
                    <a:lnTo>
                      <a:pt x="18" y="346"/>
                    </a:lnTo>
                    <a:lnTo>
                      <a:pt x="21" y="328"/>
                    </a:lnTo>
                    <a:lnTo>
                      <a:pt x="25" y="310"/>
                    </a:lnTo>
                    <a:lnTo>
                      <a:pt x="32" y="275"/>
                    </a:lnTo>
                    <a:lnTo>
                      <a:pt x="36" y="258"/>
                    </a:lnTo>
                    <a:lnTo>
                      <a:pt x="40" y="241"/>
                    </a:lnTo>
                    <a:lnTo>
                      <a:pt x="49" y="208"/>
                    </a:lnTo>
                    <a:lnTo>
                      <a:pt x="60" y="174"/>
                    </a:lnTo>
                    <a:lnTo>
                      <a:pt x="70" y="140"/>
                    </a:lnTo>
                    <a:lnTo>
                      <a:pt x="83" y="108"/>
                    </a:lnTo>
                    <a:lnTo>
                      <a:pt x="96" y="76"/>
                    </a:lnTo>
                    <a:lnTo>
                      <a:pt x="103" y="60"/>
                    </a:lnTo>
                    <a:lnTo>
                      <a:pt x="109" y="44"/>
                    </a:lnTo>
                    <a:lnTo>
                      <a:pt x="124" y="13"/>
                    </a:lnTo>
                    <a:lnTo>
                      <a:pt x="506" y="0"/>
                    </a:lnTo>
                    <a:lnTo>
                      <a:pt x="680" y="330"/>
                    </a:lnTo>
                    <a:lnTo>
                      <a:pt x="675" y="343"/>
                    </a:lnTo>
                    <a:lnTo>
                      <a:pt x="670" y="357"/>
                    </a:lnTo>
                    <a:lnTo>
                      <a:pt x="665" y="370"/>
                    </a:lnTo>
                    <a:lnTo>
                      <a:pt x="661" y="384"/>
                    </a:lnTo>
                    <a:lnTo>
                      <a:pt x="657" y="398"/>
                    </a:lnTo>
                    <a:lnTo>
                      <a:pt x="654" y="413"/>
                    </a:lnTo>
                    <a:lnTo>
                      <a:pt x="651" y="427"/>
                    </a:lnTo>
                    <a:lnTo>
                      <a:pt x="648" y="441"/>
                    </a:lnTo>
                    <a:lnTo>
                      <a:pt x="645" y="456"/>
                    </a:lnTo>
                    <a:lnTo>
                      <a:pt x="643" y="471"/>
                    </a:lnTo>
                    <a:lnTo>
                      <a:pt x="641" y="486"/>
                    </a:lnTo>
                    <a:lnTo>
                      <a:pt x="640" y="501"/>
                    </a:lnTo>
                    <a:lnTo>
                      <a:pt x="638" y="516"/>
                    </a:lnTo>
                    <a:lnTo>
                      <a:pt x="637" y="531"/>
                    </a:lnTo>
                    <a:lnTo>
                      <a:pt x="637" y="562"/>
                    </a:lnTo>
                    <a:lnTo>
                      <a:pt x="637" y="587"/>
                    </a:lnTo>
                    <a:lnTo>
                      <a:pt x="639" y="611"/>
                    </a:lnTo>
                    <a:lnTo>
                      <a:pt x="641" y="636"/>
                    </a:lnTo>
                    <a:lnTo>
                      <a:pt x="644" y="661"/>
                    </a:lnTo>
                    <a:lnTo>
                      <a:pt x="649" y="685"/>
                    </a:lnTo>
                    <a:lnTo>
                      <a:pt x="651" y="697"/>
                    </a:lnTo>
                    <a:lnTo>
                      <a:pt x="654" y="709"/>
                    </a:lnTo>
                    <a:lnTo>
                      <a:pt x="657" y="721"/>
                    </a:lnTo>
                    <a:lnTo>
                      <a:pt x="660" y="733"/>
                    </a:lnTo>
                    <a:lnTo>
                      <a:pt x="667" y="756"/>
                    </a:lnTo>
                    <a:lnTo>
                      <a:pt x="674" y="779"/>
                    </a:lnTo>
                    <a:lnTo>
                      <a:pt x="683" y="801"/>
                    </a:lnTo>
                    <a:lnTo>
                      <a:pt x="692" y="824"/>
                    </a:lnTo>
                    <a:lnTo>
                      <a:pt x="702" y="846"/>
                    </a:lnTo>
                    <a:lnTo>
                      <a:pt x="713" y="867"/>
                    </a:lnTo>
                    <a:lnTo>
                      <a:pt x="725" y="887"/>
                    </a:lnTo>
                    <a:lnTo>
                      <a:pt x="737" y="907"/>
                    </a:lnTo>
                    <a:lnTo>
                      <a:pt x="750" y="927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9" name="Freeform 22"/>
              <p:cNvSpPr>
                <a:spLocks noChangeAspect="1"/>
              </p:cNvSpPr>
              <p:nvPr/>
            </p:nvSpPr>
            <p:spPr bwMode="auto">
              <a:xfrm>
                <a:off x="1997" y="1360"/>
                <a:ext cx="1274" cy="984"/>
              </a:xfrm>
              <a:custGeom>
                <a:avLst/>
                <a:gdLst>
                  <a:gd name="T0" fmla="*/ 1064 w 1274"/>
                  <a:gd name="T1" fmla="*/ 638 h 984"/>
                  <a:gd name="T2" fmla="*/ 1021 w 1274"/>
                  <a:gd name="T3" fmla="*/ 644 h 984"/>
                  <a:gd name="T4" fmla="*/ 979 w 1274"/>
                  <a:gd name="T5" fmla="*/ 652 h 984"/>
                  <a:gd name="T6" fmla="*/ 938 w 1274"/>
                  <a:gd name="T7" fmla="*/ 662 h 984"/>
                  <a:gd name="T8" fmla="*/ 899 w 1274"/>
                  <a:gd name="T9" fmla="*/ 676 h 984"/>
                  <a:gd name="T10" fmla="*/ 859 w 1274"/>
                  <a:gd name="T11" fmla="*/ 692 h 984"/>
                  <a:gd name="T12" fmla="*/ 822 w 1274"/>
                  <a:gd name="T13" fmla="*/ 710 h 984"/>
                  <a:gd name="T14" fmla="*/ 787 w 1274"/>
                  <a:gd name="T15" fmla="*/ 731 h 984"/>
                  <a:gd name="T16" fmla="*/ 753 w 1274"/>
                  <a:gd name="T17" fmla="*/ 754 h 984"/>
                  <a:gd name="T18" fmla="*/ 719 w 1274"/>
                  <a:gd name="T19" fmla="*/ 778 h 984"/>
                  <a:gd name="T20" fmla="*/ 688 w 1274"/>
                  <a:gd name="T21" fmla="*/ 805 h 984"/>
                  <a:gd name="T22" fmla="*/ 666 w 1274"/>
                  <a:gd name="T23" fmla="*/ 826 h 984"/>
                  <a:gd name="T24" fmla="*/ 645 w 1274"/>
                  <a:gd name="T25" fmla="*/ 848 h 984"/>
                  <a:gd name="T26" fmla="*/ 619 w 1274"/>
                  <a:gd name="T27" fmla="*/ 881 h 984"/>
                  <a:gd name="T28" fmla="*/ 594 w 1274"/>
                  <a:gd name="T29" fmla="*/ 914 h 984"/>
                  <a:gd name="T30" fmla="*/ 572 w 1274"/>
                  <a:gd name="T31" fmla="*/ 948 h 984"/>
                  <a:gd name="T32" fmla="*/ 551 w 1274"/>
                  <a:gd name="T33" fmla="*/ 984 h 984"/>
                  <a:gd name="T34" fmla="*/ 0 w 1274"/>
                  <a:gd name="T35" fmla="*/ 665 h 984"/>
                  <a:gd name="T36" fmla="*/ 20 w 1274"/>
                  <a:gd name="T37" fmla="*/ 630 h 984"/>
                  <a:gd name="T38" fmla="*/ 52 w 1274"/>
                  <a:gd name="T39" fmla="*/ 578 h 984"/>
                  <a:gd name="T40" fmla="*/ 88 w 1274"/>
                  <a:gd name="T41" fmla="*/ 526 h 984"/>
                  <a:gd name="T42" fmla="*/ 125 w 1274"/>
                  <a:gd name="T43" fmla="*/ 478 h 984"/>
                  <a:gd name="T44" fmla="*/ 151 w 1274"/>
                  <a:gd name="T45" fmla="*/ 447 h 984"/>
                  <a:gd name="T46" fmla="*/ 178 w 1274"/>
                  <a:gd name="T47" fmla="*/ 416 h 984"/>
                  <a:gd name="T48" fmla="*/ 220 w 1274"/>
                  <a:gd name="T49" fmla="*/ 371 h 984"/>
                  <a:gd name="T50" fmla="*/ 250 w 1274"/>
                  <a:gd name="T51" fmla="*/ 343 h 984"/>
                  <a:gd name="T52" fmla="*/ 296 w 1274"/>
                  <a:gd name="T53" fmla="*/ 303 h 984"/>
                  <a:gd name="T54" fmla="*/ 343 w 1274"/>
                  <a:gd name="T55" fmla="*/ 264 h 984"/>
                  <a:gd name="T56" fmla="*/ 392 w 1274"/>
                  <a:gd name="T57" fmla="*/ 227 h 984"/>
                  <a:gd name="T58" fmla="*/ 444 w 1274"/>
                  <a:gd name="T59" fmla="*/ 194 h 984"/>
                  <a:gd name="T60" fmla="*/ 479 w 1274"/>
                  <a:gd name="T61" fmla="*/ 172 h 984"/>
                  <a:gd name="T62" fmla="*/ 551 w 1274"/>
                  <a:gd name="T63" fmla="*/ 133 h 984"/>
                  <a:gd name="T64" fmla="*/ 608 w 1274"/>
                  <a:gd name="T65" fmla="*/ 107 h 984"/>
                  <a:gd name="T66" fmla="*/ 646 w 1274"/>
                  <a:gd name="T67" fmla="*/ 91 h 984"/>
                  <a:gd name="T68" fmla="*/ 685 w 1274"/>
                  <a:gd name="T69" fmla="*/ 76 h 984"/>
                  <a:gd name="T70" fmla="*/ 745 w 1274"/>
                  <a:gd name="T71" fmla="*/ 56 h 984"/>
                  <a:gd name="T72" fmla="*/ 805 w 1274"/>
                  <a:gd name="T73" fmla="*/ 39 h 984"/>
                  <a:gd name="T74" fmla="*/ 846 w 1274"/>
                  <a:gd name="T75" fmla="*/ 29 h 984"/>
                  <a:gd name="T76" fmla="*/ 909 w 1274"/>
                  <a:gd name="T77" fmla="*/ 17 h 984"/>
                  <a:gd name="T78" fmla="*/ 951 w 1274"/>
                  <a:gd name="T79" fmla="*/ 11 h 984"/>
                  <a:gd name="T80" fmla="*/ 994 w 1274"/>
                  <a:gd name="T81" fmla="*/ 6 h 984"/>
                  <a:gd name="T82" fmla="*/ 1037 w 1274"/>
                  <a:gd name="T83" fmla="*/ 2 h 984"/>
                  <a:gd name="T84" fmla="*/ 1081 w 1274"/>
                  <a:gd name="T85" fmla="*/ 0 h 984"/>
                  <a:gd name="T86" fmla="*/ 1086 w 1274"/>
                  <a:gd name="T87" fmla="*/ 637 h 98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74"/>
                  <a:gd name="T133" fmla="*/ 0 h 984"/>
                  <a:gd name="T134" fmla="*/ 1274 w 1274"/>
                  <a:gd name="T135" fmla="*/ 984 h 98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74" h="984">
                    <a:moveTo>
                      <a:pt x="1086" y="637"/>
                    </a:moveTo>
                    <a:lnTo>
                      <a:pt x="1064" y="638"/>
                    </a:lnTo>
                    <a:lnTo>
                      <a:pt x="1042" y="641"/>
                    </a:lnTo>
                    <a:lnTo>
                      <a:pt x="1021" y="644"/>
                    </a:lnTo>
                    <a:lnTo>
                      <a:pt x="1000" y="647"/>
                    </a:lnTo>
                    <a:lnTo>
                      <a:pt x="979" y="652"/>
                    </a:lnTo>
                    <a:lnTo>
                      <a:pt x="959" y="657"/>
                    </a:lnTo>
                    <a:lnTo>
                      <a:pt x="938" y="662"/>
                    </a:lnTo>
                    <a:lnTo>
                      <a:pt x="918" y="669"/>
                    </a:lnTo>
                    <a:lnTo>
                      <a:pt x="899" y="676"/>
                    </a:lnTo>
                    <a:lnTo>
                      <a:pt x="879" y="683"/>
                    </a:lnTo>
                    <a:lnTo>
                      <a:pt x="859" y="692"/>
                    </a:lnTo>
                    <a:lnTo>
                      <a:pt x="841" y="700"/>
                    </a:lnTo>
                    <a:lnTo>
                      <a:pt x="822" y="710"/>
                    </a:lnTo>
                    <a:lnTo>
                      <a:pt x="804" y="721"/>
                    </a:lnTo>
                    <a:lnTo>
                      <a:pt x="787" y="731"/>
                    </a:lnTo>
                    <a:lnTo>
                      <a:pt x="769" y="742"/>
                    </a:lnTo>
                    <a:lnTo>
                      <a:pt x="753" y="754"/>
                    </a:lnTo>
                    <a:lnTo>
                      <a:pt x="736" y="766"/>
                    </a:lnTo>
                    <a:lnTo>
                      <a:pt x="719" y="778"/>
                    </a:lnTo>
                    <a:lnTo>
                      <a:pt x="703" y="791"/>
                    </a:lnTo>
                    <a:lnTo>
                      <a:pt x="688" y="805"/>
                    </a:lnTo>
                    <a:lnTo>
                      <a:pt x="673" y="819"/>
                    </a:lnTo>
                    <a:lnTo>
                      <a:pt x="666" y="826"/>
                    </a:lnTo>
                    <a:lnTo>
                      <a:pt x="659" y="834"/>
                    </a:lnTo>
                    <a:lnTo>
                      <a:pt x="645" y="848"/>
                    </a:lnTo>
                    <a:lnTo>
                      <a:pt x="632" y="864"/>
                    </a:lnTo>
                    <a:lnTo>
                      <a:pt x="619" y="881"/>
                    </a:lnTo>
                    <a:lnTo>
                      <a:pt x="606" y="897"/>
                    </a:lnTo>
                    <a:lnTo>
                      <a:pt x="594" y="914"/>
                    </a:lnTo>
                    <a:lnTo>
                      <a:pt x="583" y="931"/>
                    </a:lnTo>
                    <a:lnTo>
                      <a:pt x="572" y="948"/>
                    </a:lnTo>
                    <a:lnTo>
                      <a:pt x="561" y="966"/>
                    </a:lnTo>
                    <a:lnTo>
                      <a:pt x="551" y="984"/>
                    </a:lnTo>
                    <a:lnTo>
                      <a:pt x="397" y="659"/>
                    </a:lnTo>
                    <a:lnTo>
                      <a:pt x="0" y="665"/>
                    </a:lnTo>
                    <a:lnTo>
                      <a:pt x="10" y="647"/>
                    </a:lnTo>
                    <a:lnTo>
                      <a:pt x="20" y="630"/>
                    </a:lnTo>
                    <a:lnTo>
                      <a:pt x="41" y="595"/>
                    </a:lnTo>
                    <a:lnTo>
                      <a:pt x="52" y="578"/>
                    </a:lnTo>
                    <a:lnTo>
                      <a:pt x="64" y="561"/>
                    </a:lnTo>
                    <a:lnTo>
                      <a:pt x="88" y="526"/>
                    </a:lnTo>
                    <a:lnTo>
                      <a:pt x="113" y="494"/>
                    </a:lnTo>
                    <a:lnTo>
                      <a:pt x="125" y="478"/>
                    </a:lnTo>
                    <a:lnTo>
                      <a:pt x="138" y="462"/>
                    </a:lnTo>
                    <a:lnTo>
                      <a:pt x="151" y="447"/>
                    </a:lnTo>
                    <a:lnTo>
                      <a:pt x="164" y="431"/>
                    </a:lnTo>
                    <a:lnTo>
                      <a:pt x="178" y="416"/>
                    </a:lnTo>
                    <a:lnTo>
                      <a:pt x="192" y="401"/>
                    </a:lnTo>
                    <a:lnTo>
                      <a:pt x="220" y="371"/>
                    </a:lnTo>
                    <a:lnTo>
                      <a:pt x="235" y="357"/>
                    </a:lnTo>
                    <a:lnTo>
                      <a:pt x="250" y="343"/>
                    </a:lnTo>
                    <a:lnTo>
                      <a:pt x="280" y="316"/>
                    </a:lnTo>
                    <a:lnTo>
                      <a:pt x="296" y="303"/>
                    </a:lnTo>
                    <a:lnTo>
                      <a:pt x="311" y="290"/>
                    </a:lnTo>
                    <a:lnTo>
                      <a:pt x="343" y="264"/>
                    </a:lnTo>
                    <a:lnTo>
                      <a:pt x="376" y="239"/>
                    </a:lnTo>
                    <a:lnTo>
                      <a:pt x="392" y="227"/>
                    </a:lnTo>
                    <a:lnTo>
                      <a:pt x="410" y="216"/>
                    </a:lnTo>
                    <a:lnTo>
                      <a:pt x="444" y="194"/>
                    </a:lnTo>
                    <a:lnTo>
                      <a:pt x="462" y="183"/>
                    </a:lnTo>
                    <a:lnTo>
                      <a:pt x="479" y="172"/>
                    </a:lnTo>
                    <a:lnTo>
                      <a:pt x="515" y="152"/>
                    </a:lnTo>
                    <a:lnTo>
                      <a:pt x="551" y="133"/>
                    </a:lnTo>
                    <a:lnTo>
                      <a:pt x="589" y="116"/>
                    </a:lnTo>
                    <a:lnTo>
                      <a:pt x="608" y="107"/>
                    </a:lnTo>
                    <a:lnTo>
                      <a:pt x="627" y="99"/>
                    </a:lnTo>
                    <a:lnTo>
                      <a:pt x="646" y="91"/>
                    </a:lnTo>
                    <a:lnTo>
                      <a:pt x="665" y="84"/>
                    </a:lnTo>
                    <a:lnTo>
                      <a:pt x="685" y="76"/>
                    </a:lnTo>
                    <a:lnTo>
                      <a:pt x="704" y="69"/>
                    </a:lnTo>
                    <a:lnTo>
                      <a:pt x="745" y="56"/>
                    </a:lnTo>
                    <a:lnTo>
                      <a:pt x="785" y="44"/>
                    </a:lnTo>
                    <a:lnTo>
                      <a:pt x="805" y="39"/>
                    </a:lnTo>
                    <a:lnTo>
                      <a:pt x="825" y="34"/>
                    </a:lnTo>
                    <a:lnTo>
                      <a:pt x="846" y="29"/>
                    </a:lnTo>
                    <a:lnTo>
                      <a:pt x="866" y="25"/>
                    </a:lnTo>
                    <a:lnTo>
                      <a:pt x="909" y="17"/>
                    </a:lnTo>
                    <a:lnTo>
                      <a:pt x="930" y="14"/>
                    </a:lnTo>
                    <a:lnTo>
                      <a:pt x="951" y="11"/>
                    </a:lnTo>
                    <a:lnTo>
                      <a:pt x="972" y="8"/>
                    </a:lnTo>
                    <a:lnTo>
                      <a:pt x="994" y="6"/>
                    </a:lnTo>
                    <a:lnTo>
                      <a:pt x="1015" y="4"/>
                    </a:lnTo>
                    <a:lnTo>
                      <a:pt x="1037" y="2"/>
                    </a:lnTo>
                    <a:lnTo>
                      <a:pt x="1059" y="1"/>
                    </a:lnTo>
                    <a:lnTo>
                      <a:pt x="1081" y="0"/>
                    </a:lnTo>
                    <a:lnTo>
                      <a:pt x="1274" y="334"/>
                    </a:lnTo>
                    <a:lnTo>
                      <a:pt x="1086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0" name="Freeform 23"/>
              <p:cNvSpPr>
                <a:spLocks noChangeAspect="1"/>
              </p:cNvSpPr>
              <p:nvPr/>
            </p:nvSpPr>
            <p:spPr bwMode="auto">
              <a:xfrm>
                <a:off x="3143" y="1360"/>
                <a:ext cx="1076" cy="964"/>
              </a:xfrm>
              <a:custGeom>
                <a:avLst/>
                <a:gdLst>
                  <a:gd name="T0" fmla="*/ 22 w 1076"/>
                  <a:gd name="T1" fmla="*/ 637 h 964"/>
                  <a:gd name="T2" fmla="*/ 63 w 1076"/>
                  <a:gd name="T3" fmla="*/ 641 h 964"/>
                  <a:gd name="T4" fmla="*/ 103 w 1076"/>
                  <a:gd name="T5" fmla="*/ 648 h 964"/>
                  <a:gd name="T6" fmla="*/ 141 w 1076"/>
                  <a:gd name="T7" fmla="*/ 656 h 964"/>
                  <a:gd name="T8" fmla="*/ 179 w 1076"/>
                  <a:gd name="T9" fmla="*/ 668 h 964"/>
                  <a:gd name="T10" fmla="*/ 216 w 1076"/>
                  <a:gd name="T11" fmla="*/ 681 h 964"/>
                  <a:gd name="T12" fmla="*/ 252 w 1076"/>
                  <a:gd name="T13" fmla="*/ 696 h 964"/>
                  <a:gd name="T14" fmla="*/ 287 w 1076"/>
                  <a:gd name="T15" fmla="*/ 714 h 964"/>
                  <a:gd name="T16" fmla="*/ 320 w 1076"/>
                  <a:gd name="T17" fmla="*/ 735 h 964"/>
                  <a:gd name="T18" fmla="*/ 352 w 1076"/>
                  <a:gd name="T19" fmla="*/ 756 h 964"/>
                  <a:gd name="T20" fmla="*/ 384 w 1076"/>
                  <a:gd name="T21" fmla="*/ 779 h 964"/>
                  <a:gd name="T22" fmla="*/ 413 w 1076"/>
                  <a:gd name="T23" fmla="*/ 804 h 964"/>
                  <a:gd name="T24" fmla="*/ 440 w 1076"/>
                  <a:gd name="T25" fmla="*/ 831 h 964"/>
                  <a:gd name="T26" fmla="*/ 466 w 1076"/>
                  <a:gd name="T27" fmla="*/ 859 h 964"/>
                  <a:gd name="T28" fmla="*/ 490 w 1076"/>
                  <a:gd name="T29" fmla="*/ 890 h 964"/>
                  <a:gd name="T30" fmla="*/ 513 w 1076"/>
                  <a:gd name="T31" fmla="*/ 921 h 964"/>
                  <a:gd name="T32" fmla="*/ 884 w 1076"/>
                  <a:gd name="T33" fmla="*/ 964 h 964"/>
                  <a:gd name="T34" fmla="*/ 1066 w 1076"/>
                  <a:gd name="T35" fmla="*/ 604 h 964"/>
                  <a:gd name="T36" fmla="*/ 1033 w 1076"/>
                  <a:gd name="T37" fmla="*/ 553 h 964"/>
                  <a:gd name="T38" fmla="*/ 1009 w 1076"/>
                  <a:gd name="T39" fmla="*/ 521 h 964"/>
                  <a:gd name="T40" fmla="*/ 985 w 1076"/>
                  <a:gd name="T41" fmla="*/ 489 h 964"/>
                  <a:gd name="T42" fmla="*/ 960 w 1076"/>
                  <a:gd name="T43" fmla="*/ 458 h 964"/>
                  <a:gd name="T44" fmla="*/ 934 w 1076"/>
                  <a:gd name="T45" fmla="*/ 428 h 964"/>
                  <a:gd name="T46" fmla="*/ 894 w 1076"/>
                  <a:gd name="T47" fmla="*/ 384 h 964"/>
                  <a:gd name="T48" fmla="*/ 850 w 1076"/>
                  <a:gd name="T49" fmla="*/ 342 h 964"/>
                  <a:gd name="T50" fmla="*/ 806 w 1076"/>
                  <a:gd name="T51" fmla="*/ 303 h 964"/>
                  <a:gd name="T52" fmla="*/ 759 w 1076"/>
                  <a:gd name="T53" fmla="*/ 266 h 964"/>
                  <a:gd name="T54" fmla="*/ 694 w 1076"/>
                  <a:gd name="T55" fmla="*/ 218 h 964"/>
                  <a:gd name="T56" fmla="*/ 661 w 1076"/>
                  <a:gd name="T57" fmla="*/ 196 h 964"/>
                  <a:gd name="T58" fmla="*/ 592 w 1076"/>
                  <a:gd name="T59" fmla="*/ 156 h 964"/>
                  <a:gd name="T60" fmla="*/ 557 w 1076"/>
                  <a:gd name="T61" fmla="*/ 137 h 964"/>
                  <a:gd name="T62" fmla="*/ 501 w 1076"/>
                  <a:gd name="T63" fmla="*/ 112 h 964"/>
                  <a:gd name="T64" fmla="*/ 446 w 1076"/>
                  <a:gd name="T65" fmla="*/ 88 h 964"/>
                  <a:gd name="T66" fmla="*/ 408 w 1076"/>
                  <a:gd name="T67" fmla="*/ 73 h 964"/>
                  <a:gd name="T68" fmla="*/ 330 w 1076"/>
                  <a:gd name="T69" fmla="*/ 48 h 964"/>
                  <a:gd name="T70" fmla="*/ 290 w 1076"/>
                  <a:gd name="T71" fmla="*/ 38 h 964"/>
                  <a:gd name="T72" fmla="*/ 250 w 1076"/>
                  <a:gd name="T73" fmla="*/ 29 h 964"/>
                  <a:gd name="T74" fmla="*/ 209 w 1076"/>
                  <a:gd name="T75" fmla="*/ 21 h 964"/>
                  <a:gd name="T76" fmla="*/ 127 w 1076"/>
                  <a:gd name="T77" fmla="*/ 8 h 964"/>
                  <a:gd name="T78" fmla="*/ 85 w 1076"/>
                  <a:gd name="T79" fmla="*/ 4 h 964"/>
                  <a:gd name="T80" fmla="*/ 42 w 1076"/>
                  <a:gd name="T81" fmla="*/ 1 h 964"/>
                  <a:gd name="T82" fmla="*/ 0 w 1076"/>
                  <a:gd name="T83" fmla="*/ 0 h 964"/>
                  <a:gd name="T84" fmla="*/ 1 w 1076"/>
                  <a:gd name="T85" fmla="*/ 636 h 96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76"/>
                  <a:gd name="T130" fmla="*/ 0 h 964"/>
                  <a:gd name="T131" fmla="*/ 1076 w 1076"/>
                  <a:gd name="T132" fmla="*/ 964 h 96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76" h="964">
                    <a:moveTo>
                      <a:pt x="1" y="636"/>
                    </a:moveTo>
                    <a:lnTo>
                      <a:pt x="22" y="637"/>
                    </a:lnTo>
                    <a:lnTo>
                      <a:pt x="42" y="639"/>
                    </a:lnTo>
                    <a:lnTo>
                      <a:pt x="63" y="641"/>
                    </a:lnTo>
                    <a:lnTo>
                      <a:pt x="83" y="644"/>
                    </a:lnTo>
                    <a:lnTo>
                      <a:pt x="103" y="648"/>
                    </a:lnTo>
                    <a:lnTo>
                      <a:pt x="122" y="652"/>
                    </a:lnTo>
                    <a:lnTo>
                      <a:pt x="141" y="656"/>
                    </a:lnTo>
                    <a:lnTo>
                      <a:pt x="160" y="662"/>
                    </a:lnTo>
                    <a:lnTo>
                      <a:pt x="179" y="668"/>
                    </a:lnTo>
                    <a:lnTo>
                      <a:pt x="198" y="674"/>
                    </a:lnTo>
                    <a:lnTo>
                      <a:pt x="216" y="681"/>
                    </a:lnTo>
                    <a:lnTo>
                      <a:pt x="235" y="688"/>
                    </a:lnTo>
                    <a:lnTo>
                      <a:pt x="252" y="696"/>
                    </a:lnTo>
                    <a:lnTo>
                      <a:pt x="270" y="705"/>
                    </a:lnTo>
                    <a:lnTo>
                      <a:pt x="287" y="714"/>
                    </a:lnTo>
                    <a:lnTo>
                      <a:pt x="304" y="724"/>
                    </a:lnTo>
                    <a:lnTo>
                      <a:pt x="320" y="735"/>
                    </a:lnTo>
                    <a:lnTo>
                      <a:pt x="336" y="745"/>
                    </a:lnTo>
                    <a:lnTo>
                      <a:pt x="352" y="756"/>
                    </a:lnTo>
                    <a:lnTo>
                      <a:pt x="368" y="767"/>
                    </a:lnTo>
                    <a:lnTo>
                      <a:pt x="384" y="779"/>
                    </a:lnTo>
                    <a:lnTo>
                      <a:pt x="398" y="792"/>
                    </a:lnTo>
                    <a:lnTo>
                      <a:pt x="413" y="804"/>
                    </a:lnTo>
                    <a:lnTo>
                      <a:pt x="427" y="817"/>
                    </a:lnTo>
                    <a:lnTo>
                      <a:pt x="440" y="831"/>
                    </a:lnTo>
                    <a:lnTo>
                      <a:pt x="453" y="845"/>
                    </a:lnTo>
                    <a:lnTo>
                      <a:pt x="466" y="859"/>
                    </a:lnTo>
                    <a:lnTo>
                      <a:pt x="478" y="874"/>
                    </a:lnTo>
                    <a:lnTo>
                      <a:pt x="490" y="890"/>
                    </a:lnTo>
                    <a:lnTo>
                      <a:pt x="502" y="906"/>
                    </a:lnTo>
                    <a:lnTo>
                      <a:pt x="513" y="921"/>
                    </a:lnTo>
                    <a:lnTo>
                      <a:pt x="523" y="938"/>
                    </a:lnTo>
                    <a:lnTo>
                      <a:pt x="884" y="964"/>
                    </a:lnTo>
                    <a:lnTo>
                      <a:pt x="1076" y="621"/>
                    </a:lnTo>
                    <a:lnTo>
                      <a:pt x="1066" y="604"/>
                    </a:lnTo>
                    <a:lnTo>
                      <a:pt x="1055" y="587"/>
                    </a:lnTo>
                    <a:lnTo>
                      <a:pt x="1033" y="553"/>
                    </a:lnTo>
                    <a:lnTo>
                      <a:pt x="1022" y="537"/>
                    </a:lnTo>
                    <a:lnTo>
                      <a:pt x="1009" y="521"/>
                    </a:lnTo>
                    <a:lnTo>
                      <a:pt x="997" y="505"/>
                    </a:lnTo>
                    <a:lnTo>
                      <a:pt x="985" y="489"/>
                    </a:lnTo>
                    <a:lnTo>
                      <a:pt x="973" y="474"/>
                    </a:lnTo>
                    <a:lnTo>
                      <a:pt x="960" y="458"/>
                    </a:lnTo>
                    <a:lnTo>
                      <a:pt x="947" y="443"/>
                    </a:lnTo>
                    <a:lnTo>
                      <a:pt x="934" y="428"/>
                    </a:lnTo>
                    <a:lnTo>
                      <a:pt x="907" y="398"/>
                    </a:lnTo>
                    <a:lnTo>
                      <a:pt x="894" y="384"/>
                    </a:lnTo>
                    <a:lnTo>
                      <a:pt x="880" y="370"/>
                    </a:lnTo>
                    <a:lnTo>
                      <a:pt x="850" y="342"/>
                    </a:lnTo>
                    <a:lnTo>
                      <a:pt x="821" y="316"/>
                    </a:lnTo>
                    <a:lnTo>
                      <a:pt x="806" y="303"/>
                    </a:lnTo>
                    <a:lnTo>
                      <a:pt x="790" y="290"/>
                    </a:lnTo>
                    <a:lnTo>
                      <a:pt x="759" y="266"/>
                    </a:lnTo>
                    <a:lnTo>
                      <a:pt x="727" y="242"/>
                    </a:lnTo>
                    <a:lnTo>
                      <a:pt x="694" y="218"/>
                    </a:lnTo>
                    <a:lnTo>
                      <a:pt x="677" y="207"/>
                    </a:lnTo>
                    <a:lnTo>
                      <a:pt x="661" y="196"/>
                    </a:lnTo>
                    <a:lnTo>
                      <a:pt x="627" y="176"/>
                    </a:lnTo>
                    <a:lnTo>
                      <a:pt x="592" y="156"/>
                    </a:lnTo>
                    <a:lnTo>
                      <a:pt x="574" y="147"/>
                    </a:lnTo>
                    <a:lnTo>
                      <a:pt x="557" y="137"/>
                    </a:lnTo>
                    <a:lnTo>
                      <a:pt x="520" y="120"/>
                    </a:lnTo>
                    <a:lnTo>
                      <a:pt x="501" y="112"/>
                    </a:lnTo>
                    <a:lnTo>
                      <a:pt x="483" y="103"/>
                    </a:lnTo>
                    <a:lnTo>
                      <a:pt x="446" y="88"/>
                    </a:lnTo>
                    <a:lnTo>
                      <a:pt x="427" y="81"/>
                    </a:lnTo>
                    <a:lnTo>
                      <a:pt x="408" y="73"/>
                    </a:lnTo>
                    <a:lnTo>
                      <a:pt x="368" y="60"/>
                    </a:lnTo>
                    <a:lnTo>
                      <a:pt x="330" y="48"/>
                    </a:lnTo>
                    <a:lnTo>
                      <a:pt x="310" y="43"/>
                    </a:lnTo>
                    <a:lnTo>
                      <a:pt x="290" y="38"/>
                    </a:lnTo>
                    <a:lnTo>
                      <a:pt x="270" y="33"/>
                    </a:lnTo>
                    <a:lnTo>
                      <a:pt x="250" y="29"/>
                    </a:lnTo>
                    <a:lnTo>
                      <a:pt x="230" y="24"/>
                    </a:lnTo>
                    <a:lnTo>
                      <a:pt x="209" y="21"/>
                    </a:lnTo>
                    <a:lnTo>
                      <a:pt x="168" y="14"/>
                    </a:lnTo>
                    <a:lnTo>
                      <a:pt x="127" y="8"/>
                    </a:lnTo>
                    <a:lnTo>
                      <a:pt x="106" y="6"/>
                    </a:lnTo>
                    <a:lnTo>
                      <a:pt x="85" y="4"/>
                    </a:lnTo>
                    <a:lnTo>
                      <a:pt x="64" y="3"/>
                    </a:lnTo>
                    <a:lnTo>
                      <a:pt x="42" y="1"/>
                    </a:lnTo>
                    <a:lnTo>
                      <a:pt x="21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1" y="636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1" name="Freeform 24"/>
              <p:cNvSpPr>
                <a:spLocks noChangeAspect="1"/>
              </p:cNvSpPr>
              <p:nvPr/>
            </p:nvSpPr>
            <p:spPr bwMode="auto">
              <a:xfrm>
                <a:off x="3694" y="2043"/>
                <a:ext cx="707" cy="1215"/>
              </a:xfrm>
              <a:custGeom>
                <a:avLst/>
                <a:gdLst>
                  <a:gd name="T0" fmla="*/ 355 w 707"/>
                  <a:gd name="T1" fmla="*/ 358 h 1215"/>
                  <a:gd name="T2" fmla="*/ 15 w 707"/>
                  <a:gd name="T3" fmla="*/ 334 h 1215"/>
                  <a:gd name="T4" fmla="*/ 29 w 707"/>
                  <a:gd name="T5" fmla="*/ 367 h 1215"/>
                  <a:gd name="T6" fmla="*/ 40 w 707"/>
                  <a:gd name="T7" fmla="*/ 400 h 1215"/>
                  <a:gd name="T8" fmla="*/ 50 w 707"/>
                  <a:gd name="T9" fmla="*/ 434 h 1215"/>
                  <a:gd name="T10" fmla="*/ 58 w 707"/>
                  <a:gd name="T11" fmla="*/ 469 h 1215"/>
                  <a:gd name="T12" fmla="*/ 64 w 707"/>
                  <a:gd name="T13" fmla="*/ 504 h 1215"/>
                  <a:gd name="T14" fmla="*/ 68 w 707"/>
                  <a:gd name="T15" fmla="*/ 541 h 1215"/>
                  <a:gd name="T16" fmla="*/ 70 w 707"/>
                  <a:gd name="T17" fmla="*/ 578 h 1215"/>
                  <a:gd name="T18" fmla="*/ 70 w 707"/>
                  <a:gd name="T19" fmla="*/ 616 h 1215"/>
                  <a:gd name="T20" fmla="*/ 68 w 707"/>
                  <a:gd name="T21" fmla="*/ 655 h 1215"/>
                  <a:gd name="T22" fmla="*/ 63 w 707"/>
                  <a:gd name="T23" fmla="*/ 694 h 1215"/>
                  <a:gd name="T24" fmla="*/ 57 w 707"/>
                  <a:gd name="T25" fmla="*/ 732 h 1215"/>
                  <a:gd name="T26" fmla="*/ 48 w 707"/>
                  <a:gd name="T27" fmla="*/ 769 h 1215"/>
                  <a:gd name="T28" fmla="*/ 36 w 707"/>
                  <a:gd name="T29" fmla="*/ 805 h 1215"/>
                  <a:gd name="T30" fmla="*/ 23 w 707"/>
                  <a:gd name="T31" fmla="*/ 841 h 1215"/>
                  <a:gd name="T32" fmla="*/ 8 w 707"/>
                  <a:gd name="T33" fmla="*/ 875 h 1215"/>
                  <a:gd name="T34" fmla="*/ 159 w 707"/>
                  <a:gd name="T35" fmla="*/ 1215 h 1215"/>
                  <a:gd name="T36" fmla="*/ 571 w 707"/>
                  <a:gd name="T37" fmla="*/ 1172 h 1215"/>
                  <a:gd name="T38" fmla="*/ 604 w 707"/>
                  <a:gd name="T39" fmla="*/ 1101 h 1215"/>
                  <a:gd name="T40" fmla="*/ 633 w 707"/>
                  <a:gd name="T41" fmla="*/ 1029 h 1215"/>
                  <a:gd name="T42" fmla="*/ 657 w 707"/>
                  <a:gd name="T43" fmla="*/ 954 h 1215"/>
                  <a:gd name="T44" fmla="*/ 667 w 707"/>
                  <a:gd name="T45" fmla="*/ 916 h 1215"/>
                  <a:gd name="T46" fmla="*/ 685 w 707"/>
                  <a:gd name="T47" fmla="*/ 839 h 1215"/>
                  <a:gd name="T48" fmla="*/ 697 w 707"/>
                  <a:gd name="T49" fmla="*/ 759 h 1215"/>
                  <a:gd name="T50" fmla="*/ 702 w 707"/>
                  <a:gd name="T51" fmla="*/ 719 h 1215"/>
                  <a:gd name="T52" fmla="*/ 707 w 707"/>
                  <a:gd name="T53" fmla="*/ 637 h 1215"/>
                  <a:gd name="T54" fmla="*/ 707 w 707"/>
                  <a:gd name="T55" fmla="*/ 597 h 1215"/>
                  <a:gd name="T56" fmla="*/ 705 w 707"/>
                  <a:gd name="T57" fmla="*/ 516 h 1215"/>
                  <a:gd name="T58" fmla="*/ 702 w 707"/>
                  <a:gd name="T59" fmla="*/ 477 h 1215"/>
                  <a:gd name="T60" fmla="*/ 698 w 707"/>
                  <a:gd name="T61" fmla="*/ 438 h 1215"/>
                  <a:gd name="T62" fmla="*/ 689 w 707"/>
                  <a:gd name="T63" fmla="*/ 380 h 1215"/>
                  <a:gd name="T64" fmla="*/ 678 w 707"/>
                  <a:gd name="T65" fmla="*/ 322 h 1215"/>
                  <a:gd name="T66" fmla="*/ 670 w 707"/>
                  <a:gd name="T67" fmla="*/ 284 h 1215"/>
                  <a:gd name="T68" fmla="*/ 660 w 707"/>
                  <a:gd name="T69" fmla="*/ 247 h 1215"/>
                  <a:gd name="T70" fmla="*/ 637 w 707"/>
                  <a:gd name="T71" fmla="*/ 174 h 1215"/>
                  <a:gd name="T72" fmla="*/ 609 w 707"/>
                  <a:gd name="T73" fmla="*/ 103 h 1215"/>
                  <a:gd name="T74" fmla="*/ 594 w 707"/>
                  <a:gd name="T75" fmla="*/ 68 h 1215"/>
                  <a:gd name="T76" fmla="*/ 561 w 707"/>
                  <a:gd name="T77" fmla="*/ 0 h 12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07"/>
                  <a:gd name="T118" fmla="*/ 0 h 1215"/>
                  <a:gd name="T119" fmla="*/ 707 w 707"/>
                  <a:gd name="T120" fmla="*/ 1215 h 121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07" h="1215">
                    <a:moveTo>
                      <a:pt x="561" y="0"/>
                    </a:moveTo>
                    <a:lnTo>
                      <a:pt x="355" y="358"/>
                    </a:lnTo>
                    <a:lnTo>
                      <a:pt x="8" y="318"/>
                    </a:lnTo>
                    <a:lnTo>
                      <a:pt x="15" y="334"/>
                    </a:lnTo>
                    <a:lnTo>
                      <a:pt x="22" y="350"/>
                    </a:lnTo>
                    <a:lnTo>
                      <a:pt x="29" y="367"/>
                    </a:lnTo>
                    <a:lnTo>
                      <a:pt x="35" y="384"/>
                    </a:lnTo>
                    <a:lnTo>
                      <a:pt x="40" y="400"/>
                    </a:lnTo>
                    <a:lnTo>
                      <a:pt x="46" y="417"/>
                    </a:lnTo>
                    <a:lnTo>
                      <a:pt x="50" y="434"/>
                    </a:lnTo>
                    <a:lnTo>
                      <a:pt x="54" y="452"/>
                    </a:lnTo>
                    <a:lnTo>
                      <a:pt x="58" y="469"/>
                    </a:lnTo>
                    <a:lnTo>
                      <a:pt x="61" y="487"/>
                    </a:lnTo>
                    <a:lnTo>
                      <a:pt x="64" y="504"/>
                    </a:lnTo>
                    <a:lnTo>
                      <a:pt x="67" y="523"/>
                    </a:lnTo>
                    <a:lnTo>
                      <a:pt x="68" y="541"/>
                    </a:lnTo>
                    <a:lnTo>
                      <a:pt x="70" y="560"/>
                    </a:lnTo>
                    <a:lnTo>
                      <a:pt x="70" y="578"/>
                    </a:lnTo>
                    <a:lnTo>
                      <a:pt x="71" y="597"/>
                    </a:lnTo>
                    <a:lnTo>
                      <a:pt x="70" y="616"/>
                    </a:lnTo>
                    <a:lnTo>
                      <a:pt x="70" y="636"/>
                    </a:lnTo>
                    <a:lnTo>
                      <a:pt x="68" y="655"/>
                    </a:lnTo>
                    <a:lnTo>
                      <a:pt x="66" y="674"/>
                    </a:lnTo>
                    <a:lnTo>
                      <a:pt x="63" y="694"/>
                    </a:lnTo>
                    <a:lnTo>
                      <a:pt x="60" y="713"/>
                    </a:lnTo>
                    <a:lnTo>
                      <a:pt x="57" y="732"/>
                    </a:lnTo>
                    <a:lnTo>
                      <a:pt x="52" y="750"/>
                    </a:lnTo>
                    <a:lnTo>
                      <a:pt x="48" y="769"/>
                    </a:lnTo>
                    <a:lnTo>
                      <a:pt x="42" y="787"/>
                    </a:lnTo>
                    <a:lnTo>
                      <a:pt x="36" y="805"/>
                    </a:lnTo>
                    <a:lnTo>
                      <a:pt x="30" y="822"/>
                    </a:lnTo>
                    <a:lnTo>
                      <a:pt x="23" y="841"/>
                    </a:lnTo>
                    <a:lnTo>
                      <a:pt x="16" y="858"/>
                    </a:lnTo>
                    <a:lnTo>
                      <a:pt x="8" y="875"/>
                    </a:lnTo>
                    <a:lnTo>
                      <a:pt x="0" y="891"/>
                    </a:lnTo>
                    <a:lnTo>
                      <a:pt x="159" y="1215"/>
                    </a:lnTo>
                    <a:lnTo>
                      <a:pt x="553" y="1206"/>
                    </a:lnTo>
                    <a:lnTo>
                      <a:pt x="571" y="1172"/>
                    </a:lnTo>
                    <a:lnTo>
                      <a:pt x="588" y="1136"/>
                    </a:lnTo>
                    <a:lnTo>
                      <a:pt x="604" y="1101"/>
                    </a:lnTo>
                    <a:lnTo>
                      <a:pt x="618" y="1065"/>
                    </a:lnTo>
                    <a:lnTo>
                      <a:pt x="633" y="1029"/>
                    </a:lnTo>
                    <a:lnTo>
                      <a:pt x="646" y="991"/>
                    </a:lnTo>
                    <a:lnTo>
                      <a:pt x="657" y="954"/>
                    </a:lnTo>
                    <a:lnTo>
                      <a:pt x="662" y="935"/>
                    </a:lnTo>
                    <a:lnTo>
                      <a:pt x="667" y="916"/>
                    </a:lnTo>
                    <a:lnTo>
                      <a:pt x="677" y="878"/>
                    </a:lnTo>
                    <a:lnTo>
                      <a:pt x="685" y="839"/>
                    </a:lnTo>
                    <a:lnTo>
                      <a:pt x="691" y="799"/>
                    </a:lnTo>
                    <a:lnTo>
                      <a:pt x="697" y="759"/>
                    </a:lnTo>
                    <a:lnTo>
                      <a:pt x="699" y="739"/>
                    </a:lnTo>
                    <a:lnTo>
                      <a:pt x="702" y="719"/>
                    </a:lnTo>
                    <a:lnTo>
                      <a:pt x="705" y="679"/>
                    </a:lnTo>
                    <a:lnTo>
                      <a:pt x="707" y="637"/>
                    </a:lnTo>
                    <a:lnTo>
                      <a:pt x="707" y="617"/>
                    </a:lnTo>
                    <a:lnTo>
                      <a:pt x="707" y="597"/>
                    </a:lnTo>
                    <a:lnTo>
                      <a:pt x="707" y="557"/>
                    </a:lnTo>
                    <a:lnTo>
                      <a:pt x="705" y="516"/>
                    </a:lnTo>
                    <a:lnTo>
                      <a:pt x="704" y="496"/>
                    </a:lnTo>
                    <a:lnTo>
                      <a:pt x="702" y="477"/>
                    </a:lnTo>
                    <a:lnTo>
                      <a:pt x="700" y="457"/>
                    </a:lnTo>
                    <a:lnTo>
                      <a:pt x="698" y="438"/>
                    </a:lnTo>
                    <a:lnTo>
                      <a:pt x="692" y="399"/>
                    </a:lnTo>
                    <a:lnTo>
                      <a:pt x="689" y="380"/>
                    </a:lnTo>
                    <a:lnTo>
                      <a:pt x="686" y="361"/>
                    </a:lnTo>
                    <a:lnTo>
                      <a:pt x="678" y="322"/>
                    </a:lnTo>
                    <a:lnTo>
                      <a:pt x="674" y="303"/>
                    </a:lnTo>
                    <a:lnTo>
                      <a:pt x="670" y="284"/>
                    </a:lnTo>
                    <a:lnTo>
                      <a:pt x="665" y="266"/>
                    </a:lnTo>
                    <a:lnTo>
                      <a:pt x="660" y="247"/>
                    </a:lnTo>
                    <a:lnTo>
                      <a:pt x="649" y="211"/>
                    </a:lnTo>
                    <a:lnTo>
                      <a:pt x="637" y="174"/>
                    </a:lnTo>
                    <a:lnTo>
                      <a:pt x="623" y="138"/>
                    </a:lnTo>
                    <a:lnTo>
                      <a:pt x="609" y="103"/>
                    </a:lnTo>
                    <a:lnTo>
                      <a:pt x="602" y="86"/>
                    </a:lnTo>
                    <a:lnTo>
                      <a:pt x="594" y="68"/>
                    </a:lnTo>
                    <a:lnTo>
                      <a:pt x="578" y="33"/>
                    </a:lnTo>
                    <a:lnTo>
                      <a:pt x="5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2" name="Freeform 25"/>
              <p:cNvSpPr>
                <a:spLocks noChangeAspect="1"/>
              </p:cNvSpPr>
              <p:nvPr/>
            </p:nvSpPr>
            <p:spPr bwMode="auto">
              <a:xfrm>
                <a:off x="3009" y="2989"/>
                <a:ext cx="1206" cy="930"/>
              </a:xfrm>
              <a:custGeom>
                <a:avLst/>
                <a:gdLst>
                  <a:gd name="T0" fmla="*/ 642 w 1206"/>
                  <a:gd name="T1" fmla="*/ 15 h 930"/>
                  <a:gd name="T2" fmla="*/ 622 w 1206"/>
                  <a:gd name="T3" fmla="*/ 42 h 930"/>
                  <a:gd name="T4" fmla="*/ 601 w 1206"/>
                  <a:gd name="T5" fmla="*/ 70 h 930"/>
                  <a:gd name="T6" fmla="*/ 578 w 1206"/>
                  <a:gd name="T7" fmla="*/ 95 h 930"/>
                  <a:gd name="T8" fmla="*/ 554 w 1206"/>
                  <a:gd name="T9" fmla="*/ 119 h 930"/>
                  <a:gd name="T10" fmla="*/ 528 w 1206"/>
                  <a:gd name="T11" fmla="*/ 142 h 930"/>
                  <a:gd name="T12" fmla="*/ 501 w 1206"/>
                  <a:gd name="T13" fmla="*/ 163 h 930"/>
                  <a:gd name="T14" fmla="*/ 473 w 1206"/>
                  <a:gd name="T15" fmla="*/ 183 h 930"/>
                  <a:gd name="T16" fmla="*/ 444 w 1206"/>
                  <a:gd name="T17" fmla="*/ 202 h 930"/>
                  <a:gd name="T18" fmla="*/ 414 w 1206"/>
                  <a:gd name="T19" fmla="*/ 220 h 930"/>
                  <a:gd name="T20" fmla="*/ 384 w 1206"/>
                  <a:gd name="T21" fmla="*/ 235 h 930"/>
                  <a:gd name="T22" fmla="*/ 352 w 1206"/>
                  <a:gd name="T23" fmla="*/ 249 h 930"/>
                  <a:gd name="T24" fmla="*/ 318 w 1206"/>
                  <a:gd name="T25" fmla="*/ 261 h 930"/>
                  <a:gd name="T26" fmla="*/ 285 w 1206"/>
                  <a:gd name="T27" fmla="*/ 271 h 930"/>
                  <a:gd name="T28" fmla="*/ 233 w 1206"/>
                  <a:gd name="T29" fmla="*/ 283 h 930"/>
                  <a:gd name="T30" fmla="*/ 198 w 1206"/>
                  <a:gd name="T31" fmla="*/ 289 h 930"/>
                  <a:gd name="T32" fmla="*/ 197 w 1206"/>
                  <a:gd name="T33" fmla="*/ 930 h 930"/>
                  <a:gd name="T34" fmla="*/ 237 w 1206"/>
                  <a:gd name="T35" fmla="*/ 926 h 930"/>
                  <a:gd name="T36" fmla="*/ 276 w 1206"/>
                  <a:gd name="T37" fmla="*/ 922 h 930"/>
                  <a:gd name="T38" fmla="*/ 334 w 1206"/>
                  <a:gd name="T39" fmla="*/ 913 h 930"/>
                  <a:gd name="T40" fmla="*/ 374 w 1206"/>
                  <a:gd name="T41" fmla="*/ 906 h 930"/>
                  <a:gd name="T42" fmla="*/ 412 w 1206"/>
                  <a:gd name="T43" fmla="*/ 897 h 930"/>
                  <a:gd name="T44" fmla="*/ 449 w 1206"/>
                  <a:gd name="T45" fmla="*/ 888 h 930"/>
                  <a:gd name="T46" fmla="*/ 505 w 1206"/>
                  <a:gd name="T47" fmla="*/ 871 h 930"/>
                  <a:gd name="T48" fmla="*/ 560 w 1206"/>
                  <a:gd name="T49" fmla="*/ 852 h 930"/>
                  <a:gd name="T50" fmla="*/ 613 w 1206"/>
                  <a:gd name="T51" fmla="*/ 830 h 930"/>
                  <a:gd name="T52" fmla="*/ 665 w 1206"/>
                  <a:gd name="T53" fmla="*/ 806 h 930"/>
                  <a:gd name="T54" fmla="*/ 717 w 1206"/>
                  <a:gd name="T55" fmla="*/ 780 h 930"/>
                  <a:gd name="T56" fmla="*/ 750 w 1206"/>
                  <a:gd name="T57" fmla="*/ 762 h 930"/>
                  <a:gd name="T58" fmla="*/ 798 w 1206"/>
                  <a:gd name="T59" fmla="*/ 733 h 930"/>
                  <a:gd name="T60" fmla="*/ 846 w 1206"/>
                  <a:gd name="T61" fmla="*/ 701 h 930"/>
                  <a:gd name="T62" fmla="*/ 906 w 1206"/>
                  <a:gd name="T63" fmla="*/ 655 h 930"/>
                  <a:gd name="T64" fmla="*/ 950 w 1206"/>
                  <a:gd name="T65" fmla="*/ 619 h 930"/>
                  <a:gd name="T66" fmla="*/ 978 w 1206"/>
                  <a:gd name="T67" fmla="*/ 594 h 930"/>
                  <a:gd name="T68" fmla="*/ 1006 w 1206"/>
                  <a:gd name="T69" fmla="*/ 568 h 930"/>
                  <a:gd name="T70" fmla="*/ 1045 w 1206"/>
                  <a:gd name="T71" fmla="*/ 527 h 930"/>
                  <a:gd name="T72" fmla="*/ 1095 w 1206"/>
                  <a:gd name="T73" fmla="*/ 471 h 930"/>
                  <a:gd name="T74" fmla="*/ 1119 w 1206"/>
                  <a:gd name="T75" fmla="*/ 441 h 930"/>
                  <a:gd name="T76" fmla="*/ 1142 w 1206"/>
                  <a:gd name="T77" fmla="*/ 412 h 930"/>
                  <a:gd name="T78" fmla="*/ 1175 w 1206"/>
                  <a:gd name="T79" fmla="*/ 364 h 930"/>
                  <a:gd name="T80" fmla="*/ 1206 w 1206"/>
                  <a:gd name="T81" fmla="*/ 317 h 930"/>
                  <a:gd name="T82" fmla="*/ 652 w 1206"/>
                  <a:gd name="T83" fmla="*/ 0 h 93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206"/>
                  <a:gd name="T127" fmla="*/ 0 h 930"/>
                  <a:gd name="T128" fmla="*/ 1206 w 1206"/>
                  <a:gd name="T129" fmla="*/ 930 h 93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206" h="930">
                    <a:moveTo>
                      <a:pt x="652" y="0"/>
                    </a:moveTo>
                    <a:lnTo>
                      <a:pt x="642" y="15"/>
                    </a:lnTo>
                    <a:lnTo>
                      <a:pt x="633" y="29"/>
                    </a:lnTo>
                    <a:lnTo>
                      <a:pt x="622" y="42"/>
                    </a:lnTo>
                    <a:lnTo>
                      <a:pt x="612" y="57"/>
                    </a:lnTo>
                    <a:lnTo>
                      <a:pt x="601" y="70"/>
                    </a:lnTo>
                    <a:lnTo>
                      <a:pt x="590" y="83"/>
                    </a:lnTo>
                    <a:lnTo>
                      <a:pt x="578" y="95"/>
                    </a:lnTo>
                    <a:lnTo>
                      <a:pt x="566" y="107"/>
                    </a:lnTo>
                    <a:lnTo>
                      <a:pt x="554" y="119"/>
                    </a:lnTo>
                    <a:lnTo>
                      <a:pt x="541" y="131"/>
                    </a:lnTo>
                    <a:lnTo>
                      <a:pt x="528" y="142"/>
                    </a:lnTo>
                    <a:lnTo>
                      <a:pt x="515" y="153"/>
                    </a:lnTo>
                    <a:lnTo>
                      <a:pt x="501" y="163"/>
                    </a:lnTo>
                    <a:lnTo>
                      <a:pt x="487" y="173"/>
                    </a:lnTo>
                    <a:lnTo>
                      <a:pt x="473" y="183"/>
                    </a:lnTo>
                    <a:lnTo>
                      <a:pt x="459" y="193"/>
                    </a:lnTo>
                    <a:lnTo>
                      <a:pt x="444" y="202"/>
                    </a:lnTo>
                    <a:lnTo>
                      <a:pt x="429" y="210"/>
                    </a:lnTo>
                    <a:lnTo>
                      <a:pt x="414" y="220"/>
                    </a:lnTo>
                    <a:lnTo>
                      <a:pt x="399" y="228"/>
                    </a:lnTo>
                    <a:lnTo>
                      <a:pt x="384" y="235"/>
                    </a:lnTo>
                    <a:lnTo>
                      <a:pt x="368" y="242"/>
                    </a:lnTo>
                    <a:lnTo>
                      <a:pt x="352" y="249"/>
                    </a:lnTo>
                    <a:lnTo>
                      <a:pt x="335" y="255"/>
                    </a:lnTo>
                    <a:lnTo>
                      <a:pt x="318" y="261"/>
                    </a:lnTo>
                    <a:lnTo>
                      <a:pt x="302" y="266"/>
                    </a:lnTo>
                    <a:lnTo>
                      <a:pt x="285" y="271"/>
                    </a:lnTo>
                    <a:lnTo>
                      <a:pt x="268" y="276"/>
                    </a:lnTo>
                    <a:lnTo>
                      <a:pt x="233" y="283"/>
                    </a:lnTo>
                    <a:lnTo>
                      <a:pt x="216" y="286"/>
                    </a:lnTo>
                    <a:lnTo>
                      <a:pt x="198" y="289"/>
                    </a:lnTo>
                    <a:lnTo>
                      <a:pt x="0" y="600"/>
                    </a:lnTo>
                    <a:lnTo>
                      <a:pt x="197" y="930"/>
                    </a:lnTo>
                    <a:lnTo>
                      <a:pt x="217" y="928"/>
                    </a:lnTo>
                    <a:lnTo>
                      <a:pt x="237" y="926"/>
                    </a:lnTo>
                    <a:lnTo>
                      <a:pt x="257" y="924"/>
                    </a:lnTo>
                    <a:lnTo>
                      <a:pt x="276" y="922"/>
                    </a:lnTo>
                    <a:lnTo>
                      <a:pt x="315" y="916"/>
                    </a:lnTo>
                    <a:lnTo>
                      <a:pt x="334" y="913"/>
                    </a:lnTo>
                    <a:lnTo>
                      <a:pt x="355" y="909"/>
                    </a:lnTo>
                    <a:lnTo>
                      <a:pt x="374" y="906"/>
                    </a:lnTo>
                    <a:lnTo>
                      <a:pt x="393" y="902"/>
                    </a:lnTo>
                    <a:lnTo>
                      <a:pt x="412" y="897"/>
                    </a:lnTo>
                    <a:lnTo>
                      <a:pt x="431" y="892"/>
                    </a:lnTo>
                    <a:lnTo>
                      <a:pt x="449" y="888"/>
                    </a:lnTo>
                    <a:lnTo>
                      <a:pt x="468" y="882"/>
                    </a:lnTo>
                    <a:lnTo>
                      <a:pt x="505" y="871"/>
                    </a:lnTo>
                    <a:lnTo>
                      <a:pt x="542" y="859"/>
                    </a:lnTo>
                    <a:lnTo>
                      <a:pt x="560" y="852"/>
                    </a:lnTo>
                    <a:lnTo>
                      <a:pt x="578" y="844"/>
                    </a:lnTo>
                    <a:lnTo>
                      <a:pt x="613" y="830"/>
                    </a:lnTo>
                    <a:lnTo>
                      <a:pt x="648" y="814"/>
                    </a:lnTo>
                    <a:lnTo>
                      <a:pt x="665" y="806"/>
                    </a:lnTo>
                    <a:lnTo>
                      <a:pt x="683" y="798"/>
                    </a:lnTo>
                    <a:lnTo>
                      <a:pt x="717" y="780"/>
                    </a:lnTo>
                    <a:lnTo>
                      <a:pt x="733" y="771"/>
                    </a:lnTo>
                    <a:lnTo>
                      <a:pt x="750" y="762"/>
                    </a:lnTo>
                    <a:lnTo>
                      <a:pt x="782" y="743"/>
                    </a:lnTo>
                    <a:lnTo>
                      <a:pt x="798" y="733"/>
                    </a:lnTo>
                    <a:lnTo>
                      <a:pt x="814" y="722"/>
                    </a:lnTo>
                    <a:lnTo>
                      <a:pt x="846" y="701"/>
                    </a:lnTo>
                    <a:lnTo>
                      <a:pt x="877" y="678"/>
                    </a:lnTo>
                    <a:lnTo>
                      <a:pt x="906" y="655"/>
                    </a:lnTo>
                    <a:lnTo>
                      <a:pt x="935" y="631"/>
                    </a:lnTo>
                    <a:lnTo>
                      <a:pt x="950" y="619"/>
                    </a:lnTo>
                    <a:lnTo>
                      <a:pt x="964" y="607"/>
                    </a:lnTo>
                    <a:lnTo>
                      <a:pt x="978" y="594"/>
                    </a:lnTo>
                    <a:lnTo>
                      <a:pt x="992" y="581"/>
                    </a:lnTo>
                    <a:lnTo>
                      <a:pt x="1006" y="568"/>
                    </a:lnTo>
                    <a:lnTo>
                      <a:pt x="1019" y="555"/>
                    </a:lnTo>
                    <a:lnTo>
                      <a:pt x="1045" y="527"/>
                    </a:lnTo>
                    <a:lnTo>
                      <a:pt x="1071" y="499"/>
                    </a:lnTo>
                    <a:lnTo>
                      <a:pt x="1095" y="471"/>
                    </a:lnTo>
                    <a:lnTo>
                      <a:pt x="1107" y="456"/>
                    </a:lnTo>
                    <a:lnTo>
                      <a:pt x="1119" y="441"/>
                    </a:lnTo>
                    <a:lnTo>
                      <a:pt x="1130" y="427"/>
                    </a:lnTo>
                    <a:lnTo>
                      <a:pt x="1142" y="412"/>
                    </a:lnTo>
                    <a:lnTo>
                      <a:pt x="1164" y="381"/>
                    </a:lnTo>
                    <a:lnTo>
                      <a:pt x="1175" y="364"/>
                    </a:lnTo>
                    <a:lnTo>
                      <a:pt x="1185" y="349"/>
                    </a:lnTo>
                    <a:lnTo>
                      <a:pt x="1206" y="317"/>
                    </a:lnTo>
                    <a:lnTo>
                      <a:pt x="795" y="321"/>
                    </a:lnTo>
                    <a:lnTo>
                      <a:pt x="6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3" name="Freeform 26"/>
              <p:cNvSpPr>
                <a:spLocks noChangeAspect="1"/>
              </p:cNvSpPr>
              <p:nvPr/>
            </p:nvSpPr>
            <p:spPr bwMode="auto">
              <a:xfrm>
                <a:off x="2074" y="3039"/>
                <a:ext cx="1067" cy="881"/>
              </a:xfrm>
              <a:custGeom>
                <a:avLst/>
                <a:gdLst>
                  <a:gd name="T0" fmla="*/ 1047 w 1067"/>
                  <a:gd name="T1" fmla="*/ 245 h 881"/>
                  <a:gd name="T2" fmla="*/ 1011 w 1067"/>
                  <a:gd name="T3" fmla="*/ 244 h 881"/>
                  <a:gd name="T4" fmla="*/ 956 w 1067"/>
                  <a:gd name="T5" fmla="*/ 238 h 881"/>
                  <a:gd name="T6" fmla="*/ 904 w 1067"/>
                  <a:gd name="T7" fmla="*/ 229 h 881"/>
                  <a:gd name="T8" fmla="*/ 871 w 1067"/>
                  <a:gd name="T9" fmla="*/ 220 h 881"/>
                  <a:gd name="T10" fmla="*/ 838 w 1067"/>
                  <a:gd name="T11" fmla="*/ 210 h 881"/>
                  <a:gd name="T12" fmla="*/ 789 w 1067"/>
                  <a:gd name="T13" fmla="*/ 191 h 881"/>
                  <a:gd name="T14" fmla="*/ 758 w 1067"/>
                  <a:gd name="T15" fmla="*/ 177 h 881"/>
                  <a:gd name="T16" fmla="*/ 728 w 1067"/>
                  <a:gd name="T17" fmla="*/ 160 h 881"/>
                  <a:gd name="T18" fmla="*/ 699 w 1067"/>
                  <a:gd name="T19" fmla="*/ 142 h 881"/>
                  <a:gd name="T20" fmla="*/ 671 w 1067"/>
                  <a:gd name="T21" fmla="*/ 123 h 881"/>
                  <a:gd name="T22" fmla="*/ 643 w 1067"/>
                  <a:gd name="T23" fmla="*/ 103 h 881"/>
                  <a:gd name="T24" fmla="*/ 617 w 1067"/>
                  <a:gd name="T25" fmla="*/ 81 h 881"/>
                  <a:gd name="T26" fmla="*/ 593 w 1067"/>
                  <a:gd name="T27" fmla="*/ 58 h 881"/>
                  <a:gd name="T28" fmla="*/ 558 w 1067"/>
                  <a:gd name="T29" fmla="*/ 20 h 881"/>
                  <a:gd name="T30" fmla="*/ 0 w 1067"/>
                  <a:gd name="T31" fmla="*/ 339 h 881"/>
                  <a:gd name="T32" fmla="*/ 34 w 1067"/>
                  <a:gd name="T33" fmla="*/ 385 h 881"/>
                  <a:gd name="T34" fmla="*/ 69 w 1067"/>
                  <a:gd name="T35" fmla="*/ 428 h 881"/>
                  <a:gd name="T36" fmla="*/ 119 w 1067"/>
                  <a:gd name="T37" fmla="*/ 485 h 881"/>
                  <a:gd name="T38" fmla="*/ 145 w 1067"/>
                  <a:gd name="T39" fmla="*/ 511 h 881"/>
                  <a:gd name="T40" fmla="*/ 173 w 1067"/>
                  <a:gd name="T41" fmla="*/ 537 h 881"/>
                  <a:gd name="T42" fmla="*/ 201 w 1067"/>
                  <a:gd name="T43" fmla="*/ 562 h 881"/>
                  <a:gd name="T44" fmla="*/ 229 w 1067"/>
                  <a:gd name="T45" fmla="*/ 587 h 881"/>
                  <a:gd name="T46" fmla="*/ 273 w 1067"/>
                  <a:gd name="T47" fmla="*/ 621 h 881"/>
                  <a:gd name="T48" fmla="*/ 303 w 1067"/>
                  <a:gd name="T49" fmla="*/ 645 h 881"/>
                  <a:gd name="T50" fmla="*/ 351 w 1067"/>
                  <a:gd name="T51" fmla="*/ 676 h 881"/>
                  <a:gd name="T52" fmla="*/ 415 w 1067"/>
                  <a:gd name="T53" fmla="*/ 715 h 881"/>
                  <a:gd name="T54" fmla="*/ 481 w 1067"/>
                  <a:gd name="T55" fmla="*/ 750 h 881"/>
                  <a:gd name="T56" fmla="*/ 551 w 1067"/>
                  <a:gd name="T57" fmla="*/ 782 h 881"/>
                  <a:gd name="T58" fmla="*/ 604 w 1067"/>
                  <a:gd name="T59" fmla="*/ 803 h 881"/>
                  <a:gd name="T60" fmla="*/ 640 w 1067"/>
                  <a:gd name="T61" fmla="*/ 816 h 881"/>
                  <a:gd name="T62" fmla="*/ 696 w 1067"/>
                  <a:gd name="T63" fmla="*/ 833 h 881"/>
                  <a:gd name="T64" fmla="*/ 771 w 1067"/>
                  <a:gd name="T65" fmla="*/ 852 h 881"/>
                  <a:gd name="T66" fmla="*/ 829 w 1067"/>
                  <a:gd name="T67" fmla="*/ 863 h 881"/>
                  <a:gd name="T68" fmla="*/ 887 w 1067"/>
                  <a:gd name="T69" fmla="*/ 871 h 881"/>
                  <a:gd name="T70" fmla="*/ 946 w 1067"/>
                  <a:gd name="T71" fmla="*/ 877 h 881"/>
                  <a:gd name="T72" fmla="*/ 987 w 1067"/>
                  <a:gd name="T73" fmla="*/ 880 h 881"/>
                  <a:gd name="T74" fmla="*/ 1027 w 1067"/>
                  <a:gd name="T75" fmla="*/ 881 h 881"/>
                  <a:gd name="T76" fmla="*/ 1067 w 1067"/>
                  <a:gd name="T77" fmla="*/ 881 h 881"/>
                  <a:gd name="T78" fmla="*/ 1065 w 1067"/>
                  <a:gd name="T79" fmla="*/ 244 h 8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67"/>
                  <a:gd name="T121" fmla="*/ 0 h 881"/>
                  <a:gd name="T122" fmla="*/ 1067 w 1067"/>
                  <a:gd name="T123" fmla="*/ 881 h 88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67" h="881">
                    <a:moveTo>
                      <a:pt x="1065" y="244"/>
                    </a:moveTo>
                    <a:lnTo>
                      <a:pt x="1047" y="245"/>
                    </a:lnTo>
                    <a:lnTo>
                      <a:pt x="1029" y="244"/>
                    </a:lnTo>
                    <a:lnTo>
                      <a:pt x="1011" y="244"/>
                    </a:lnTo>
                    <a:lnTo>
                      <a:pt x="975" y="241"/>
                    </a:lnTo>
                    <a:lnTo>
                      <a:pt x="956" y="238"/>
                    </a:lnTo>
                    <a:lnTo>
                      <a:pt x="939" y="236"/>
                    </a:lnTo>
                    <a:lnTo>
                      <a:pt x="904" y="229"/>
                    </a:lnTo>
                    <a:lnTo>
                      <a:pt x="887" y="225"/>
                    </a:lnTo>
                    <a:lnTo>
                      <a:pt x="871" y="220"/>
                    </a:lnTo>
                    <a:lnTo>
                      <a:pt x="854" y="215"/>
                    </a:lnTo>
                    <a:lnTo>
                      <a:pt x="838" y="210"/>
                    </a:lnTo>
                    <a:lnTo>
                      <a:pt x="804" y="198"/>
                    </a:lnTo>
                    <a:lnTo>
                      <a:pt x="789" y="191"/>
                    </a:lnTo>
                    <a:lnTo>
                      <a:pt x="773" y="184"/>
                    </a:lnTo>
                    <a:lnTo>
                      <a:pt x="758" y="177"/>
                    </a:lnTo>
                    <a:lnTo>
                      <a:pt x="743" y="169"/>
                    </a:lnTo>
                    <a:lnTo>
                      <a:pt x="728" y="160"/>
                    </a:lnTo>
                    <a:lnTo>
                      <a:pt x="713" y="151"/>
                    </a:lnTo>
                    <a:lnTo>
                      <a:pt x="699" y="142"/>
                    </a:lnTo>
                    <a:lnTo>
                      <a:pt x="685" y="133"/>
                    </a:lnTo>
                    <a:lnTo>
                      <a:pt x="671" y="123"/>
                    </a:lnTo>
                    <a:lnTo>
                      <a:pt x="657" y="113"/>
                    </a:lnTo>
                    <a:lnTo>
                      <a:pt x="643" y="103"/>
                    </a:lnTo>
                    <a:lnTo>
                      <a:pt x="630" y="92"/>
                    </a:lnTo>
                    <a:lnTo>
                      <a:pt x="617" y="81"/>
                    </a:lnTo>
                    <a:lnTo>
                      <a:pt x="605" y="69"/>
                    </a:lnTo>
                    <a:lnTo>
                      <a:pt x="593" y="58"/>
                    </a:lnTo>
                    <a:lnTo>
                      <a:pt x="581" y="45"/>
                    </a:lnTo>
                    <a:lnTo>
                      <a:pt x="558" y="20"/>
                    </a:lnTo>
                    <a:lnTo>
                      <a:pt x="177" y="0"/>
                    </a:lnTo>
                    <a:lnTo>
                      <a:pt x="0" y="339"/>
                    </a:lnTo>
                    <a:lnTo>
                      <a:pt x="23" y="370"/>
                    </a:lnTo>
                    <a:lnTo>
                      <a:pt x="34" y="385"/>
                    </a:lnTo>
                    <a:lnTo>
                      <a:pt x="46" y="399"/>
                    </a:lnTo>
                    <a:lnTo>
                      <a:pt x="69" y="428"/>
                    </a:lnTo>
                    <a:lnTo>
                      <a:pt x="94" y="456"/>
                    </a:lnTo>
                    <a:lnTo>
                      <a:pt x="119" y="485"/>
                    </a:lnTo>
                    <a:lnTo>
                      <a:pt x="132" y="498"/>
                    </a:lnTo>
                    <a:lnTo>
                      <a:pt x="145" y="511"/>
                    </a:lnTo>
                    <a:lnTo>
                      <a:pt x="159" y="524"/>
                    </a:lnTo>
                    <a:lnTo>
                      <a:pt x="173" y="537"/>
                    </a:lnTo>
                    <a:lnTo>
                      <a:pt x="187" y="550"/>
                    </a:lnTo>
                    <a:lnTo>
                      <a:pt x="201" y="562"/>
                    </a:lnTo>
                    <a:lnTo>
                      <a:pt x="215" y="575"/>
                    </a:lnTo>
                    <a:lnTo>
                      <a:pt x="229" y="587"/>
                    </a:lnTo>
                    <a:lnTo>
                      <a:pt x="258" y="610"/>
                    </a:lnTo>
                    <a:lnTo>
                      <a:pt x="273" y="621"/>
                    </a:lnTo>
                    <a:lnTo>
                      <a:pt x="288" y="633"/>
                    </a:lnTo>
                    <a:lnTo>
                      <a:pt x="303" y="645"/>
                    </a:lnTo>
                    <a:lnTo>
                      <a:pt x="319" y="655"/>
                    </a:lnTo>
                    <a:lnTo>
                      <a:pt x="351" y="676"/>
                    </a:lnTo>
                    <a:lnTo>
                      <a:pt x="383" y="696"/>
                    </a:lnTo>
                    <a:lnTo>
                      <a:pt x="415" y="715"/>
                    </a:lnTo>
                    <a:lnTo>
                      <a:pt x="448" y="733"/>
                    </a:lnTo>
                    <a:lnTo>
                      <a:pt x="481" y="750"/>
                    </a:lnTo>
                    <a:lnTo>
                      <a:pt x="517" y="766"/>
                    </a:lnTo>
                    <a:lnTo>
                      <a:pt x="551" y="782"/>
                    </a:lnTo>
                    <a:lnTo>
                      <a:pt x="586" y="796"/>
                    </a:lnTo>
                    <a:lnTo>
                      <a:pt x="604" y="803"/>
                    </a:lnTo>
                    <a:lnTo>
                      <a:pt x="622" y="810"/>
                    </a:lnTo>
                    <a:lnTo>
                      <a:pt x="640" y="816"/>
                    </a:lnTo>
                    <a:lnTo>
                      <a:pt x="659" y="822"/>
                    </a:lnTo>
                    <a:lnTo>
                      <a:pt x="696" y="833"/>
                    </a:lnTo>
                    <a:lnTo>
                      <a:pt x="733" y="843"/>
                    </a:lnTo>
                    <a:lnTo>
                      <a:pt x="771" y="852"/>
                    </a:lnTo>
                    <a:lnTo>
                      <a:pt x="810" y="859"/>
                    </a:lnTo>
                    <a:lnTo>
                      <a:pt x="829" y="863"/>
                    </a:lnTo>
                    <a:lnTo>
                      <a:pt x="848" y="866"/>
                    </a:lnTo>
                    <a:lnTo>
                      <a:pt x="887" y="871"/>
                    </a:lnTo>
                    <a:lnTo>
                      <a:pt x="926" y="876"/>
                    </a:lnTo>
                    <a:lnTo>
                      <a:pt x="946" y="877"/>
                    </a:lnTo>
                    <a:lnTo>
                      <a:pt x="967" y="879"/>
                    </a:lnTo>
                    <a:lnTo>
                      <a:pt x="987" y="880"/>
                    </a:lnTo>
                    <a:lnTo>
                      <a:pt x="1007" y="881"/>
                    </a:lnTo>
                    <a:lnTo>
                      <a:pt x="1027" y="881"/>
                    </a:lnTo>
                    <a:lnTo>
                      <a:pt x="1047" y="881"/>
                    </a:lnTo>
                    <a:lnTo>
                      <a:pt x="1067" y="881"/>
                    </a:lnTo>
                    <a:lnTo>
                      <a:pt x="865" y="540"/>
                    </a:lnTo>
                    <a:lnTo>
                      <a:pt x="1065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5" name="Oval 94"/>
            <p:cNvSpPr/>
            <p:nvPr/>
          </p:nvSpPr>
          <p:spPr>
            <a:xfrm>
              <a:off x="3175085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887465" y="3661693"/>
            <a:ext cx="2015999" cy="2016000"/>
            <a:chOff x="4887465" y="3661693"/>
            <a:chExt cx="2015999" cy="2016000"/>
          </a:xfrm>
        </p:grpSpPr>
        <p:grpSp>
          <p:nvGrpSpPr>
            <p:cNvPr id="74" name="Group 27"/>
            <p:cNvGrpSpPr>
              <a:grpSpLocks/>
            </p:cNvGrpSpPr>
            <p:nvPr/>
          </p:nvGrpSpPr>
          <p:grpSpPr bwMode="auto">
            <a:xfrm>
              <a:off x="4887465" y="3661693"/>
              <a:ext cx="2015999" cy="2016000"/>
              <a:chOff x="1840" y="1377"/>
              <a:chExt cx="2561" cy="2561"/>
            </a:xfrm>
            <a:solidFill>
              <a:srgbClr val="2F52A0"/>
            </a:solidFill>
          </p:grpSpPr>
          <p:sp>
            <p:nvSpPr>
              <p:cNvPr id="75" name="Freeform 28"/>
              <p:cNvSpPr>
                <a:spLocks noChangeAspect="1"/>
              </p:cNvSpPr>
              <p:nvPr/>
            </p:nvSpPr>
            <p:spPr bwMode="auto">
              <a:xfrm>
                <a:off x="3141" y="1377"/>
                <a:ext cx="947" cy="849"/>
              </a:xfrm>
              <a:custGeom>
                <a:avLst/>
                <a:gdLst>
                  <a:gd name="T0" fmla="*/ 38 w 947"/>
                  <a:gd name="T1" fmla="*/ 1 h 849"/>
                  <a:gd name="T2" fmla="*/ 108 w 947"/>
                  <a:gd name="T3" fmla="*/ 6 h 849"/>
                  <a:gd name="T4" fmla="*/ 176 w 947"/>
                  <a:gd name="T5" fmla="*/ 15 h 849"/>
                  <a:gd name="T6" fmla="*/ 210 w 947"/>
                  <a:gd name="T7" fmla="*/ 21 h 849"/>
                  <a:gd name="T8" fmla="*/ 277 w 947"/>
                  <a:gd name="T9" fmla="*/ 34 h 849"/>
                  <a:gd name="T10" fmla="*/ 342 w 947"/>
                  <a:gd name="T11" fmla="*/ 52 h 849"/>
                  <a:gd name="T12" fmla="*/ 407 w 947"/>
                  <a:gd name="T13" fmla="*/ 72 h 849"/>
                  <a:gd name="T14" fmla="*/ 469 w 947"/>
                  <a:gd name="T15" fmla="*/ 97 h 849"/>
                  <a:gd name="T16" fmla="*/ 529 w 947"/>
                  <a:gd name="T17" fmla="*/ 124 h 849"/>
                  <a:gd name="T18" fmla="*/ 589 w 947"/>
                  <a:gd name="T19" fmla="*/ 154 h 849"/>
                  <a:gd name="T20" fmla="*/ 646 w 947"/>
                  <a:gd name="T21" fmla="*/ 187 h 849"/>
                  <a:gd name="T22" fmla="*/ 702 w 947"/>
                  <a:gd name="T23" fmla="*/ 222 h 849"/>
                  <a:gd name="T24" fmla="*/ 755 w 947"/>
                  <a:gd name="T25" fmla="*/ 262 h 849"/>
                  <a:gd name="T26" fmla="*/ 781 w 947"/>
                  <a:gd name="T27" fmla="*/ 282 h 849"/>
                  <a:gd name="T28" fmla="*/ 831 w 947"/>
                  <a:gd name="T29" fmla="*/ 324 h 849"/>
                  <a:gd name="T30" fmla="*/ 855 w 947"/>
                  <a:gd name="T31" fmla="*/ 346 h 849"/>
                  <a:gd name="T32" fmla="*/ 903 w 947"/>
                  <a:gd name="T33" fmla="*/ 392 h 849"/>
                  <a:gd name="T34" fmla="*/ 947 w 947"/>
                  <a:gd name="T35" fmla="*/ 441 h 849"/>
                  <a:gd name="T36" fmla="*/ 457 w 947"/>
                  <a:gd name="T37" fmla="*/ 849 h 849"/>
                  <a:gd name="T38" fmla="*/ 435 w 947"/>
                  <a:gd name="T39" fmla="*/ 826 h 849"/>
                  <a:gd name="T40" fmla="*/ 412 w 947"/>
                  <a:gd name="T41" fmla="*/ 804 h 849"/>
                  <a:gd name="T42" fmla="*/ 388 w 947"/>
                  <a:gd name="T43" fmla="*/ 784 h 849"/>
                  <a:gd name="T44" fmla="*/ 363 w 947"/>
                  <a:gd name="T45" fmla="*/ 764 h 849"/>
                  <a:gd name="T46" fmla="*/ 323 w 947"/>
                  <a:gd name="T47" fmla="*/ 737 h 849"/>
                  <a:gd name="T48" fmla="*/ 296 w 947"/>
                  <a:gd name="T49" fmla="*/ 720 h 849"/>
                  <a:gd name="T50" fmla="*/ 268 w 947"/>
                  <a:gd name="T51" fmla="*/ 705 h 849"/>
                  <a:gd name="T52" fmla="*/ 240 w 947"/>
                  <a:gd name="T53" fmla="*/ 691 h 849"/>
                  <a:gd name="T54" fmla="*/ 209 w 947"/>
                  <a:gd name="T55" fmla="*/ 679 h 849"/>
                  <a:gd name="T56" fmla="*/ 179 w 947"/>
                  <a:gd name="T57" fmla="*/ 668 h 849"/>
                  <a:gd name="T58" fmla="*/ 148 w 947"/>
                  <a:gd name="T59" fmla="*/ 659 h 849"/>
                  <a:gd name="T60" fmla="*/ 116 w 947"/>
                  <a:gd name="T61" fmla="*/ 651 h 849"/>
                  <a:gd name="T62" fmla="*/ 84 w 947"/>
                  <a:gd name="T63" fmla="*/ 645 h 849"/>
                  <a:gd name="T64" fmla="*/ 34 w 947"/>
                  <a:gd name="T65" fmla="*/ 639 h 849"/>
                  <a:gd name="T66" fmla="*/ 0 w 947"/>
                  <a:gd name="T67" fmla="*/ 637 h 849"/>
                  <a:gd name="T68" fmla="*/ 3 w 947"/>
                  <a:gd name="T69" fmla="*/ 0 h 8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7"/>
                  <a:gd name="T106" fmla="*/ 0 h 849"/>
                  <a:gd name="T107" fmla="*/ 947 w 947"/>
                  <a:gd name="T108" fmla="*/ 849 h 84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7" h="849">
                    <a:moveTo>
                      <a:pt x="3" y="0"/>
                    </a:moveTo>
                    <a:lnTo>
                      <a:pt x="38" y="1"/>
                    </a:lnTo>
                    <a:lnTo>
                      <a:pt x="74" y="3"/>
                    </a:lnTo>
                    <a:lnTo>
                      <a:pt x="108" y="6"/>
                    </a:lnTo>
                    <a:lnTo>
                      <a:pt x="142" y="10"/>
                    </a:lnTo>
                    <a:lnTo>
                      <a:pt x="176" y="15"/>
                    </a:lnTo>
                    <a:lnTo>
                      <a:pt x="193" y="18"/>
                    </a:lnTo>
                    <a:lnTo>
                      <a:pt x="210" y="21"/>
                    </a:lnTo>
                    <a:lnTo>
                      <a:pt x="244" y="27"/>
                    </a:lnTo>
                    <a:lnTo>
                      <a:pt x="277" y="34"/>
                    </a:lnTo>
                    <a:lnTo>
                      <a:pt x="310" y="43"/>
                    </a:lnTo>
                    <a:lnTo>
                      <a:pt x="342" y="52"/>
                    </a:lnTo>
                    <a:lnTo>
                      <a:pt x="374" y="62"/>
                    </a:lnTo>
                    <a:lnTo>
                      <a:pt x="407" y="72"/>
                    </a:lnTo>
                    <a:lnTo>
                      <a:pt x="438" y="85"/>
                    </a:lnTo>
                    <a:lnTo>
                      <a:pt x="469" y="97"/>
                    </a:lnTo>
                    <a:lnTo>
                      <a:pt x="499" y="110"/>
                    </a:lnTo>
                    <a:lnTo>
                      <a:pt x="529" y="124"/>
                    </a:lnTo>
                    <a:lnTo>
                      <a:pt x="560" y="139"/>
                    </a:lnTo>
                    <a:lnTo>
                      <a:pt x="589" y="154"/>
                    </a:lnTo>
                    <a:lnTo>
                      <a:pt x="618" y="170"/>
                    </a:lnTo>
                    <a:lnTo>
                      <a:pt x="646" y="187"/>
                    </a:lnTo>
                    <a:lnTo>
                      <a:pt x="674" y="204"/>
                    </a:lnTo>
                    <a:lnTo>
                      <a:pt x="702" y="222"/>
                    </a:lnTo>
                    <a:lnTo>
                      <a:pt x="729" y="242"/>
                    </a:lnTo>
                    <a:lnTo>
                      <a:pt x="755" y="262"/>
                    </a:lnTo>
                    <a:lnTo>
                      <a:pt x="768" y="272"/>
                    </a:lnTo>
                    <a:lnTo>
                      <a:pt x="781" y="282"/>
                    </a:lnTo>
                    <a:lnTo>
                      <a:pt x="806" y="303"/>
                    </a:lnTo>
                    <a:lnTo>
                      <a:pt x="831" y="324"/>
                    </a:lnTo>
                    <a:lnTo>
                      <a:pt x="843" y="335"/>
                    </a:lnTo>
                    <a:lnTo>
                      <a:pt x="855" y="346"/>
                    </a:lnTo>
                    <a:lnTo>
                      <a:pt x="880" y="369"/>
                    </a:lnTo>
                    <a:lnTo>
                      <a:pt x="903" y="392"/>
                    </a:lnTo>
                    <a:lnTo>
                      <a:pt x="925" y="417"/>
                    </a:lnTo>
                    <a:lnTo>
                      <a:pt x="947" y="441"/>
                    </a:lnTo>
                    <a:lnTo>
                      <a:pt x="817" y="814"/>
                    </a:lnTo>
                    <a:lnTo>
                      <a:pt x="457" y="849"/>
                    </a:lnTo>
                    <a:lnTo>
                      <a:pt x="446" y="837"/>
                    </a:lnTo>
                    <a:lnTo>
                      <a:pt x="435" y="826"/>
                    </a:lnTo>
                    <a:lnTo>
                      <a:pt x="424" y="815"/>
                    </a:lnTo>
                    <a:lnTo>
                      <a:pt x="412" y="804"/>
                    </a:lnTo>
                    <a:lnTo>
                      <a:pt x="400" y="794"/>
                    </a:lnTo>
                    <a:lnTo>
                      <a:pt x="388" y="784"/>
                    </a:lnTo>
                    <a:lnTo>
                      <a:pt x="375" y="774"/>
                    </a:lnTo>
                    <a:lnTo>
                      <a:pt x="363" y="764"/>
                    </a:lnTo>
                    <a:lnTo>
                      <a:pt x="337" y="746"/>
                    </a:lnTo>
                    <a:lnTo>
                      <a:pt x="323" y="737"/>
                    </a:lnTo>
                    <a:lnTo>
                      <a:pt x="310" y="729"/>
                    </a:lnTo>
                    <a:lnTo>
                      <a:pt x="296" y="720"/>
                    </a:lnTo>
                    <a:lnTo>
                      <a:pt x="282" y="712"/>
                    </a:lnTo>
                    <a:lnTo>
                      <a:pt x="268" y="705"/>
                    </a:lnTo>
                    <a:lnTo>
                      <a:pt x="254" y="698"/>
                    </a:lnTo>
                    <a:lnTo>
                      <a:pt x="240" y="691"/>
                    </a:lnTo>
                    <a:lnTo>
                      <a:pt x="225" y="685"/>
                    </a:lnTo>
                    <a:lnTo>
                      <a:pt x="209" y="679"/>
                    </a:lnTo>
                    <a:lnTo>
                      <a:pt x="194" y="673"/>
                    </a:lnTo>
                    <a:lnTo>
                      <a:pt x="179" y="668"/>
                    </a:lnTo>
                    <a:lnTo>
                      <a:pt x="163" y="663"/>
                    </a:lnTo>
                    <a:lnTo>
                      <a:pt x="148" y="659"/>
                    </a:lnTo>
                    <a:lnTo>
                      <a:pt x="132" y="655"/>
                    </a:lnTo>
                    <a:lnTo>
                      <a:pt x="116" y="651"/>
                    </a:lnTo>
                    <a:lnTo>
                      <a:pt x="100" y="648"/>
                    </a:lnTo>
                    <a:lnTo>
                      <a:pt x="84" y="645"/>
                    </a:lnTo>
                    <a:lnTo>
                      <a:pt x="68" y="642"/>
                    </a:lnTo>
                    <a:lnTo>
                      <a:pt x="34" y="639"/>
                    </a:lnTo>
                    <a:lnTo>
                      <a:pt x="17" y="638"/>
                    </a:lnTo>
                    <a:lnTo>
                      <a:pt x="0" y="637"/>
                    </a:lnTo>
                    <a:lnTo>
                      <a:pt x="198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6" name="Freeform 29"/>
              <p:cNvSpPr>
                <a:spLocks noChangeAspect="1"/>
              </p:cNvSpPr>
              <p:nvPr/>
            </p:nvSpPr>
            <p:spPr bwMode="auto">
              <a:xfrm>
                <a:off x="3643" y="1874"/>
                <a:ext cx="758" cy="1132"/>
              </a:xfrm>
              <a:custGeom>
                <a:avLst/>
                <a:gdLst>
                  <a:gd name="T0" fmla="*/ 14 w 758"/>
                  <a:gd name="T1" fmla="*/ 428 h 1132"/>
                  <a:gd name="T2" fmla="*/ 41 w 758"/>
                  <a:gd name="T3" fmla="*/ 469 h 1132"/>
                  <a:gd name="T4" fmla="*/ 63 w 758"/>
                  <a:gd name="T5" fmla="*/ 513 h 1132"/>
                  <a:gd name="T6" fmla="*/ 77 w 758"/>
                  <a:gd name="T7" fmla="*/ 548 h 1132"/>
                  <a:gd name="T8" fmla="*/ 90 w 758"/>
                  <a:gd name="T9" fmla="*/ 583 h 1132"/>
                  <a:gd name="T10" fmla="*/ 104 w 758"/>
                  <a:gd name="T11" fmla="*/ 631 h 1132"/>
                  <a:gd name="T12" fmla="*/ 114 w 758"/>
                  <a:gd name="T13" fmla="*/ 680 h 1132"/>
                  <a:gd name="T14" fmla="*/ 120 w 758"/>
                  <a:gd name="T15" fmla="*/ 732 h 1132"/>
                  <a:gd name="T16" fmla="*/ 122 w 758"/>
                  <a:gd name="T17" fmla="*/ 784 h 1132"/>
                  <a:gd name="T18" fmla="*/ 120 w 758"/>
                  <a:gd name="T19" fmla="*/ 829 h 1132"/>
                  <a:gd name="T20" fmla="*/ 116 w 758"/>
                  <a:gd name="T21" fmla="*/ 874 h 1132"/>
                  <a:gd name="T22" fmla="*/ 740 w 758"/>
                  <a:gd name="T23" fmla="*/ 1002 h 1132"/>
                  <a:gd name="T24" fmla="*/ 748 w 758"/>
                  <a:gd name="T25" fmla="*/ 948 h 1132"/>
                  <a:gd name="T26" fmla="*/ 754 w 758"/>
                  <a:gd name="T27" fmla="*/ 894 h 1132"/>
                  <a:gd name="T28" fmla="*/ 757 w 758"/>
                  <a:gd name="T29" fmla="*/ 839 h 1132"/>
                  <a:gd name="T30" fmla="*/ 758 w 758"/>
                  <a:gd name="T31" fmla="*/ 784 h 1132"/>
                  <a:gd name="T32" fmla="*/ 757 w 758"/>
                  <a:gd name="T33" fmla="*/ 729 h 1132"/>
                  <a:gd name="T34" fmla="*/ 754 w 758"/>
                  <a:gd name="T35" fmla="*/ 674 h 1132"/>
                  <a:gd name="T36" fmla="*/ 748 w 758"/>
                  <a:gd name="T37" fmla="*/ 621 h 1132"/>
                  <a:gd name="T38" fmla="*/ 740 w 758"/>
                  <a:gd name="T39" fmla="*/ 568 h 1132"/>
                  <a:gd name="T40" fmla="*/ 730 w 758"/>
                  <a:gd name="T41" fmla="*/ 515 h 1132"/>
                  <a:gd name="T42" fmla="*/ 718 w 758"/>
                  <a:gd name="T43" fmla="*/ 464 h 1132"/>
                  <a:gd name="T44" fmla="*/ 704 w 758"/>
                  <a:gd name="T45" fmla="*/ 413 h 1132"/>
                  <a:gd name="T46" fmla="*/ 688 w 758"/>
                  <a:gd name="T47" fmla="*/ 362 h 1132"/>
                  <a:gd name="T48" fmla="*/ 669 w 758"/>
                  <a:gd name="T49" fmla="*/ 314 h 1132"/>
                  <a:gd name="T50" fmla="*/ 649 w 758"/>
                  <a:gd name="T51" fmla="*/ 266 h 1132"/>
                  <a:gd name="T52" fmla="*/ 627 w 758"/>
                  <a:gd name="T53" fmla="*/ 218 h 1132"/>
                  <a:gd name="T54" fmla="*/ 603 w 758"/>
                  <a:gd name="T55" fmla="*/ 172 h 1132"/>
                  <a:gd name="T56" fmla="*/ 578 w 758"/>
                  <a:gd name="T57" fmla="*/ 128 h 1132"/>
                  <a:gd name="T58" fmla="*/ 551 w 758"/>
                  <a:gd name="T59" fmla="*/ 84 h 1132"/>
                  <a:gd name="T60" fmla="*/ 522 w 758"/>
                  <a:gd name="T61" fmla="*/ 41 h 1132"/>
                  <a:gd name="T62" fmla="*/ 491 w 758"/>
                  <a:gd name="T63" fmla="*/ 0 h 1132"/>
                  <a:gd name="T64" fmla="*/ 0 w 758"/>
                  <a:gd name="T65" fmla="*/ 408 h 11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8"/>
                  <a:gd name="T100" fmla="*/ 0 h 1132"/>
                  <a:gd name="T101" fmla="*/ 758 w 758"/>
                  <a:gd name="T102" fmla="*/ 1132 h 11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8" h="1132">
                    <a:moveTo>
                      <a:pt x="0" y="408"/>
                    </a:moveTo>
                    <a:lnTo>
                      <a:pt x="14" y="428"/>
                    </a:lnTo>
                    <a:lnTo>
                      <a:pt x="27" y="448"/>
                    </a:lnTo>
                    <a:lnTo>
                      <a:pt x="41" y="469"/>
                    </a:lnTo>
                    <a:lnTo>
                      <a:pt x="52" y="491"/>
                    </a:lnTo>
                    <a:lnTo>
                      <a:pt x="63" y="513"/>
                    </a:lnTo>
                    <a:lnTo>
                      <a:pt x="73" y="535"/>
                    </a:lnTo>
                    <a:lnTo>
                      <a:pt x="77" y="548"/>
                    </a:lnTo>
                    <a:lnTo>
                      <a:pt x="82" y="559"/>
                    </a:lnTo>
                    <a:lnTo>
                      <a:pt x="90" y="583"/>
                    </a:lnTo>
                    <a:lnTo>
                      <a:pt x="97" y="607"/>
                    </a:lnTo>
                    <a:lnTo>
                      <a:pt x="104" y="631"/>
                    </a:lnTo>
                    <a:lnTo>
                      <a:pt x="109" y="655"/>
                    </a:lnTo>
                    <a:lnTo>
                      <a:pt x="114" y="680"/>
                    </a:lnTo>
                    <a:lnTo>
                      <a:pt x="117" y="706"/>
                    </a:lnTo>
                    <a:lnTo>
                      <a:pt x="120" y="732"/>
                    </a:lnTo>
                    <a:lnTo>
                      <a:pt x="121" y="758"/>
                    </a:lnTo>
                    <a:lnTo>
                      <a:pt x="122" y="784"/>
                    </a:lnTo>
                    <a:lnTo>
                      <a:pt x="121" y="806"/>
                    </a:lnTo>
                    <a:lnTo>
                      <a:pt x="120" y="829"/>
                    </a:lnTo>
                    <a:lnTo>
                      <a:pt x="118" y="851"/>
                    </a:lnTo>
                    <a:lnTo>
                      <a:pt x="116" y="874"/>
                    </a:lnTo>
                    <a:lnTo>
                      <a:pt x="370" y="1132"/>
                    </a:lnTo>
                    <a:lnTo>
                      <a:pt x="740" y="1002"/>
                    </a:lnTo>
                    <a:lnTo>
                      <a:pt x="744" y="975"/>
                    </a:lnTo>
                    <a:lnTo>
                      <a:pt x="748" y="948"/>
                    </a:lnTo>
                    <a:lnTo>
                      <a:pt x="751" y="922"/>
                    </a:lnTo>
                    <a:lnTo>
                      <a:pt x="754" y="894"/>
                    </a:lnTo>
                    <a:lnTo>
                      <a:pt x="756" y="867"/>
                    </a:lnTo>
                    <a:lnTo>
                      <a:pt x="757" y="839"/>
                    </a:lnTo>
                    <a:lnTo>
                      <a:pt x="758" y="811"/>
                    </a:lnTo>
                    <a:lnTo>
                      <a:pt x="758" y="784"/>
                    </a:lnTo>
                    <a:lnTo>
                      <a:pt x="758" y="756"/>
                    </a:lnTo>
                    <a:lnTo>
                      <a:pt x="757" y="729"/>
                    </a:lnTo>
                    <a:lnTo>
                      <a:pt x="756" y="701"/>
                    </a:lnTo>
                    <a:lnTo>
                      <a:pt x="754" y="674"/>
                    </a:lnTo>
                    <a:lnTo>
                      <a:pt x="751" y="647"/>
                    </a:lnTo>
                    <a:lnTo>
                      <a:pt x="748" y="621"/>
                    </a:lnTo>
                    <a:lnTo>
                      <a:pt x="744" y="594"/>
                    </a:lnTo>
                    <a:lnTo>
                      <a:pt x="740" y="568"/>
                    </a:lnTo>
                    <a:lnTo>
                      <a:pt x="735" y="541"/>
                    </a:lnTo>
                    <a:lnTo>
                      <a:pt x="730" y="515"/>
                    </a:lnTo>
                    <a:lnTo>
                      <a:pt x="724" y="489"/>
                    </a:lnTo>
                    <a:lnTo>
                      <a:pt x="718" y="464"/>
                    </a:lnTo>
                    <a:lnTo>
                      <a:pt x="711" y="438"/>
                    </a:lnTo>
                    <a:lnTo>
                      <a:pt x="704" y="413"/>
                    </a:lnTo>
                    <a:lnTo>
                      <a:pt x="696" y="388"/>
                    </a:lnTo>
                    <a:lnTo>
                      <a:pt x="688" y="362"/>
                    </a:lnTo>
                    <a:lnTo>
                      <a:pt x="679" y="338"/>
                    </a:lnTo>
                    <a:lnTo>
                      <a:pt x="669" y="314"/>
                    </a:lnTo>
                    <a:lnTo>
                      <a:pt x="659" y="290"/>
                    </a:lnTo>
                    <a:lnTo>
                      <a:pt x="649" y="266"/>
                    </a:lnTo>
                    <a:lnTo>
                      <a:pt x="638" y="242"/>
                    </a:lnTo>
                    <a:lnTo>
                      <a:pt x="627" y="218"/>
                    </a:lnTo>
                    <a:lnTo>
                      <a:pt x="615" y="195"/>
                    </a:lnTo>
                    <a:lnTo>
                      <a:pt x="603" y="172"/>
                    </a:lnTo>
                    <a:lnTo>
                      <a:pt x="591" y="150"/>
                    </a:lnTo>
                    <a:lnTo>
                      <a:pt x="578" y="128"/>
                    </a:lnTo>
                    <a:lnTo>
                      <a:pt x="565" y="106"/>
                    </a:lnTo>
                    <a:lnTo>
                      <a:pt x="551" y="84"/>
                    </a:lnTo>
                    <a:lnTo>
                      <a:pt x="537" y="62"/>
                    </a:lnTo>
                    <a:lnTo>
                      <a:pt x="522" y="41"/>
                    </a:lnTo>
                    <a:lnTo>
                      <a:pt x="506" y="20"/>
                    </a:lnTo>
                    <a:lnTo>
                      <a:pt x="491" y="0"/>
                    </a:lnTo>
                    <a:lnTo>
                      <a:pt x="350" y="388"/>
                    </a:lnTo>
                    <a:lnTo>
                      <a:pt x="0" y="4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7" name="Freeform 30"/>
              <p:cNvSpPr>
                <a:spLocks noChangeAspect="1"/>
              </p:cNvSpPr>
              <p:nvPr/>
            </p:nvSpPr>
            <p:spPr bwMode="auto">
              <a:xfrm>
                <a:off x="3435" y="2824"/>
                <a:ext cx="934" cy="943"/>
              </a:xfrm>
              <a:custGeom>
                <a:avLst/>
                <a:gdLst>
                  <a:gd name="T0" fmla="*/ 0 w 934"/>
                  <a:gd name="T1" fmla="*/ 736 h 943"/>
                  <a:gd name="T2" fmla="*/ 52 w 934"/>
                  <a:gd name="T3" fmla="*/ 365 h 943"/>
                  <a:gd name="T4" fmla="*/ 88 w 934"/>
                  <a:gd name="T5" fmla="*/ 339 h 943"/>
                  <a:gd name="T6" fmla="*/ 132 w 934"/>
                  <a:gd name="T7" fmla="*/ 301 h 943"/>
                  <a:gd name="T8" fmla="*/ 162 w 934"/>
                  <a:gd name="T9" fmla="*/ 270 h 943"/>
                  <a:gd name="T10" fmla="*/ 181 w 934"/>
                  <a:gd name="T11" fmla="*/ 248 h 943"/>
                  <a:gd name="T12" fmla="*/ 199 w 934"/>
                  <a:gd name="T13" fmla="*/ 224 h 943"/>
                  <a:gd name="T14" fmla="*/ 224 w 934"/>
                  <a:gd name="T15" fmla="*/ 188 h 943"/>
                  <a:gd name="T16" fmla="*/ 239 w 934"/>
                  <a:gd name="T17" fmla="*/ 164 h 943"/>
                  <a:gd name="T18" fmla="*/ 261 w 934"/>
                  <a:gd name="T19" fmla="*/ 125 h 943"/>
                  <a:gd name="T20" fmla="*/ 274 w 934"/>
                  <a:gd name="T21" fmla="*/ 99 h 943"/>
                  <a:gd name="T22" fmla="*/ 290 w 934"/>
                  <a:gd name="T23" fmla="*/ 56 h 943"/>
                  <a:gd name="T24" fmla="*/ 300 w 934"/>
                  <a:gd name="T25" fmla="*/ 28 h 943"/>
                  <a:gd name="T26" fmla="*/ 308 w 934"/>
                  <a:gd name="T27" fmla="*/ 0 h 943"/>
                  <a:gd name="T28" fmla="*/ 934 w 934"/>
                  <a:gd name="T29" fmla="*/ 123 h 943"/>
                  <a:gd name="T30" fmla="*/ 917 w 934"/>
                  <a:gd name="T31" fmla="*/ 188 h 943"/>
                  <a:gd name="T32" fmla="*/ 897 w 934"/>
                  <a:gd name="T33" fmla="*/ 252 h 943"/>
                  <a:gd name="T34" fmla="*/ 886 w 934"/>
                  <a:gd name="T35" fmla="*/ 283 h 943"/>
                  <a:gd name="T36" fmla="*/ 867 w 934"/>
                  <a:gd name="T37" fmla="*/ 329 h 943"/>
                  <a:gd name="T38" fmla="*/ 847 w 934"/>
                  <a:gd name="T39" fmla="*/ 374 h 943"/>
                  <a:gd name="T40" fmla="*/ 833 w 934"/>
                  <a:gd name="T41" fmla="*/ 405 h 943"/>
                  <a:gd name="T42" fmla="*/ 802 w 934"/>
                  <a:gd name="T43" fmla="*/ 462 h 943"/>
                  <a:gd name="T44" fmla="*/ 769 w 934"/>
                  <a:gd name="T45" fmla="*/ 518 h 943"/>
                  <a:gd name="T46" fmla="*/ 733 w 934"/>
                  <a:gd name="T47" fmla="*/ 573 h 943"/>
                  <a:gd name="T48" fmla="*/ 693 w 934"/>
                  <a:gd name="T49" fmla="*/ 625 h 943"/>
                  <a:gd name="T50" fmla="*/ 663 w 934"/>
                  <a:gd name="T51" fmla="*/ 662 h 943"/>
                  <a:gd name="T52" fmla="*/ 631 w 934"/>
                  <a:gd name="T53" fmla="*/ 699 h 943"/>
                  <a:gd name="T54" fmla="*/ 586 w 934"/>
                  <a:gd name="T55" fmla="*/ 746 h 943"/>
                  <a:gd name="T56" fmla="*/ 538 w 934"/>
                  <a:gd name="T57" fmla="*/ 790 h 943"/>
                  <a:gd name="T58" fmla="*/ 488 w 934"/>
                  <a:gd name="T59" fmla="*/ 832 h 943"/>
                  <a:gd name="T60" fmla="*/ 437 w 934"/>
                  <a:gd name="T61" fmla="*/ 871 h 943"/>
                  <a:gd name="T62" fmla="*/ 382 w 934"/>
                  <a:gd name="T63" fmla="*/ 909 h 943"/>
                  <a:gd name="T64" fmla="*/ 355 w 934"/>
                  <a:gd name="T65" fmla="*/ 926 h 943"/>
                  <a:gd name="T66" fmla="*/ 327 w 934"/>
                  <a:gd name="T67" fmla="*/ 943 h 9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34"/>
                  <a:gd name="T103" fmla="*/ 0 h 943"/>
                  <a:gd name="T104" fmla="*/ 934 w 934"/>
                  <a:gd name="T105" fmla="*/ 943 h 9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34" h="943">
                    <a:moveTo>
                      <a:pt x="327" y="943"/>
                    </a:moveTo>
                    <a:lnTo>
                      <a:pt x="0" y="736"/>
                    </a:lnTo>
                    <a:lnTo>
                      <a:pt x="40" y="374"/>
                    </a:lnTo>
                    <a:lnTo>
                      <a:pt x="52" y="365"/>
                    </a:lnTo>
                    <a:lnTo>
                      <a:pt x="64" y="357"/>
                    </a:lnTo>
                    <a:lnTo>
                      <a:pt x="88" y="339"/>
                    </a:lnTo>
                    <a:lnTo>
                      <a:pt x="111" y="321"/>
                    </a:lnTo>
                    <a:lnTo>
                      <a:pt x="132" y="301"/>
                    </a:lnTo>
                    <a:lnTo>
                      <a:pt x="152" y="281"/>
                    </a:lnTo>
                    <a:lnTo>
                      <a:pt x="162" y="270"/>
                    </a:lnTo>
                    <a:lnTo>
                      <a:pt x="172" y="259"/>
                    </a:lnTo>
                    <a:lnTo>
                      <a:pt x="181" y="248"/>
                    </a:lnTo>
                    <a:lnTo>
                      <a:pt x="190" y="237"/>
                    </a:lnTo>
                    <a:lnTo>
                      <a:pt x="199" y="224"/>
                    </a:lnTo>
                    <a:lnTo>
                      <a:pt x="208" y="213"/>
                    </a:lnTo>
                    <a:lnTo>
                      <a:pt x="224" y="188"/>
                    </a:lnTo>
                    <a:lnTo>
                      <a:pt x="232" y="176"/>
                    </a:lnTo>
                    <a:lnTo>
                      <a:pt x="239" y="164"/>
                    </a:lnTo>
                    <a:lnTo>
                      <a:pt x="255" y="138"/>
                    </a:lnTo>
                    <a:lnTo>
                      <a:pt x="261" y="125"/>
                    </a:lnTo>
                    <a:lnTo>
                      <a:pt x="268" y="112"/>
                    </a:lnTo>
                    <a:lnTo>
                      <a:pt x="274" y="99"/>
                    </a:lnTo>
                    <a:lnTo>
                      <a:pt x="280" y="85"/>
                    </a:lnTo>
                    <a:lnTo>
                      <a:pt x="290" y="56"/>
                    </a:lnTo>
                    <a:lnTo>
                      <a:pt x="295" y="42"/>
                    </a:lnTo>
                    <a:lnTo>
                      <a:pt x="300" y="28"/>
                    </a:lnTo>
                    <a:lnTo>
                      <a:pt x="304" y="14"/>
                    </a:lnTo>
                    <a:lnTo>
                      <a:pt x="308" y="0"/>
                    </a:lnTo>
                    <a:lnTo>
                      <a:pt x="544" y="255"/>
                    </a:lnTo>
                    <a:lnTo>
                      <a:pt x="934" y="123"/>
                    </a:lnTo>
                    <a:lnTo>
                      <a:pt x="926" y="156"/>
                    </a:lnTo>
                    <a:lnTo>
                      <a:pt x="917" y="188"/>
                    </a:lnTo>
                    <a:lnTo>
                      <a:pt x="907" y="220"/>
                    </a:lnTo>
                    <a:lnTo>
                      <a:pt x="897" y="252"/>
                    </a:lnTo>
                    <a:lnTo>
                      <a:pt x="891" y="268"/>
                    </a:lnTo>
                    <a:lnTo>
                      <a:pt x="886" y="283"/>
                    </a:lnTo>
                    <a:lnTo>
                      <a:pt x="873" y="314"/>
                    </a:lnTo>
                    <a:lnTo>
                      <a:pt x="867" y="329"/>
                    </a:lnTo>
                    <a:lnTo>
                      <a:pt x="860" y="344"/>
                    </a:lnTo>
                    <a:lnTo>
                      <a:pt x="847" y="374"/>
                    </a:lnTo>
                    <a:lnTo>
                      <a:pt x="840" y="389"/>
                    </a:lnTo>
                    <a:lnTo>
                      <a:pt x="833" y="405"/>
                    </a:lnTo>
                    <a:lnTo>
                      <a:pt x="818" y="434"/>
                    </a:lnTo>
                    <a:lnTo>
                      <a:pt x="802" y="462"/>
                    </a:lnTo>
                    <a:lnTo>
                      <a:pt x="786" y="490"/>
                    </a:lnTo>
                    <a:lnTo>
                      <a:pt x="769" y="518"/>
                    </a:lnTo>
                    <a:lnTo>
                      <a:pt x="751" y="545"/>
                    </a:lnTo>
                    <a:lnTo>
                      <a:pt x="733" y="573"/>
                    </a:lnTo>
                    <a:lnTo>
                      <a:pt x="713" y="599"/>
                    </a:lnTo>
                    <a:lnTo>
                      <a:pt x="693" y="625"/>
                    </a:lnTo>
                    <a:lnTo>
                      <a:pt x="673" y="650"/>
                    </a:lnTo>
                    <a:lnTo>
                      <a:pt x="663" y="662"/>
                    </a:lnTo>
                    <a:lnTo>
                      <a:pt x="652" y="675"/>
                    </a:lnTo>
                    <a:lnTo>
                      <a:pt x="631" y="699"/>
                    </a:lnTo>
                    <a:lnTo>
                      <a:pt x="609" y="723"/>
                    </a:lnTo>
                    <a:lnTo>
                      <a:pt x="586" y="746"/>
                    </a:lnTo>
                    <a:lnTo>
                      <a:pt x="562" y="768"/>
                    </a:lnTo>
                    <a:lnTo>
                      <a:pt x="538" y="790"/>
                    </a:lnTo>
                    <a:lnTo>
                      <a:pt x="513" y="811"/>
                    </a:lnTo>
                    <a:lnTo>
                      <a:pt x="488" y="832"/>
                    </a:lnTo>
                    <a:lnTo>
                      <a:pt x="463" y="852"/>
                    </a:lnTo>
                    <a:lnTo>
                      <a:pt x="437" y="871"/>
                    </a:lnTo>
                    <a:lnTo>
                      <a:pt x="410" y="891"/>
                    </a:lnTo>
                    <a:lnTo>
                      <a:pt x="382" y="909"/>
                    </a:lnTo>
                    <a:lnTo>
                      <a:pt x="368" y="918"/>
                    </a:lnTo>
                    <a:lnTo>
                      <a:pt x="355" y="926"/>
                    </a:lnTo>
                    <a:lnTo>
                      <a:pt x="341" y="934"/>
                    </a:lnTo>
                    <a:lnTo>
                      <a:pt x="327" y="9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8" name="Freeform 31"/>
              <p:cNvSpPr>
                <a:spLocks noChangeAspect="1"/>
              </p:cNvSpPr>
              <p:nvPr/>
            </p:nvSpPr>
            <p:spPr bwMode="auto">
              <a:xfrm>
                <a:off x="2621" y="3236"/>
                <a:ext cx="1076" cy="702"/>
              </a:xfrm>
              <a:custGeom>
                <a:avLst/>
                <a:gdLst>
                  <a:gd name="T0" fmla="*/ 0 w 1076"/>
                  <a:gd name="T1" fmla="*/ 237 h 702"/>
                  <a:gd name="T2" fmla="*/ 344 w 1076"/>
                  <a:gd name="T3" fmla="*/ 47 h 702"/>
                  <a:gd name="T4" fmla="*/ 387 w 1076"/>
                  <a:gd name="T5" fmla="*/ 56 h 702"/>
                  <a:gd name="T6" fmla="*/ 432 w 1076"/>
                  <a:gd name="T7" fmla="*/ 62 h 702"/>
                  <a:gd name="T8" fmla="*/ 477 w 1076"/>
                  <a:gd name="T9" fmla="*/ 65 h 702"/>
                  <a:gd name="T10" fmla="*/ 519 w 1076"/>
                  <a:gd name="T11" fmla="*/ 65 h 702"/>
                  <a:gd name="T12" fmla="*/ 557 w 1076"/>
                  <a:gd name="T13" fmla="*/ 63 h 702"/>
                  <a:gd name="T14" fmla="*/ 595 w 1076"/>
                  <a:gd name="T15" fmla="*/ 59 h 702"/>
                  <a:gd name="T16" fmla="*/ 632 w 1076"/>
                  <a:gd name="T17" fmla="*/ 53 h 702"/>
                  <a:gd name="T18" fmla="*/ 659 w 1076"/>
                  <a:gd name="T19" fmla="*/ 47 h 702"/>
                  <a:gd name="T20" fmla="*/ 685 w 1076"/>
                  <a:gd name="T21" fmla="*/ 39 h 702"/>
                  <a:gd name="T22" fmla="*/ 720 w 1076"/>
                  <a:gd name="T23" fmla="*/ 28 h 702"/>
                  <a:gd name="T24" fmla="*/ 754 w 1076"/>
                  <a:gd name="T25" fmla="*/ 15 h 702"/>
                  <a:gd name="T26" fmla="*/ 787 w 1076"/>
                  <a:gd name="T27" fmla="*/ 0 h 702"/>
                  <a:gd name="T28" fmla="*/ 1076 w 1076"/>
                  <a:gd name="T29" fmla="*/ 566 h 702"/>
                  <a:gd name="T30" fmla="*/ 1042 w 1076"/>
                  <a:gd name="T31" fmla="*/ 581 h 702"/>
                  <a:gd name="T32" fmla="*/ 976 w 1076"/>
                  <a:gd name="T33" fmla="*/ 610 h 702"/>
                  <a:gd name="T34" fmla="*/ 907 w 1076"/>
                  <a:gd name="T35" fmla="*/ 636 h 702"/>
                  <a:gd name="T36" fmla="*/ 836 w 1076"/>
                  <a:gd name="T37" fmla="*/ 658 h 702"/>
                  <a:gd name="T38" fmla="*/ 764 w 1076"/>
                  <a:gd name="T39" fmla="*/ 675 h 702"/>
                  <a:gd name="T40" fmla="*/ 727 w 1076"/>
                  <a:gd name="T41" fmla="*/ 682 h 702"/>
                  <a:gd name="T42" fmla="*/ 690 w 1076"/>
                  <a:gd name="T43" fmla="*/ 688 h 702"/>
                  <a:gd name="T44" fmla="*/ 615 w 1076"/>
                  <a:gd name="T45" fmla="*/ 697 h 702"/>
                  <a:gd name="T46" fmla="*/ 538 w 1076"/>
                  <a:gd name="T47" fmla="*/ 702 h 702"/>
                  <a:gd name="T48" fmla="*/ 500 w 1076"/>
                  <a:gd name="T49" fmla="*/ 702 h 702"/>
                  <a:gd name="T50" fmla="*/ 437 w 1076"/>
                  <a:gd name="T51" fmla="*/ 701 h 702"/>
                  <a:gd name="T52" fmla="*/ 375 w 1076"/>
                  <a:gd name="T53" fmla="*/ 696 h 702"/>
                  <a:gd name="T54" fmla="*/ 314 w 1076"/>
                  <a:gd name="T55" fmla="*/ 689 h 702"/>
                  <a:gd name="T56" fmla="*/ 253 w 1076"/>
                  <a:gd name="T57" fmla="*/ 679 h 702"/>
                  <a:gd name="T58" fmla="*/ 195 w 1076"/>
                  <a:gd name="T59" fmla="*/ 666 h 702"/>
                  <a:gd name="T60" fmla="*/ 137 w 1076"/>
                  <a:gd name="T61" fmla="*/ 651 h 702"/>
                  <a:gd name="T62" fmla="*/ 80 w 1076"/>
                  <a:gd name="T63" fmla="*/ 632 h 702"/>
                  <a:gd name="T64" fmla="*/ 24 w 1076"/>
                  <a:gd name="T65" fmla="*/ 610 h 70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76"/>
                  <a:gd name="T100" fmla="*/ 0 h 702"/>
                  <a:gd name="T101" fmla="*/ 1076 w 1076"/>
                  <a:gd name="T102" fmla="*/ 702 h 70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76" h="702">
                    <a:moveTo>
                      <a:pt x="24" y="610"/>
                    </a:moveTo>
                    <a:lnTo>
                      <a:pt x="0" y="237"/>
                    </a:lnTo>
                    <a:lnTo>
                      <a:pt x="323" y="41"/>
                    </a:lnTo>
                    <a:lnTo>
                      <a:pt x="344" y="47"/>
                    </a:lnTo>
                    <a:lnTo>
                      <a:pt x="365" y="52"/>
                    </a:lnTo>
                    <a:lnTo>
                      <a:pt x="387" y="56"/>
                    </a:lnTo>
                    <a:lnTo>
                      <a:pt x="409" y="59"/>
                    </a:lnTo>
                    <a:lnTo>
                      <a:pt x="432" y="62"/>
                    </a:lnTo>
                    <a:lnTo>
                      <a:pt x="454" y="64"/>
                    </a:lnTo>
                    <a:lnTo>
                      <a:pt x="477" y="65"/>
                    </a:lnTo>
                    <a:lnTo>
                      <a:pt x="500" y="66"/>
                    </a:lnTo>
                    <a:lnTo>
                      <a:pt x="519" y="65"/>
                    </a:lnTo>
                    <a:lnTo>
                      <a:pt x="538" y="64"/>
                    </a:lnTo>
                    <a:lnTo>
                      <a:pt x="557" y="63"/>
                    </a:lnTo>
                    <a:lnTo>
                      <a:pt x="576" y="61"/>
                    </a:lnTo>
                    <a:lnTo>
                      <a:pt x="595" y="59"/>
                    </a:lnTo>
                    <a:lnTo>
                      <a:pt x="614" y="56"/>
                    </a:lnTo>
                    <a:lnTo>
                      <a:pt x="632" y="53"/>
                    </a:lnTo>
                    <a:lnTo>
                      <a:pt x="650" y="49"/>
                    </a:lnTo>
                    <a:lnTo>
                      <a:pt x="659" y="47"/>
                    </a:lnTo>
                    <a:lnTo>
                      <a:pt x="668" y="44"/>
                    </a:lnTo>
                    <a:lnTo>
                      <a:pt x="685" y="39"/>
                    </a:lnTo>
                    <a:lnTo>
                      <a:pt x="703" y="34"/>
                    </a:lnTo>
                    <a:lnTo>
                      <a:pt x="720" y="28"/>
                    </a:lnTo>
                    <a:lnTo>
                      <a:pt x="737" y="22"/>
                    </a:lnTo>
                    <a:lnTo>
                      <a:pt x="754" y="15"/>
                    </a:lnTo>
                    <a:lnTo>
                      <a:pt x="771" y="7"/>
                    </a:lnTo>
                    <a:lnTo>
                      <a:pt x="787" y="0"/>
                    </a:lnTo>
                    <a:lnTo>
                      <a:pt x="734" y="348"/>
                    </a:lnTo>
                    <a:lnTo>
                      <a:pt x="1076" y="566"/>
                    </a:lnTo>
                    <a:lnTo>
                      <a:pt x="1060" y="574"/>
                    </a:lnTo>
                    <a:lnTo>
                      <a:pt x="1042" y="581"/>
                    </a:lnTo>
                    <a:lnTo>
                      <a:pt x="1009" y="596"/>
                    </a:lnTo>
                    <a:lnTo>
                      <a:pt x="976" y="610"/>
                    </a:lnTo>
                    <a:lnTo>
                      <a:pt x="942" y="624"/>
                    </a:lnTo>
                    <a:lnTo>
                      <a:pt x="907" y="636"/>
                    </a:lnTo>
                    <a:lnTo>
                      <a:pt x="872" y="648"/>
                    </a:lnTo>
                    <a:lnTo>
                      <a:pt x="836" y="658"/>
                    </a:lnTo>
                    <a:lnTo>
                      <a:pt x="801" y="667"/>
                    </a:lnTo>
                    <a:lnTo>
                      <a:pt x="764" y="675"/>
                    </a:lnTo>
                    <a:lnTo>
                      <a:pt x="746" y="679"/>
                    </a:lnTo>
                    <a:lnTo>
                      <a:pt x="727" y="682"/>
                    </a:lnTo>
                    <a:lnTo>
                      <a:pt x="708" y="685"/>
                    </a:lnTo>
                    <a:lnTo>
                      <a:pt x="690" y="688"/>
                    </a:lnTo>
                    <a:lnTo>
                      <a:pt x="653" y="693"/>
                    </a:lnTo>
                    <a:lnTo>
                      <a:pt x="615" y="697"/>
                    </a:lnTo>
                    <a:lnTo>
                      <a:pt x="576" y="700"/>
                    </a:lnTo>
                    <a:lnTo>
                      <a:pt x="538" y="702"/>
                    </a:lnTo>
                    <a:lnTo>
                      <a:pt x="519" y="702"/>
                    </a:lnTo>
                    <a:lnTo>
                      <a:pt x="500" y="702"/>
                    </a:lnTo>
                    <a:lnTo>
                      <a:pt x="468" y="702"/>
                    </a:lnTo>
                    <a:lnTo>
                      <a:pt x="437" y="701"/>
                    </a:lnTo>
                    <a:lnTo>
                      <a:pt x="405" y="699"/>
                    </a:lnTo>
                    <a:lnTo>
                      <a:pt x="375" y="696"/>
                    </a:lnTo>
                    <a:lnTo>
                      <a:pt x="344" y="693"/>
                    </a:lnTo>
                    <a:lnTo>
                      <a:pt x="314" y="689"/>
                    </a:lnTo>
                    <a:lnTo>
                      <a:pt x="284" y="684"/>
                    </a:lnTo>
                    <a:lnTo>
                      <a:pt x="253" y="679"/>
                    </a:lnTo>
                    <a:lnTo>
                      <a:pt x="224" y="673"/>
                    </a:lnTo>
                    <a:lnTo>
                      <a:pt x="195" y="666"/>
                    </a:lnTo>
                    <a:lnTo>
                      <a:pt x="166" y="659"/>
                    </a:lnTo>
                    <a:lnTo>
                      <a:pt x="137" y="651"/>
                    </a:lnTo>
                    <a:lnTo>
                      <a:pt x="109" y="642"/>
                    </a:lnTo>
                    <a:lnTo>
                      <a:pt x="80" y="632"/>
                    </a:lnTo>
                    <a:lnTo>
                      <a:pt x="52" y="621"/>
                    </a:lnTo>
                    <a:lnTo>
                      <a:pt x="24" y="610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9" name="Freeform 32"/>
              <p:cNvSpPr>
                <a:spLocks noChangeAspect="1"/>
              </p:cNvSpPr>
              <p:nvPr/>
            </p:nvSpPr>
            <p:spPr bwMode="auto">
              <a:xfrm>
                <a:off x="1894" y="2774"/>
                <a:ext cx="971" cy="1043"/>
              </a:xfrm>
              <a:custGeom>
                <a:avLst/>
                <a:gdLst>
                  <a:gd name="T0" fmla="*/ 957 w 971"/>
                  <a:gd name="T1" fmla="*/ 469 h 1043"/>
                  <a:gd name="T2" fmla="*/ 929 w 971"/>
                  <a:gd name="T3" fmla="*/ 455 h 1043"/>
                  <a:gd name="T4" fmla="*/ 889 w 971"/>
                  <a:gd name="T5" fmla="*/ 432 h 1043"/>
                  <a:gd name="T6" fmla="*/ 863 w 971"/>
                  <a:gd name="T7" fmla="*/ 415 h 1043"/>
                  <a:gd name="T8" fmla="*/ 838 w 971"/>
                  <a:gd name="T9" fmla="*/ 397 h 1043"/>
                  <a:gd name="T10" fmla="*/ 802 w 971"/>
                  <a:gd name="T11" fmla="*/ 368 h 1043"/>
                  <a:gd name="T12" fmla="*/ 769 w 971"/>
                  <a:gd name="T13" fmla="*/ 336 h 1043"/>
                  <a:gd name="T14" fmla="*/ 748 w 971"/>
                  <a:gd name="T15" fmla="*/ 314 h 1043"/>
                  <a:gd name="T16" fmla="*/ 728 w 971"/>
                  <a:gd name="T17" fmla="*/ 291 h 1043"/>
                  <a:gd name="T18" fmla="*/ 709 w 971"/>
                  <a:gd name="T19" fmla="*/ 266 h 1043"/>
                  <a:gd name="T20" fmla="*/ 691 w 971"/>
                  <a:gd name="T21" fmla="*/ 241 h 1043"/>
                  <a:gd name="T22" fmla="*/ 675 w 971"/>
                  <a:gd name="T23" fmla="*/ 215 h 1043"/>
                  <a:gd name="T24" fmla="*/ 645 w 971"/>
                  <a:gd name="T25" fmla="*/ 161 h 1043"/>
                  <a:gd name="T26" fmla="*/ 632 w 971"/>
                  <a:gd name="T27" fmla="*/ 133 h 1043"/>
                  <a:gd name="T28" fmla="*/ 0 w 971"/>
                  <a:gd name="T29" fmla="*/ 249 h 1043"/>
                  <a:gd name="T30" fmla="*/ 21 w 971"/>
                  <a:gd name="T31" fmla="*/ 315 h 1043"/>
                  <a:gd name="T32" fmla="*/ 46 w 971"/>
                  <a:gd name="T33" fmla="*/ 378 h 1043"/>
                  <a:gd name="T34" fmla="*/ 60 w 971"/>
                  <a:gd name="T35" fmla="*/ 409 h 1043"/>
                  <a:gd name="T36" fmla="*/ 74 w 971"/>
                  <a:gd name="T37" fmla="*/ 440 h 1043"/>
                  <a:gd name="T38" fmla="*/ 105 w 971"/>
                  <a:gd name="T39" fmla="*/ 500 h 1043"/>
                  <a:gd name="T40" fmla="*/ 138 w 971"/>
                  <a:gd name="T41" fmla="*/ 558 h 1043"/>
                  <a:gd name="T42" fmla="*/ 156 w 971"/>
                  <a:gd name="T43" fmla="*/ 586 h 1043"/>
                  <a:gd name="T44" fmla="*/ 185 w 971"/>
                  <a:gd name="T45" fmla="*/ 629 h 1043"/>
                  <a:gd name="T46" fmla="*/ 216 w 971"/>
                  <a:gd name="T47" fmla="*/ 669 h 1043"/>
                  <a:gd name="T48" fmla="*/ 258 w 971"/>
                  <a:gd name="T49" fmla="*/ 720 h 1043"/>
                  <a:gd name="T50" fmla="*/ 303 w 971"/>
                  <a:gd name="T51" fmla="*/ 771 h 1043"/>
                  <a:gd name="T52" fmla="*/ 351 w 971"/>
                  <a:gd name="T53" fmla="*/ 818 h 1043"/>
                  <a:gd name="T54" fmla="*/ 388 w 971"/>
                  <a:gd name="T55" fmla="*/ 851 h 1043"/>
                  <a:gd name="T56" fmla="*/ 426 w 971"/>
                  <a:gd name="T57" fmla="*/ 883 h 1043"/>
                  <a:gd name="T58" fmla="*/ 479 w 971"/>
                  <a:gd name="T59" fmla="*/ 923 h 1043"/>
                  <a:gd name="T60" fmla="*/ 536 w 971"/>
                  <a:gd name="T61" fmla="*/ 962 h 1043"/>
                  <a:gd name="T62" fmla="*/ 593 w 971"/>
                  <a:gd name="T63" fmla="*/ 997 h 1043"/>
                  <a:gd name="T64" fmla="*/ 652 w 971"/>
                  <a:gd name="T65" fmla="*/ 1028 h 1043"/>
                  <a:gd name="T66" fmla="*/ 659 w 971"/>
                  <a:gd name="T67" fmla="*/ 657 h 10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71"/>
                  <a:gd name="T103" fmla="*/ 0 h 1043"/>
                  <a:gd name="T104" fmla="*/ 971 w 971"/>
                  <a:gd name="T105" fmla="*/ 1043 h 10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71" h="1043">
                    <a:moveTo>
                      <a:pt x="971" y="475"/>
                    </a:moveTo>
                    <a:lnTo>
                      <a:pt x="957" y="469"/>
                    </a:lnTo>
                    <a:lnTo>
                      <a:pt x="943" y="462"/>
                    </a:lnTo>
                    <a:lnTo>
                      <a:pt x="929" y="455"/>
                    </a:lnTo>
                    <a:lnTo>
                      <a:pt x="915" y="448"/>
                    </a:lnTo>
                    <a:lnTo>
                      <a:pt x="889" y="432"/>
                    </a:lnTo>
                    <a:lnTo>
                      <a:pt x="876" y="423"/>
                    </a:lnTo>
                    <a:lnTo>
                      <a:pt x="863" y="415"/>
                    </a:lnTo>
                    <a:lnTo>
                      <a:pt x="851" y="406"/>
                    </a:lnTo>
                    <a:lnTo>
                      <a:pt x="838" y="397"/>
                    </a:lnTo>
                    <a:lnTo>
                      <a:pt x="814" y="378"/>
                    </a:lnTo>
                    <a:lnTo>
                      <a:pt x="802" y="368"/>
                    </a:lnTo>
                    <a:lnTo>
                      <a:pt x="791" y="358"/>
                    </a:lnTo>
                    <a:lnTo>
                      <a:pt x="769" y="336"/>
                    </a:lnTo>
                    <a:lnTo>
                      <a:pt x="758" y="326"/>
                    </a:lnTo>
                    <a:lnTo>
                      <a:pt x="748" y="314"/>
                    </a:lnTo>
                    <a:lnTo>
                      <a:pt x="738" y="303"/>
                    </a:lnTo>
                    <a:lnTo>
                      <a:pt x="728" y="291"/>
                    </a:lnTo>
                    <a:lnTo>
                      <a:pt x="718" y="278"/>
                    </a:lnTo>
                    <a:lnTo>
                      <a:pt x="709" y="266"/>
                    </a:lnTo>
                    <a:lnTo>
                      <a:pt x="700" y="254"/>
                    </a:lnTo>
                    <a:lnTo>
                      <a:pt x="691" y="241"/>
                    </a:lnTo>
                    <a:lnTo>
                      <a:pt x="683" y="228"/>
                    </a:lnTo>
                    <a:lnTo>
                      <a:pt x="675" y="215"/>
                    </a:lnTo>
                    <a:lnTo>
                      <a:pt x="659" y="188"/>
                    </a:lnTo>
                    <a:lnTo>
                      <a:pt x="645" y="161"/>
                    </a:lnTo>
                    <a:lnTo>
                      <a:pt x="638" y="147"/>
                    </a:lnTo>
                    <a:lnTo>
                      <a:pt x="632" y="133"/>
                    </a:lnTo>
                    <a:lnTo>
                      <a:pt x="279" y="0"/>
                    </a:lnTo>
                    <a:lnTo>
                      <a:pt x="0" y="249"/>
                    </a:lnTo>
                    <a:lnTo>
                      <a:pt x="10" y="281"/>
                    </a:lnTo>
                    <a:lnTo>
                      <a:pt x="21" y="315"/>
                    </a:lnTo>
                    <a:lnTo>
                      <a:pt x="33" y="347"/>
                    </a:lnTo>
                    <a:lnTo>
                      <a:pt x="46" y="378"/>
                    </a:lnTo>
                    <a:lnTo>
                      <a:pt x="53" y="394"/>
                    </a:lnTo>
                    <a:lnTo>
                      <a:pt x="60" y="409"/>
                    </a:lnTo>
                    <a:lnTo>
                      <a:pt x="67" y="424"/>
                    </a:lnTo>
                    <a:lnTo>
                      <a:pt x="74" y="440"/>
                    </a:lnTo>
                    <a:lnTo>
                      <a:pt x="89" y="471"/>
                    </a:lnTo>
                    <a:lnTo>
                      <a:pt x="105" y="500"/>
                    </a:lnTo>
                    <a:lnTo>
                      <a:pt x="121" y="530"/>
                    </a:lnTo>
                    <a:lnTo>
                      <a:pt x="138" y="558"/>
                    </a:lnTo>
                    <a:lnTo>
                      <a:pt x="147" y="572"/>
                    </a:lnTo>
                    <a:lnTo>
                      <a:pt x="156" y="586"/>
                    </a:lnTo>
                    <a:lnTo>
                      <a:pt x="175" y="615"/>
                    </a:lnTo>
                    <a:lnTo>
                      <a:pt x="185" y="629"/>
                    </a:lnTo>
                    <a:lnTo>
                      <a:pt x="195" y="642"/>
                    </a:lnTo>
                    <a:lnTo>
                      <a:pt x="216" y="669"/>
                    </a:lnTo>
                    <a:lnTo>
                      <a:pt x="236" y="695"/>
                    </a:lnTo>
                    <a:lnTo>
                      <a:pt x="258" y="720"/>
                    </a:lnTo>
                    <a:lnTo>
                      <a:pt x="280" y="745"/>
                    </a:lnTo>
                    <a:lnTo>
                      <a:pt x="303" y="771"/>
                    </a:lnTo>
                    <a:lnTo>
                      <a:pt x="326" y="794"/>
                    </a:lnTo>
                    <a:lnTo>
                      <a:pt x="351" y="818"/>
                    </a:lnTo>
                    <a:lnTo>
                      <a:pt x="375" y="840"/>
                    </a:lnTo>
                    <a:lnTo>
                      <a:pt x="388" y="851"/>
                    </a:lnTo>
                    <a:lnTo>
                      <a:pt x="401" y="862"/>
                    </a:lnTo>
                    <a:lnTo>
                      <a:pt x="426" y="883"/>
                    </a:lnTo>
                    <a:lnTo>
                      <a:pt x="453" y="904"/>
                    </a:lnTo>
                    <a:lnTo>
                      <a:pt x="479" y="923"/>
                    </a:lnTo>
                    <a:lnTo>
                      <a:pt x="508" y="944"/>
                    </a:lnTo>
                    <a:lnTo>
                      <a:pt x="536" y="962"/>
                    </a:lnTo>
                    <a:lnTo>
                      <a:pt x="564" y="980"/>
                    </a:lnTo>
                    <a:lnTo>
                      <a:pt x="593" y="997"/>
                    </a:lnTo>
                    <a:lnTo>
                      <a:pt x="622" y="1013"/>
                    </a:lnTo>
                    <a:lnTo>
                      <a:pt x="652" y="1028"/>
                    </a:lnTo>
                    <a:lnTo>
                      <a:pt x="684" y="1043"/>
                    </a:lnTo>
                    <a:lnTo>
                      <a:pt x="659" y="657"/>
                    </a:lnTo>
                    <a:lnTo>
                      <a:pt x="971" y="4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0" name="Freeform 33"/>
              <p:cNvSpPr>
                <a:spLocks noChangeAspect="1"/>
              </p:cNvSpPr>
              <p:nvPr/>
            </p:nvSpPr>
            <p:spPr bwMode="auto">
              <a:xfrm>
                <a:off x="1840" y="1913"/>
                <a:ext cx="726" cy="1039"/>
              </a:xfrm>
              <a:custGeom>
                <a:avLst/>
                <a:gdLst>
                  <a:gd name="T0" fmla="*/ 715 w 726"/>
                  <a:gd name="T1" fmla="*/ 436 h 1039"/>
                  <a:gd name="T2" fmla="*/ 696 w 726"/>
                  <a:gd name="T3" fmla="*/ 474 h 1039"/>
                  <a:gd name="T4" fmla="*/ 680 w 726"/>
                  <a:gd name="T5" fmla="*/ 513 h 1039"/>
                  <a:gd name="T6" fmla="*/ 666 w 726"/>
                  <a:gd name="T7" fmla="*/ 553 h 1039"/>
                  <a:gd name="T8" fmla="*/ 654 w 726"/>
                  <a:gd name="T9" fmla="*/ 593 h 1039"/>
                  <a:gd name="T10" fmla="*/ 646 w 726"/>
                  <a:gd name="T11" fmla="*/ 635 h 1039"/>
                  <a:gd name="T12" fmla="*/ 640 w 726"/>
                  <a:gd name="T13" fmla="*/ 679 h 1039"/>
                  <a:gd name="T14" fmla="*/ 637 w 726"/>
                  <a:gd name="T15" fmla="*/ 722 h 1039"/>
                  <a:gd name="T16" fmla="*/ 637 w 726"/>
                  <a:gd name="T17" fmla="*/ 767 h 1039"/>
                  <a:gd name="T18" fmla="*/ 640 w 726"/>
                  <a:gd name="T19" fmla="*/ 811 h 1039"/>
                  <a:gd name="T20" fmla="*/ 646 w 726"/>
                  <a:gd name="T21" fmla="*/ 856 h 1039"/>
                  <a:gd name="T22" fmla="*/ 655 w 726"/>
                  <a:gd name="T23" fmla="*/ 898 h 1039"/>
                  <a:gd name="T24" fmla="*/ 324 w 726"/>
                  <a:gd name="T25" fmla="*/ 783 h 1039"/>
                  <a:gd name="T26" fmla="*/ 26 w 726"/>
                  <a:gd name="T27" fmla="*/ 1004 h 1039"/>
                  <a:gd name="T28" fmla="*/ 19 w 726"/>
                  <a:gd name="T29" fmla="*/ 967 h 1039"/>
                  <a:gd name="T30" fmla="*/ 9 w 726"/>
                  <a:gd name="T31" fmla="*/ 894 h 1039"/>
                  <a:gd name="T32" fmla="*/ 2 w 726"/>
                  <a:gd name="T33" fmla="*/ 820 h 1039"/>
                  <a:gd name="T34" fmla="*/ 0 w 726"/>
                  <a:gd name="T35" fmla="*/ 745 h 1039"/>
                  <a:gd name="T36" fmla="*/ 1 w 726"/>
                  <a:gd name="T37" fmla="*/ 693 h 1039"/>
                  <a:gd name="T38" fmla="*/ 4 w 726"/>
                  <a:gd name="T39" fmla="*/ 641 h 1039"/>
                  <a:gd name="T40" fmla="*/ 9 w 726"/>
                  <a:gd name="T41" fmla="*/ 590 h 1039"/>
                  <a:gd name="T42" fmla="*/ 16 w 726"/>
                  <a:gd name="T43" fmla="*/ 541 h 1039"/>
                  <a:gd name="T44" fmla="*/ 25 w 726"/>
                  <a:gd name="T45" fmla="*/ 490 h 1039"/>
                  <a:gd name="T46" fmla="*/ 36 w 726"/>
                  <a:gd name="T47" fmla="*/ 442 h 1039"/>
                  <a:gd name="T48" fmla="*/ 49 w 726"/>
                  <a:gd name="T49" fmla="*/ 394 h 1039"/>
                  <a:gd name="T50" fmla="*/ 63 w 726"/>
                  <a:gd name="T51" fmla="*/ 347 h 1039"/>
                  <a:gd name="T52" fmla="*/ 79 w 726"/>
                  <a:gd name="T53" fmla="*/ 300 h 1039"/>
                  <a:gd name="T54" fmla="*/ 98 w 726"/>
                  <a:gd name="T55" fmla="*/ 255 h 1039"/>
                  <a:gd name="T56" fmla="*/ 118 w 726"/>
                  <a:gd name="T57" fmla="*/ 210 h 1039"/>
                  <a:gd name="T58" fmla="*/ 139 w 726"/>
                  <a:gd name="T59" fmla="*/ 166 h 1039"/>
                  <a:gd name="T60" fmla="*/ 162 w 726"/>
                  <a:gd name="T61" fmla="*/ 123 h 1039"/>
                  <a:gd name="T62" fmla="*/ 186 w 726"/>
                  <a:gd name="T63" fmla="*/ 81 h 1039"/>
                  <a:gd name="T64" fmla="*/ 212 w 726"/>
                  <a:gd name="T65" fmla="*/ 41 h 1039"/>
                  <a:gd name="T66" fmla="*/ 239 w 726"/>
                  <a:gd name="T67" fmla="*/ 0 h 1039"/>
                  <a:gd name="T68" fmla="*/ 726 w 726"/>
                  <a:gd name="T69" fmla="*/ 418 h 103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26"/>
                  <a:gd name="T106" fmla="*/ 0 h 1039"/>
                  <a:gd name="T107" fmla="*/ 726 w 726"/>
                  <a:gd name="T108" fmla="*/ 1039 h 103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26" h="1039">
                    <a:moveTo>
                      <a:pt x="726" y="418"/>
                    </a:moveTo>
                    <a:lnTo>
                      <a:pt x="715" y="436"/>
                    </a:lnTo>
                    <a:lnTo>
                      <a:pt x="705" y="455"/>
                    </a:lnTo>
                    <a:lnTo>
                      <a:pt x="696" y="474"/>
                    </a:lnTo>
                    <a:lnTo>
                      <a:pt x="687" y="493"/>
                    </a:lnTo>
                    <a:lnTo>
                      <a:pt x="680" y="513"/>
                    </a:lnTo>
                    <a:lnTo>
                      <a:pt x="672" y="533"/>
                    </a:lnTo>
                    <a:lnTo>
                      <a:pt x="666" y="553"/>
                    </a:lnTo>
                    <a:lnTo>
                      <a:pt x="660" y="573"/>
                    </a:lnTo>
                    <a:lnTo>
                      <a:pt x="654" y="593"/>
                    </a:lnTo>
                    <a:lnTo>
                      <a:pt x="650" y="614"/>
                    </a:lnTo>
                    <a:lnTo>
                      <a:pt x="646" y="635"/>
                    </a:lnTo>
                    <a:lnTo>
                      <a:pt x="643" y="656"/>
                    </a:lnTo>
                    <a:lnTo>
                      <a:pt x="640" y="679"/>
                    </a:lnTo>
                    <a:lnTo>
                      <a:pt x="638" y="701"/>
                    </a:lnTo>
                    <a:lnTo>
                      <a:pt x="637" y="722"/>
                    </a:lnTo>
                    <a:lnTo>
                      <a:pt x="637" y="745"/>
                    </a:lnTo>
                    <a:lnTo>
                      <a:pt x="637" y="767"/>
                    </a:lnTo>
                    <a:lnTo>
                      <a:pt x="638" y="789"/>
                    </a:lnTo>
                    <a:lnTo>
                      <a:pt x="640" y="811"/>
                    </a:lnTo>
                    <a:lnTo>
                      <a:pt x="643" y="834"/>
                    </a:lnTo>
                    <a:lnTo>
                      <a:pt x="646" y="856"/>
                    </a:lnTo>
                    <a:lnTo>
                      <a:pt x="650" y="877"/>
                    </a:lnTo>
                    <a:lnTo>
                      <a:pt x="655" y="898"/>
                    </a:lnTo>
                    <a:lnTo>
                      <a:pt x="660" y="919"/>
                    </a:lnTo>
                    <a:lnTo>
                      <a:pt x="324" y="783"/>
                    </a:lnTo>
                    <a:lnTo>
                      <a:pt x="34" y="1039"/>
                    </a:lnTo>
                    <a:lnTo>
                      <a:pt x="26" y="1004"/>
                    </a:lnTo>
                    <a:lnTo>
                      <a:pt x="23" y="986"/>
                    </a:lnTo>
                    <a:lnTo>
                      <a:pt x="19" y="967"/>
                    </a:lnTo>
                    <a:lnTo>
                      <a:pt x="14" y="931"/>
                    </a:lnTo>
                    <a:lnTo>
                      <a:pt x="9" y="894"/>
                    </a:lnTo>
                    <a:lnTo>
                      <a:pt x="5" y="858"/>
                    </a:lnTo>
                    <a:lnTo>
                      <a:pt x="2" y="820"/>
                    </a:lnTo>
                    <a:lnTo>
                      <a:pt x="1" y="782"/>
                    </a:lnTo>
                    <a:lnTo>
                      <a:pt x="0" y="745"/>
                    </a:lnTo>
                    <a:lnTo>
                      <a:pt x="0" y="719"/>
                    </a:lnTo>
                    <a:lnTo>
                      <a:pt x="1" y="693"/>
                    </a:lnTo>
                    <a:lnTo>
                      <a:pt x="2" y="667"/>
                    </a:lnTo>
                    <a:lnTo>
                      <a:pt x="4" y="641"/>
                    </a:lnTo>
                    <a:lnTo>
                      <a:pt x="6" y="616"/>
                    </a:lnTo>
                    <a:lnTo>
                      <a:pt x="9" y="590"/>
                    </a:lnTo>
                    <a:lnTo>
                      <a:pt x="13" y="565"/>
                    </a:lnTo>
                    <a:lnTo>
                      <a:pt x="16" y="541"/>
                    </a:lnTo>
                    <a:lnTo>
                      <a:pt x="20" y="516"/>
                    </a:lnTo>
                    <a:lnTo>
                      <a:pt x="25" y="490"/>
                    </a:lnTo>
                    <a:lnTo>
                      <a:pt x="30" y="466"/>
                    </a:lnTo>
                    <a:lnTo>
                      <a:pt x="36" y="442"/>
                    </a:lnTo>
                    <a:lnTo>
                      <a:pt x="42" y="418"/>
                    </a:lnTo>
                    <a:lnTo>
                      <a:pt x="49" y="394"/>
                    </a:lnTo>
                    <a:lnTo>
                      <a:pt x="56" y="371"/>
                    </a:lnTo>
                    <a:lnTo>
                      <a:pt x="63" y="347"/>
                    </a:lnTo>
                    <a:lnTo>
                      <a:pt x="71" y="323"/>
                    </a:lnTo>
                    <a:lnTo>
                      <a:pt x="79" y="300"/>
                    </a:lnTo>
                    <a:lnTo>
                      <a:pt x="89" y="277"/>
                    </a:lnTo>
                    <a:lnTo>
                      <a:pt x="98" y="255"/>
                    </a:lnTo>
                    <a:lnTo>
                      <a:pt x="108" y="232"/>
                    </a:lnTo>
                    <a:lnTo>
                      <a:pt x="118" y="210"/>
                    </a:lnTo>
                    <a:lnTo>
                      <a:pt x="128" y="188"/>
                    </a:lnTo>
                    <a:lnTo>
                      <a:pt x="139" y="166"/>
                    </a:lnTo>
                    <a:lnTo>
                      <a:pt x="150" y="144"/>
                    </a:lnTo>
                    <a:lnTo>
                      <a:pt x="162" y="123"/>
                    </a:lnTo>
                    <a:lnTo>
                      <a:pt x="174" y="102"/>
                    </a:lnTo>
                    <a:lnTo>
                      <a:pt x="186" y="81"/>
                    </a:lnTo>
                    <a:lnTo>
                      <a:pt x="199" y="61"/>
                    </a:lnTo>
                    <a:lnTo>
                      <a:pt x="212" y="41"/>
                    </a:lnTo>
                    <a:lnTo>
                      <a:pt x="226" y="20"/>
                    </a:lnTo>
                    <a:lnTo>
                      <a:pt x="239" y="0"/>
                    </a:lnTo>
                    <a:lnTo>
                      <a:pt x="609" y="61"/>
                    </a:lnTo>
                    <a:lnTo>
                      <a:pt x="726" y="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1" name="Freeform 34"/>
              <p:cNvSpPr>
                <a:spLocks noChangeAspect="1"/>
              </p:cNvSpPr>
              <p:nvPr/>
            </p:nvSpPr>
            <p:spPr bwMode="auto">
              <a:xfrm>
                <a:off x="2123" y="1378"/>
                <a:ext cx="1148" cy="882"/>
              </a:xfrm>
              <a:custGeom>
                <a:avLst/>
                <a:gdLst>
                  <a:gd name="T0" fmla="*/ 502 w 1148"/>
                  <a:gd name="T1" fmla="*/ 868 h 882"/>
                  <a:gd name="T2" fmla="*/ 524 w 1148"/>
                  <a:gd name="T3" fmla="*/ 843 h 882"/>
                  <a:gd name="T4" fmla="*/ 547 w 1148"/>
                  <a:gd name="T5" fmla="*/ 819 h 882"/>
                  <a:gd name="T6" fmla="*/ 571 w 1148"/>
                  <a:gd name="T7" fmla="*/ 797 h 882"/>
                  <a:gd name="T8" fmla="*/ 598 w 1148"/>
                  <a:gd name="T9" fmla="*/ 775 h 882"/>
                  <a:gd name="T10" fmla="*/ 624 w 1148"/>
                  <a:gd name="T11" fmla="*/ 755 h 882"/>
                  <a:gd name="T12" fmla="*/ 651 w 1148"/>
                  <a:gd name="T13" fmla="*/ 737 h 882"/>
                  <a:gd name="T14" fmla="*/ 680 w 1148"/>
                  <a:gd name="T15" fmla="*/ 719 h 882"/>
                  <a:gd name="T16" fmla="*/ 709 w 1148"/>
                  <a:gd name="T17" fmla="*/ 703 h 882"/>
                  <a:gd name="T18" fmla="*/ 740 w 1148"/>
                  <a:gd name="T19" fmla="*/ 689 h 882"/>
                  <a:gd name="T20" fmla="*/ 772 w 1148"/>
                  <a:gd name="T21" fmla="*/ 676 h 882"/>
                  <a:gd name="T22" fmla="*/ 804 w 1148"/>
                  <a:gd name="T23" fmla="*/ 665 h 882"/>
                  <a:gd name="T24" fmla="*/ 836 w 1148"/>
                  <a:gd name="T25" fmla="*/ 656 h 882"/>
                  <a:gd name="T26" fmla="*/ 870 w 1148"/>
                  <a:gd name="T27" fmla="*/ 648 h 882"/>
                  <a:gd name="T28" fmla="*/ 904 w 1148"/>
                  <a:gd name="T29" fmla="*/ 642 h 882"/>
                  <a:gd name="T30" fmla="*/ 939 w 1148"/>
                  <a:gd name="T31" fmla="*/ 638 h 882"/>
                  <a:gd name="T32" fmla="*/ 1148 w 1148"/>
                  <a:gd name="T33" fmla="*/ 334 h 882"/>
                  <a:gd name="T34" fmla="*/ 918 w 1148"/>
                  <a:gd name="T35" fmla="*/ 1 h 882"/>
                  <a:gd name="T36" fmla="*/ 847 w 1148"/>
                  <a:gd name="T37" fmla="*/ 8 h 882"/>
                  <a:gd name="T38" fmla="*/ 777 w 1148"/>
                  <a:gd name="T39" fmla="*/ 18 h 882"/>
                  <a:gd name="T40" fmla="*/ 708 w 1148"/>
                  <a:gd name="T41" fmla="*/ 32 h 882"/>
                  <a:gd name="T42" fmla="*/ 675 w 1148"/>
                  <a:gd name="T43" fmla="*/ 40 h 882"/>
                  <a:gd name="T44" fmla="*/ 609 w 1148"/>
                  <a:gd name="T45" fmla="*/ 59 h 882"/>
                  <a:gd name="T46" fmla="*/ 543 w 1148"/>
                  <a:gd name="T47" fmla="*/ 83 h 882"/>
                  <a:gd name="T48" fmla="*/ 480 w 1148"/>
                  <a:gd name="T49" fmla="*/ 109 h 882"/>
                  <a:gd name="T50" fmla="*/ 417 w 1148"/>
                  <a:gd name="T51" fmla="*/ 138 h 882"/>
                  <a:gd name="T52" fmla="*/ 373 w 1148"/>
                  <a:gd name="T53" fmla="*/ 162 h 882"/>
                  <a:gd name="T54" fmla="*/ 343 w 1148"/>
                  <a:gd name="T55" fmla="*/ 178 h 882"/>
                  <a:gd name="T56" fmla="*/ 300 w 1148"/>
                  <a:gd name="T57" fmla="*/ 205 h 882"/>
                  <a:gd name="T58" fmla="*/ 271 w 1148"/>
                  <a:gd name="T59" fmla="*/ 224 h 882"/>
                  <a:gd name="T60" fmla="*/ 244 w 1148"/>
                  <a:gd name="T61" fmla="*/ 244 h 882"/>
                  <a:gd name="T62" fmla="*/ 204 w 1148"/>
                  <a:gd name="T63" fmla="*/ 275 h 882"/>
                  <a:gd name="T64" fmla="*/ 165 w 1148"/>
                  <a:gd name="T65" fmla="*/ 306 h 882"/>
                  <a:gd name="T66" fmla="*/ 114 w 1148"/>
                  <a:gd name="T67" fmla="*/ 351 h 882"/>
                  <a:gd name="T68" fmla="*/ 67 w 1148"/>
                  <a:gd name="T69" fmla="*/ 398 h 882"/>
                  <a:gd name="T70" fmla="*/ 22 w 1148"/>
                  <a:gd name="T71" fmla="*/ 449 h 882"/>
                  <a:gd name="T72" fmla="*/ 382 w 1148"/>
                  <a:gd name="T73" fmla="*/ 539 h 8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48"/>
                  <a:gd name="T112" fmla="*/ 0 h 882"/>
                  <a:gd name="T113" fmla="*/ 1148 w 1148"/>
                  <a:gd name="T114" fmla="*/ 882 h 88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48" h="882">
                    <a:moveTo>
                      <a:pt x="492" y="882"/>
                    </a:moveTo>
                    <a:lnTo>
                      <a:pt x="502" y="868"/>
                    </a:lnTo>
                    <a:lnTo>
                      <a:pt x="513" y="855"/>
                    </a:lnTo>
                    <a:lnTo>
                      <a:pt x="524" y="843"/>
                    </a:lnTo>
                    <a:lnTo>
                      <a:pt x="535" y="831"/>
                    </a:lnTo>
                    <a:lnTo>
                      <a:pt x="547" y="819"/>
                    </a:lnTo>
                    <a:lnTo>
                      <a:pt x="559" y="808"/>
                    </a:lnTo>
                    <a:lnTo>
                      <a:pt x="571" y="797"/>
                    </a:lnTo>
                    <a:lnTo>
                      <a:pt x="584" y="786"/>
                    </a:lnTo>
                    <a:lnTo>
                      <a:pt x="598" y="775"/>
                    </a:lnTo>
                    <a:lnTo>
                      <a:pt x="611" y="765"/>
                    </a:lnTo>
                    <a:lnTo>
                      <a:pt x="624" y="755"/>
                    </a:lnTo>
                    <a:lnTo>
                      <a:pt x="638" y="746"/>
                    </a:lnTo>
                    <a:lnTo>
                      <a:pt x="651" y="737"/>
                    </a:lnTo>
                    <a:lnTo>
                      <a:pt x="666" y="728"/>
                    </a:lnTo>
                    <a:lnTo>
                      <a:pt x="680" y="719"/>
                    </a:lnTo>
                    <a:lnTo>
                      <a:pt x="695" y="711"/>
                    </a:lnTo>
                    <a:lnTo>
                      <a:pt x="709" y="703"/>
                    </a:lnTo>
                    <a:lnTo>
                      <a:pt x="724" y="696"/>
                    </a:lnTo>
                    <a:lnTo>
                      <a:pt x="740" y="689"/>
                    </a:lnTo>
                    <a:lnTo>
                      <a:pt x="755" y="682"/>
                    </a:lnTo>
                    <a:lnTo>
                      <a:pt x="772" y="676"/>
                    </a:lnTo>
                    <a:lnTo>
                      <a:pt x="788" y="670"/>
                    </a:lnTo>
                    <a:lnTo>
                      <a:pt x="804" y="665"/>
                    </a:lnTo>
                    <a:lnTo>
                      <a:pt x="820" y="660"/>
                    </a:lnTo>
                    <a:lnTo>
                      <a:pt x="836" y="656"/>
                    </a:lnTo>
                    <a:lnTo>
                      <a:pt x="853" y="652"/>
                    </a:lnTo>
                    <a:lnTo>
                      <a:pt x="870" y="648"/>
                    </a:lnTo>
                    <a:lnTo>
                      <a:pt x="887" y="645"/>
                    </a:lnTo>
                    <a:lnTo>
                      <a:pt x="904" y="642"/>
                    </a:lnTo>
                    <a:lnTo>
                      <a:pt x="922" y="640"/>
                    </a:lnTo>
                    <a:lnTo>
                      <a:pt x="939" y="638"/>
                    </a:lnTo>
                    <a:lnTo>
                      <a:pt x="957" y="637"/>
                    </a:lnTo>
                    <a:lnTo>
                      <a:pt x="1148" y="334"/>
                    </a:lnTo>
                    <a:lnTo>
                      <a:pt x="954" y="0"/>
                    </a:lnTo>
                    <a:lnTo>
                      <a:pt x="918" y="1"/>
                    </a:lnTo>
                    <a:lnTo>
                      <a:pt x="882" y="4"/>
                    </a:lnTo>
                    <a:lnTo>
                      <a:pt x="847" y="8"/>
                    </a:lnTo>
                    <a:lnTo>
                      <a:pt x="812" y="12"/>
                    </a:lnTo>
                    <a:lnTo>
                      <a:pt x="777" y="18"/>
                    </a:lnTo>
                    <a:lnTo>
                      <a:pt x="742" y="24"/>
                    </a:lnTo>
                    <a:lnTo>
                      <a:pt x="708" y="32"/>
                    </a:lnTo>
                    <a:lnTo>
                      <a:pt x="691" y="36"/>
                    </a:lnTo>
                    <a:lnTo>
                      <a:pt x="675" y="40"/>
                    </a:lnTo>
                    <a:lnTo>
                      <a:pt x="641" y="49"/>
                    </a:lnTo>
                    <a:lnTo>
                      <a:pt x="609" y="59"/>
                    </a:lnTo>
                    <a:lnTo>
                      <a:pt x="575" y="70"/>
                    </a:lnTo>
                    <a:lnTo>
                      <a:pt x="543" y="83"/>
                    </a:lnTo>
                    <a:lnTo>
                      <a:pt x="511" y="95"/>
                    </a:lnTo>
                    <a:lnTo>
                      <a:pt x="480" y="109"/>
                    </a:lnTo>
                    <a:lnTo>
                      <a:pt x="449" y="123"/>
                    </a:lnTo>
                    <a:lnTo>
                      <a:pt x="417" y="138"/>
                    </a:lnTo>
                    <a:lnTo>
                      <a:pt x="387" y="153"/>
                    </a:lnTo>
                    <a:lnTo>
                      <a:pt x="373" y="162"/>
                    </a:lnTo>
                    <a:lnTo>
                      <a:pt x="358" y="170"/>
                    </a:lnTo>
                    <a:lnTo>
                      <a:pt x="343" y="178"/>
                    </a:lnTo>
                    <a:lnTo>
                      <a:pt x="329" y="187"/>
                    </a:lnTo>
                    <a:lnTo>
                      <a:pt x="300" y="205"/>
                    </a:lnTo>
                    <a:lnTo>
                      <a:pt x="286" y="214"/>
                    </a:lnTo>
                    <a:lnTo>
                      <a:pt x="271" y="224"/>
                    </a:lnTo>
                    <a:lnTo>
                      <a:pt x="258" y="233"/>
                    </a:lnTo>
                    <a:lnTo>
                      <a:pt x="244" y="244"/>
                    </a:lnTo>
                    <a:lnTo>
                      <a:pt x="217" y="264"/>
                    </a:lnTo>
                    <a:lnTo>
                      <a:pt x="204" y="275"/>
                    </a:lnTo>
                    <a:lnTo>
                      <a:pt x="191" y="285"/>
                    </a:lnTo>
                    <a:lnTo>
                      <a:pt x="165" y="306"/>
                    </a:lnTo>
                    <a:lnTo>
                      <a:pt x="140" y="328"/>
                    </a:lnTo>
                    <a:lnTo>
                      <a:pt x="114" y="351"/>
                    </a:lnTo>
                    <a:lnTo>
                      <a:pt x="90" y="374"/>
                    </a:lnTo>
                    <a:lnTo>
                      <a:pt x="67" y="398"/>
                    </a:lnTo>
                    <a:lnTo>
                      <a:pt x="44" y="424"/>
                    </a:lnTo>
                    <a:lnTo>
                      <a:pt x="22" y="449"/>
                    </a:lnTo>
                    <a:lnTo>
                      <a:pt x="0" y="475"/>
                    </a:lnTo>
                    <a:lnTo>
                      <a:pt x="382" y="539"/>
                    </a:lnTo>
                    <a:lnTo>
                      <a:pt x="492" y="882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6" name="Oval 95"/>
            <p:cNvSpPr/>
            <p:nvPr/>
          </p:nvSpPr>
          <p:spPr>
            <a:xfrm>
              <a:off x="5494942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7248353" y="3683918"/>
            <a:ext cx="2015999" cy="2016000"/>
            <a:chOff x="7248353" y="3683918"/>
            <a:chExt cx="2015999" cy="2016000"/>
          </a:xfrm>
        </p:grpSpPr>
        <p:grpSp>
          <p:nvGrpSpPr>
            <p:cNvPr id="82" name="Group 35"/>
            <p:cNvGrpSpPr>
              <a:grpSpLocks/>
            </p:cNvGrpSpPr>
            <p:nvPr/>
          </p:nvGrpSpPr>
          <p:grpSpPr bwMode="auto">
            <a:xfrm>
              <a:off x="7248353" y="3683918"/>
              <a:ext cx="2015999" cy="2016000"/>
              <a:chOff x="1840" y="1318"/>
              <a:chExt cx="2561" cy="2560"/>
            </a:xfrm>
            <a:solidFill>
              <a:srgbClr val="2F52A0"/>
            </a:solidFill>
          </p:grpSpPr>
          <p:sp>
            <p:nvSpPr>
              <p:cNvPr id="83" name="Freeform 36"/>
              <p:cNvSpPr>
                <a:spLocks noChangeAspect="1"/>
              </p:cNvSpPr>
              <p:nvPr/>
            </p:nvSpPr>
            <p:spPr bwMode="auto">
              <a:xfrm>
                <a:off x="2184" y="1320"/>
                <a:ext cx="1087" cy="857"/>
              </a:xfrm>
              <a:custGeom>
                <a:avLst/>
                <a:gdLst>
                  <a:gd name="T0" fmla="*/ 459 w 1087"/>
                  <a:gd name="T1" fmla="*/ 845 h 857"/>
                  <a:gd name="T2" fmla="*/ 492 w 1087"/>
                  <a:gd name="T3" fmla="*/ 812 h 857"/>
                  <a:gd name="T4" fmla="*/ 515 w 1087"/>
                  <a:gd name="T5" fmla="*/ 791 h 857"/>
                  <a:gd name="T6" fmla="*/ 552 w 1087"/>
                  <a:gd name="T7" fmla="*/ 761 h 857"/>
                  <a:gd name="T8" fmla="*/ 578 w 1087"/>
                  <a:gd name="T9" fmla="*/ 743 h 857"/>
                  <a:gd name="T10" fmla="*/ 605 w 1087"/>
                  <a:gd name="T11" fmla="*/ 726 h 857"/>
                  <a:gd name="T12" fmla="*/ 646 w 1087"/>
                  <a:gd name="T13" fmla="*/ 702 h 857"/>
                  <a:gd name="T14" fmla="*/ 689 w 1087"/>
                  <a:gd name="T15" fmla="*/ 682 h 857"/>
                  <a:gd name="T16" fmla="*/ 720 w 1087"/>
                  <a:gd name="T17" fmla="*/ 671 h 857"/>
                  <a:gd name="T18" fmla="*/ 750 w 1087"/>
                  <a:gd name="T19" fmla="*/ 661 h 857"/>
                  <a:gd name="T20" fmla="*/ 781 w 1087"/>
                  <a:gd name="T21" fmla="*/ 652 h 857"/>
                  <a:gd name="T22" fmla="*/ 813 w 1087"/>
                  <a:gd name="T23" fmla="*/ 645 h 857"/>
                  <a:gd name="T24" fmla="*/ 845 w 1087"/>
                  <a:gd name="T25" fmla="*/ 640 h 857"/>
                  <a:gd name="T26" fmla="*/ 896 w 1087"/>
                  <a:gd name="T27" fmla="*/ 635 h 857"/>
                  <a:gd name="T28" fmla="*/ 898 w 1087"/>
                  <a:gd name="T29" fmla="*/ 0 h 857"/>
                  <a:gd name="T30" fmla="*/ 865 w 1087"/>
                  <a:gd name="T31" fmla="*/ 1 h 857"/>
                  <a:gd name="T32" fmla="*/ 799 w 1087"/>
                  <a:gd name="T33" fmla="*/ 6 h 857"/>
                  <a:gd name="T34" fmla="*/ 735 w 1087"/>
                  <a:gd name="T35" fmla="*/ 15 h 857"/>
                  <a:gd name="T36" fmla="*/ 671 w 1087"/>
                  <a:gd name="T37" fmla="*/ 26 h 857"/>
                  <a:gd name="T38" fmla="*/ 609 w 1087"/>
                  <a:gd name="T39" fmla="*/ 41 h 857"/>
                  <a:gd name="T40" fmla="*/ 548 w 1087"/>
                  <a:gd name="T41" fmla="*/ 59 h 857"/>
                  <a:gd name="T42" fmla="*/ 487 w 1087"/>
                  <a:gd name="T43" fmla="*/ 80 h 857"/>
                  <a:gd name="T44" fmla="*/ 429 w 1087"/>
                  <a:gd name="T45" fmla="*/ 103 h 857"/>
                  <a:gd name="T46" fmla="*/ 372 w 1087"/>
                  <a:gd name="T47" fmla="*/ 129 h 857"/>
                  <a:gd name="T48" fmla="*/ 317 w 1087"/>
                  <a:gd name="T49" fmla="*/ 158 h 857"/>
                  <a:gd name="T50" fmla="*/ 263 w 1087"/>
                  <a:gd name="T51" fmla="*/ 189 h 857"/>
                  <a:gd name="T52" fmla="*/ 224 w 1087"/>
                  <a:gd name="T53" fmla="*/ 214 h 857"/>
                  <a:gd name="T54" fmla="*/ 185 w 1087"/>
                  <a:gd name="T55" fmla="*/ 241 h 857"/>
                  <a:gd name="T56" fmla="*/ 136 w 1087"/>
                  <a:gd name="T57" fmla="*/ 279 h 857"/>
                  <a:gd name="T58" fmla="*/ 89 w 1087"/>
                  <a:gd name="T59" fmla="*/ 318 h 857"/>
                  <a:gd name="T60" fmla="*/ 43 w 1087"/>
                  <a:gd name="T61" fmla="*/ 360 h 857"/>
                  <a:gd name="T62" fmla="*/ 0 w 1087"/>
                  <a:gd name="T63" fmla="*/ 405 h 857"/>
                  <a:gd name="T64" fmla="*/ 449 w 1087"/>
                  <a:gd name="T65" fmla="*/ 857 h 8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87"/>
                  <a:gd name="T100" fmla="*/ 0 h 857"/>
                  <a:gd name="T101" fmla="*/ 1087 w 1087"/>
                  <a:gd name="T102" fmla="*/ 857 h 8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87" h="857">
                    <a:moveTo>
                      <a:pt x="449" y="857"/>
                    </a:moveTo>
                    <a:lnTo>
                      <a:pt x="459" y="845"/>
                    </a:lnTo>
                    <a:lnTo>
                      <a:pt x="470" y="834"/>
                    </a:lnTo>
                    <a:lnTo>
                      <a:pt x="492" y="812"/>
                    </a:lnTo>
                    <a:lnTo>
                      <a:pt x="503" y="801"/>
                    </a:lnTo>
                    <a:lnTo>
                      <a:pt x="515" y="791"/>
                    </a:lnTo>
                    <a:lnTo>
                      <a:pt x="540" y="771"/>
                    </a:lnTo>
                    <a:lnTo>
                      <a:pt x="552" y="761"/>
                    </a:lnTo>
                    <a:lnTo>
                      <a:pt x="565" y="752"/>
                    </a:lnTo>
                    <a:lnTo>
                      <a:pt x="578" y="743"/>
                    </a:lnTo>
                    <a:lnTo>
                      <a:pt x="591" y="735"/>
                    </a:lnTo>
                    <a:lnTo>
                      <a:pt x="605" y="726"/>
                    </a:lnTo>
                    <a:lnTo>
                      <a:pt x="618" y="717"/>
                    </a:lnTo>
                    <a:lnTo>
                      <a:pt x="646" y="702"/>
                    </a:lnTo>
                    <a:lnTo>
                      <a:pt x="675" y="689"/>
                    </a:lnTo>
                    <a:lnTo>
                      <a:pt x="689" y="682"/>
                    </a:lnTo>
                    <a:lnTo>
                      <a:pt x="705" y="677"/>
                    </a:lnTo>
                    <a:lnTo>
                      <a:pt x="720" y="671"/>
                    </a:lnTo>
                    <a:lnTo>
                      <a:pt x="735" y="666"/>
                    </a:lnTo>
                    <a:lnTo>
                      <a:pt x="750" y="661"/>
                    </a:lnTo>
                    <a:lnTo>
                      <a:pt x="766" y="656"/>
                    </a:lnTo>
                    <a:lnTo>
                      <a:pt x="781" y="652"/>
                    </a:lnTo>
                    <a:lnTo>
                      <a:pt x="797" y="649"/>
                    </a:lnTo>
                    <a:lnTo>
                      <a:pt x="813" y="645"/>
                    </a:lnTo>
                    <a:lnTo>
                      <a:pt x="829" y="642"/>
                    </a:lnTo>
                    <a:lnTo>
                      <a:pt x="845" y="640"/>
                    </a:lnTo>
                    <a:lnTo>
                      <a:pt x="863" y="638"/>
                    </a:lnTo>
                    <a:lnTo>
                      <a:pt x="896" y="635"/>
                    </a:lnTo>
                    <a:lnTo>
                      <a:pt x="1087" y="332"/>
                    </a:lnTo>
                    <a:lnTo>
                      <a:pt x="898" y="0"/>
                    </a:lnTo>
                    <a:lnTo>
                      <a:pt x="881" y="0"/>
                    </a:lnTo>
                    <a:lnTo>
                      <a:pt x="865" y="1"/>
                    </a:lnTo>
                    <a:lnTo>
                      <a:pt x="831" y="3"/>
                    </a:lnTo>
                    <a:lnTo>
                      <a:pt x="799" y="6"/>
                    </a:lnTo>
                    <a:lnTo>
                      <a:pt x="767" y="10"/>
                    </a:lnTo>
                    <a:lnTo>
                      <a:pt x="735" y="15"/>
                    </a:lnTo>
                    <a:lnTo>
                      <a:pt x="703" y="20"/>
                    </a:lnTo>
                    <a:lnTo>
                      <a:pt x="671" y="26"/>
                    </a:lnTo>
                    <a:lnTo>
                      <a:pt x="640" y="33"/>
                    </a:lnTo>
                    <a:lnTo>
                      <a:pt x="609" y="41"/>
                    </a:lnTo>
                    <a:lnTo>
                      <a:pt x="578" y="50"/>
                    </a:lnTo>
                    <a:lnTo>
                      <a:pt x="548" y="59"/>
                    </a:lnTo>
                    <a:lnTo>
                      <a:pt x="517" y="69"/>
                    </a:lnTo>
                    <a:lnTo>
                      <a:pt x="487" y="80"/>
                    </a:lnTo>
                    <a:lnTo>
                      <a:pt x="458" y="91"/>
                    </a:lnTo>
                    <a:lnTo>
                      <a:pt x="429" y="103"/>
                    </a:lnTo>
                    <a:lnTo>
                      <a:pt x="401" y="116"/>
                    </a:lnTo>
                    <a:lnTo>
                      <a:pt x="372" y="129"/>
                    </a:lnTo>
                    <a:lnTo>
                      <a:pt x="344" y="143"/>
                    </a:lnTo>
                    <a:lnTo>
                      <a:pt x="317" y="158"/>
                    </a:lnTo>
                    <a:lnTo>
                      <a:pt x="290" y="173"/>
                    </a:lnTo>
                    <a:lnTo>
                      <a:pt x="263" y="189"/>
                    </a:lnTo>
                    <a:lnTo>
                      <a:pt x="237" y="206"/>
                    </a:lnTo>
                    <a:lnTo>
                      <a:pt x="224" y="214"/>
                    </a:lnTo>
                    <a:lnTo>
                      <a:pt x="210" y="223"/>
                    </a:lnTo>
                    <a:lnTo>
                      <a:pt x="185" y="241"/>
                    </a:lnTo>
                    <a:lnTo>
                      <a:pt x="160" y="260"/>
                    </a:lnTo>
                    <a:lnTo>
                      <a:pt x="136" y="279"/>
                    </a:lnTo>
                    <a:lnTo>
                      <a:pt x="112" y="298"/>
                    </a:lnTo>
                    <a:lnTo>
                      <a:pt x="89" y="318"/>
                    </a:lnTo>
                    <a:lnTo>
                      <a:pt x="66" y="339"/>
                    </a:lnTo>
                    <a:lnTo>
                      <a:pt x="43" y="360"/>
                    </a:lnTo>
                    <a:lnTo>
                      <a:pt x="21" y="382"/>
                    </a:lnTo>
                    <a:lnTo>
                      <a:pt x="0" y="405"/>
                    </a:lnTo>
                    <a:lnTo>
                      <a:pt x="374" y="501"/>
                    </a:lnTo>
                    <a:lnTo>
                      <a:pt x="449" y="8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4" name="Freeform 37"/>
              <p:cNvSpPr>
                <a:spLocks noChangeAspect="1"/>
              </p:cNvSpPr>
              <p:nvPr/>
            </p:nvSpPr>
            <p:spPr bwMode="auto">
              <a:xfrm>
                <a:off x="3142" y="1318"/>
                <a:ext cx="852" cy="795"/>
              </a:xfrm>
              <a:custGeom>
                <a:avLst/>
                <a:gdLst>
                  <a:gd name="T0" fmla="*/ 1 w 852"/>
                  <a:gd name="T1" fmla="*/ 0 h 795"/>
                  <a:gd name="T2" fmla="*/ 197 w 852"/>
                  <a:gd name="T3" fmla="*/ 347 h 795"/>
                  <a:gd name="T4" fmla="*/ 0 w 852"/>
                  <a:gd name="T5" fmla="*/ 636 h 795"/>
                  <a:gd name="T6" fmla="*/ 14 w 852"/>
                  <a:gd name="T7" fmla="*/ 637 h 795"/>
                  <a:gd name="T8" fmla="*/ 28 w 852"/>
                  <a:gd name="T9" fmla="*/ 638 h 795"/>
                  <a:gd name="T10" fmla="*/ 42 w 852"/>
                  <a:gd name="T11" fmla="*/ 639 h 795"/>
                  <a:gd name="T12" fmla="*/ 56 w 852"/>
                  <a:gd name="T13" fmla="*/ 641 h 795"/>
                  <a:gd name="T14" fmla="*/ 85 w 852"/>
                  <a:gd name="T15" fmla="*/ 645 h 795"/>
                  <a:gd name="T16" fmla="*/ 112 w 852"/>
                  <a:gd name="T17" fmla="*/ 650 h 795"/>
                  <a:gd name="T18" fmla="*/ 139 w 852"/>
                  <a:gd name="T19" fmla="*/ 656 h 795"/>
                  <a:gd name="T20" fmla="*/ 152 w 852"/>
                  <a:gd name="T21" fmla="*/ 660 h 795"/>
                  <a:gd name="T22" fmla="*/ 166 w 852"/>
                  <a:gd name="T23" fmla="*/ 664 h 795"/>
                  <a:gd name="T24" fmla="*/ 192 w 852"/>
                  <a:gd name="T25" fmla="*/ 672 h 795"/>
                  <a:gd name="T26" fmla="*/ 217 w 852"/>
                  <a:gd name="T27" fmla="*/ 682 h 795"/>
                  <a:gd name="T28" fmla="*/ 244 w 852"/>
                  <a:gd name="T29" fmla="*/ 693 h 795"/>
                  <a:gd name="T30" fmla="*/ 268 w 852"/>
                  <a:gd name="T31" fmla="*/ 704 h 795"/>
                  <a:gd name="T32" fmla="*/ 292 w 852"/>
                  <a:gd name="T33" fmla="*/ 717 h 795"/>
                  <a:gd name="T34" fmla="*/ 304 w 852"/>
                  <a:gd name="T35" fmla="*/ 724 h 795"/>
                  <a:gd name="T36" fmla="*/ 315 w 852"/>
                  <a:gd name="T37" fmla="*/ 731 h 795"/>
                  <a:gd name="T38" fmla="*/ 338 w 852"/>
                  <a:gd name="T39" fmla="*/ 746 h 795"/>
                  <a:gd name="T40" fmla="*/ 349 w 852"/>
                  <a:gd name="T41" fmla="*/ 753 h 795"/>
                  <a:gd name="T42" fmla="*/ 360 w 852"/>
                  <a:gd name="T43" fmla="*/ 761 h 795"/>
                  <a:gd name="T44" fmla="*/ 382 w 852"/>
                  <a:gd name="T45" fmla="*/ 777 h 795"/>
                  <a:gd name="T46" fmla="*/ 403 w 852"/>
                  <a:gd name="T47" fmla="*/ 795 h 795"/>
                  <a:gd name="T48" fmla="*/ 754 w 852"/>
                  <a:gd name="T49" fmla="*/ 716 h 795"/>
                  <a:gd name="T50" fmla="*/ 852 w 852"/>
                  <a:gd name="T51" fmla="*/ 343 h 795"/>
                  <a:gd name="T52" fmla="*/ 831 w 852"/>
                  <a:gd name="T53" fmla="*/ 324 h 795"/>
                  <a:gd name="T54" fmla="*/ 810 w 852"/>
                  <a:gd name="T55" fmla="*/ 306 h 795"/>
                  <a:gd name="T56" fmla="*/ 788 w 852"/>
                  <a:gd name="T57" fmla="*/ 287 h 795"/>
                  <a:gd name="T58" fmla="*/ 766 w 852"/>
                  <a:gd name="T59" fmla="*/ 270 h 795"/>
                  <a:gd name="T60" fmla="*/ 743 w 852"/>
                  <a:gd name="T61" fmla="*/ 252 h 795"/>
                  <a:gd name="T62" fmla="*/ 720 w 852"/>
                  <a:gd name="T63" fmla="*/ 235 h 795"/>
                  <a:gd name="T64" fmla="*/ 695 w 852"/>
                  <a:gd name="T65" fmla="*/ 218 h 795"/>
                  <a:gd name="T66" fmla="*/ 671 w 852"/>
                  <a:gd name="T67" fmla="*/ 203 h 795"/>
                  <a:gd name="T68" fmla="*/ 647 w 852"/>
                  <a:gd name="T69" fmla="*/ 187 h 795"/>
                  <a:gd name="T70" fmla="*/ 622 w 852"/>
                  <a:gd name="T71" fmla="*/ 173 h 795"/>
                  <a:gd name="T72" fmla="*/ 597 w 852"/>
                  <a:gd name="T73" fmla="*/ 159 h 795"/>
                  <a:gd name="T74" fmla="*/ 585 w 852"/>
                  <a:gd name="T75" fmla="*/ 152 h 795"/>
                  <a:gd name="T76" fmla="*/ 572 w 852"/>
                  <a:gd name="T77" fmla="*/ 145 h 795"/>
                  <a:gd name="T78" fmla="*/ 546 w 852"/>
                  <a:gd name="T79" fmla="*/ 132 h 795"/>
                  <a:gd name="T80" fmla="*/ 519 w 852"/>
                  <a:gd name="T81" fmla="*/ 120 h 795"/>
                  <a:gd name="T82" fmla="*/ 493 w 852"/>
                  <a:gd name="T83" fmla="*/ 108 h 795"/>
                  <a:gd name="T84" fmla="*/ 466 w 852"/>
                  <a:gd name="T85" fmla="*/ 96 h 795"/>
                  <a:gd name="T86" fmla="*/ 439 w 852"/>
                  <a:gd name="T87" fmla="*/ 86 h 795"/>
                  <a:gd name="T88" fmla="*/ 412 w 852"/>
                  <a:gd name="T89" fmla="*/ 75 h 795"/>
                  <a:gd name="T90" fmla="*/ 384 w 852"/>
                  <a:gd name="T91" fmla="*/ 65 h 795"/>
                  <a:gd name="T92" fmla="*/ 355 w 852"/>
                  <a:gd name="T93" fmla="*/ 56 h 795"/>
                  <a:gd name="T94" fmla="*/ 327 w 852"/>
                  <a:gd name="T95" fmla="*/ 48 h 795"/>
                  <a:gd name="T96" fmla="*/ 299 w 852"/>
                  <a:gd name="T97" fmla="*/ 40 h 795"/>
                  <a:gd name="T98" fmla="*/ 270 w 852"/>
                  <a:gd name="T99" fmla="*/ 33 h 795"/>
                  <a:gd name="T100" fmla="*/ 241 w 852"/>
                  <a:gd name="T101" fmla="*/ 27 h 795"/>
                  <a:gd name="T102" fmla="*/ 211 w 852"/>
                  <a:gd name="T103" fmla="*/ 21 h 795"/>
                  <a:gd name="T104" fmla="*/ 182 w 852"/>
                  <a:gd name="T105" fmla="*/ 16 h 795"/>
                  <a:gd name="T106" fmla="*/ 152 w 852"/>
                  <a:gd name="T107" fmla="*/ 12 h 795"/>
                  <a:gd name="T108" fmla="*/ 122 w 852"/>
                  <a:gd name="T109" fmla="*/ 8 h 795"/>
                  <a:gd name="T110" fmla="*/ 92 w 852"/>
                  <a:gd name="T111" fmla="*/ 5 h 795"/>
                  <a:gd name="T112" fmla="*/ 62 w 852"/>
                  <a:gd name="T113" fmla="*/ 3 h 795"/>
                  <a:gd name="T114" fmla="*/ 31 w 852"/>
                  <a:gd name="T115" fmla="*/ 1 h 795"/>
                  <a:gd name="T116" fmla="*/ 1 w 852"/>
                  <a:gd name="T117" fmla="*/ 0 h 79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52"/>
                  <a:gd name="T178" fmla="*/ 0 h 795"/>
                  <a:gd name="T179" fmla="*/ 852 w 852"/>
                  <a:gd name="T180" fmla="*/ 795 h 79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52" h="795">
                    <a:moveTo>
                      <a:pt x="1" y="0"/>
                    </a:moveTo>
                    <a:lnTo>
                      <a:pt x="197" y="347"/>
                    </a:lnTo>
                    <a:lnTo>
                      <a:pt x="0" y="636"/>
                    </a:lnTo>
                    <a:lnTo>
                      <a:pt x="14" y="637"/>
                    </a:lnTo>
                    <a:lnTo>
                      <a:pt x="28" y="638"/>
                    </a:lnTo>
                    <a:lnTo>
                      <a:pt x="42" y="639"/>
                    </a:lnTo>
                    <a:lnTo>
                      <a:pt x="56" y="641"/>
                    </a:lnTo>
                    <a:lnTo>
                      <a:pt x="85" y="645"/>
                    </a:lnTo>
                    <a:lnTo>
                      <a:pt x="112" y="650"/>
                    </a:lnTo>
                    <a:lnTo>
                      <a:pt x="139" y="656"/>
                    </a:lnTo>
                    <a:lnTo>
                      <a:pt x="152" y="660"/>
                    </a:lnTo>
                    <a:lnTo>
                      <a:pt x="166" y="664"/>
                    </a:lnTo>
                    <a:lnTo>
                      <a:pt x="192" y="672"/>
                    </a:lnTo>
                    <a:lnTo>
                      <a:pt x="217" y="682"/>
                    </a:lnTo>
                    <a:lnTo>
                      <a:pt x="244" y="693"/>
                    </a:lnTo>
                    <a:lnTo>
                      <a:pt x="268" y="704"/>
                    </a:lnTo>
                    <a:lnTo>
                      <a:pt x="292" y="717"/>
                    </a:lnTo>
                    <a:lnTo>
                      <a:pt x="304" y="724"/>
                    </a:lnTo>
                    <a:lnTo>
                      <a:pt x="315" y="731"/>
                    </a:lnTo>
                    <a:lnTo>
                      <a:pt x="338" y="746"/>
                    </a:lnTo>
                    <a:lnTo>
                      <a:pt x="349" y="753"/>
                    </a:lnTo>
                    <a:lnTo>
                      <a:pt x="360" y="761"/>
                    </a:lnTo>
                    <a:lnTo>
                      <a:pt x="382" y="777"/>
                    </a:lnTo>
                    <a:lnTo>
                      <a:pt x="403" y="795"/>
                    </a:lnTo>
                    <a:lnTo>
                      <a:pt x="754" y="716"/>
                    </a:lnTo>
                    <a:lnTo>
                      <a:pt x="852" y="343"/>
                    </a:lnTo>
                    <a:lnTo>
                      <a:pt x="831" y="324"/>
                    </a:lnTo>
                    <a:lnTo>
                      <a:pt x="810" y="306"/>
                    </a:lnTo>
                    <a:lnTo>
                      <a:pt x="788" y="287"/>
                    </a:lnTo>
                    <a:lnTo>
                      <a:pt x="766" y="270"/>
                    </a:lnTo>
                    <a:lnTo>
                      <a:pt x="743" y="252"/>
                    </a:lnTo>
                    <a:lnTo>
                      <a:pt x="720" y="235"/>
                    </a:lnTo>
                    <a:lnTo>
                      <a:pt x="695" y="218"/>
                    </a:lnTo>
                    <a:lnTo>
                      <a:pt x="671" y="203"/>
                    </a:lnTo>
                    <a:lnTo>
                      <a:pt x="647" y="187"/>
                    </a:lnTo>
                    <a:lnTo>
                      <a:pt x="622" y="173"/>
                    </a:lnTo>
                    <a:lnTo>
                      <a:pt x="597" y="159"/>
                    </a:lnTo>
                    <a:lnTo>
                      <a:pt x="585" y="152"/>
                    </a:lnTo>
                    <a:lnTo>
                      <a:pt x="572" y="145"/>
                    </a:lnTo>
                    <a:lnTo>
                      <a:pt x="546" y="132"/>
                    </a:lnTo>
                    <a:lnTo>
                      <a:pt x="519" y="120"/>
                    </a:lnTo>
                    <a:lnTo>
                      <a:pt x="493" y="108"/>
                    </a:lnTo>
                    <a:lnTo>
                      <a:pt x="466" y="96"/>
                    </a:lnTo>
                    <a:lnTo>
                      <a:pt x="439" y="86"/>
                    </a:lnTo>
                    <a:lnTo>
                      <a:pt x="412" y="75"/>
                    </a:lnTo>
                    <a:lnTo>
                      <a:pt x="384" y="65"/>
                    </a:lnTo>
                    <a:lnTo>
                      <a:pt x="355" y="56"/>
                    </a:lnTo>
                    <a:lnTo>
                      <a:pt x="327" y="48"/>
                    </a:lnTo>
                    <a:lnTo>
                      <a:pt x="299" y="40"/>
                    </a:lnTo>
                    <a:lnTo>
                      <a:pt x="270" y="33"/>
                    </a:lnTo>
                    <a:lnTo>
                      <a:pt x="241" y="27"/>
                    </a:lnTo>
                    <a:lnTo>
                      <a:pt x="211" y="21"/>
                    </a:lnTo>
                    <a:lnTo>
                      <a:pt x="182" y="16"/>
                    </a:lnTo>
                    <a:lnTo>
                      <a:pt x="152" y="12"/>
                    </a:lnTo>
                    <a:lnTo>
                      <a:pt x="122" y="8"/>
                    </a:lnTo>
                    <a:lnTo>
                      <a:pt x="92" y="5"/>
                    </a:lnTo>
                    <a:lnTo>
                      <a:pt x="62" y="3"/>
                    </a:lnTo>
                    <a:lnTo>
                      <a:pt x="31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5" name="Freeform 38"/>
              <p:cNvSpPr>
                <a:spLocks noChangeAspect="1"/>
              </p:cNvSpPr>
              <p:nvPr/>
            </p:nvSpPr>
            <p:spPr bwMode="auto">
              <a:xfrm>
                <a:off x="3590" y="1706"/>
                <a:ext cx="811" cy="1062"/>
              </a:xfrm>
              <a:custGeom>
                <a:avLst/>
                <a:gdLst>
                  <a:gd name="T0" fmla="*/ 811 w 811"/>
                  <a:gd name="T1" fmla="*/ 873 h 1062"/>
                  <a:gd name="T2" fmla="*/ 474 w 811"/>
                  <a:gd name="T3" fmla="*/ 1062 h 1062"/>
                  <a:gd name="T4" fmla="*/ 174 w 811"/>
                  <a:gd name="T5" fmla="*/ 863 h 1062"/>
                  <a:gd name="T6" fmla="*/ 173 w 811"/>
                  <a:gd name="T7" fmla="*/ 848 h 1062"/>
                  <a:gd name="T8" fmla="*/ 172 w 811"/>
                  <a:gd name="T9" fmla="*/ 833 h 1062"/>
                  <a:gd name="T10" fmla="*/ 171 w 811"/>
                  <a:gd name="T11" fmla="*/ 819 h 1062"/>
                  <a:gd name="T12" fmla="*/ 169 w 811"/>
                  <a:gd name="T13" fmla="*/ 803 h 1062"/>
                  <a:gd name="T14" fmla="*/ 167 w 811"/>
                  <a:gd name="T15" fmla="*/ 789 h 1062"/>
                  <a:gd name="T16" fmla="*/ 164 w 811"/>
                  <a:gd name="T17" fmla="*/ 774 h 1062"/>
                  <a:gd name="T18" fmla="*/ 159 w 811"/>
                  <a:gd name="T19" fmla="*/ 746 h 1062"/>
                  <a:gd name="T20" fmla="*/ 152 w 811"/>
                  <a:gd name="T21" fmla="*/ 718 h 1062"/>
                  <a:gd name="T22" fmla="*/ 148 w 811"/>
                  <a:gd name="T23" fmla="*/ 704 h 1062"/>
                  <a:gd name="T24" fmla="*/ 143 w 811"/>
                  <a:gd name="T25" fmla="*/ 691 h 1062"/>
                  <a:gd name="T26" fmla="*/ 134 w 811"/>
                  <a:gd name="T27" fmla="*/ 664 h 1062"/>
                  <a:gd name="T28" fmla="*/ 124 w 811"/>
                  <a:gd name="T29" fmla="*/ 637 h 1062"/>
                  <a:gd name="T30" fmla="*/ 112 w 811"/>
                  <a:gd name="T31" fmla="*/ 611 h 1062"/>
                  <a:gd name="T32" fmla="*/ 106 w 811"/>
                  <a:gd name="T33" fmla="*/ 599 h 1062"/>
                  <a:gd name="T34" fmla="*/ 99 w 811"/>
                  <a:gd name="T35" fmla="*/ 586 h 1062"/>
                  <a:gd name="T36" fmla="*/ 85 w 811"/>
                  <a:gd name="T37" fmla="*/ 562 h 1062"/>
                  <a:gd name="T38" fmla="*/ 70 w 811"/>
                  <a:gd name="T39" fmla="*/ 538 h 1062"/>
                  <a:gd name="T40" fmla="*/ 54 w 811"/>
                  <a:gd name="T41" fmla="*/ 516 h 1062"/>
                  <a:gd name="T42" fmla="*/ 37 w 811"/>
                  <a:gd name="T43" fmla="*/ 493 h 1062"/>
                  <a:gd name="T44" fmla="*/ 19 w 811"/>
                  <a:gd name="T45" fmla="*/ 471 h 1062"/>
                  <a:gd name="T46" fmla="*/ 10 w 811"/>
                  <a:gd name="T47" fmla="*/ 460 h 1062"/>
                  <a:gd name="T48" fmla="*/ 0 w 811"/>
                  <a:gd name="T49" fmla="*/ 450 h 1062"/>
                  <a:gd name="T50" fmla="*/ 344 w 811"/>
                  <a:gd name="T51" fmla="*/ 386 h 1062"/>
                  <a:gd name="T52" fmla="*/ 451 w 811"/>
                  <a:gd name="T53" fmla="*/ 0 h 1062"/>
                  <a:gd name="T54" fmla="*/ 471 w 811"/>
                  <a:gd name="T55" fmla="*/ 22 h 1062"/>
                  <a:gd name="T56" fmla="*/ 490 w 811"/>
                  <a:gd name="T57" fmla="*/ 44 h 1062"/>
                  <a:gd name="T58" fmla="*/ 510 w 811"/>
                  <a:gd name="T59" fmla="*/ 66 h 1062"/>
                  <a:gd name="T60" fmla="*/ 528 w 811"/>
                  <a:gd name="T61" fmla="*/ 89 h 1062"/>
                  <a:gd name="T62" fmla="*/ 546 w 811"/>
                  <a:gd name="T63" fmla="*/ 112 h 1062"/>
                  <a:gd name="T64" fmla="*/ 564 w 811"/>
                  <a:gd name="T65" fmla="*/ 136 h 1062"/>
                  <a:gd name="T66" fmla="*/ 582 w 811"/>
                  <a:gd name="T67" fmla="*/ 160 h 1062"/>
                  <a:gd name="T68" fmla="*/ 599 w 811"/>
                  <a:gd name="T69" fmla="*/ 185 h 1062"/>
                  <a:gd name="T70" fmla="*/ 615 w 811"/>
                  <a:gd name="T71" fmla="*/ 210 h 1062"/>
                  <a:gd name="T72" fmla="*/ 630 w 811"/>
                  <a:gd name="T73" fmla="*/ 235 h 1062"/>
                  <a:gd name="T74" fmla="*/ 645 w 811"/>
                  <a:gd name="T75" fmla="*/ 261 h 1062"/>
                  <a:gd name="T76" fmla="*/ 659 w 811"/>
                  <a:gd name="T77" fmla="*/ 286 h 1062"/>
                  <a:gd name="T78" fmla="*/ 673 w 811"/>
                  <a:gd name="T79" fmla="*/ 313 h 1062"/>
                  <a:gd name="T80" fmla="*/ 686 w 811"/>
                  <a:gd name="T81" fmla="*/ 340 h 1062"/>
                  <a:gd name="T82" fmla="*/ 698 w 811"/>
                  <a:gd name="T83" fmla="*/ 367 h 1062"/>
                  <a:gd name="T84" fmla="*/ 710 w 811"/>
                  <a:gd name="T85" fmla="*/ 395 h 1062"/>
                  <a:gd name="T86" fmla="*/ 722 w 811"/>
                  <a:gd name="T87" fmla="*/ 422 h 1062"/>
                  <a:gd name="T88" fmla="*/ 727 w 811"/>
                  <a:gd name="T89" fmla="*/ 436 h 1062"/>
                  <a:gd name="T90" fmla="*/ 733 w 811"/>
                  <a:gd name="T91" fmla="*/ 450 h 1062"/>
                  <a:gd name="T92" fmla="*/ 743 w 811"/>
                  <a:gd name="T93" fmla="*/ 479 h 1062"/>
                  <a:gd name="T94" fmla="*/ 752 w 811"/>
                  <a:gd name="T95" fmla="*/ 508 h 1062"/>
                  <a:gd name="T96" fmla="*/ 761 w 811"/>
                  <a:gd name="T97" fmla="*/ 537 h 1062"/>
                  <a:gd name="T98" fmla="*/ 769 w 811"/>
                  <a:gd name="T99" fmla="*/ 566 h 1062"/>
                  <a:gd name="T100" fmla="*/ 776 w 811"/>
                  <a:gd name="T101" fmla="*/ 596 h 1062"/>
                  <a:gd name="T102" fmla="*/ 783 w 811"/>
                  <a:gd name="T103" fmla="*/ 626 h 1062"/>
                  <a:gd name="T104" fmla="*/ 789 w 811"/>
                  <a:gd name="T105" fmla="*/ 656 h 1062"/>
                  <a:gd name="T106" fmla="*/ 792 w 811"/>
                  <a:gd name="T107" fmla="*/ 672 h 1062"/>
                  <a:gd name="T108" fmla="*/ 794 w 811"/>
                  <a:gd name="T109" fmla="*/ 687 h 1062"/>
                  <a:gd name="T110" fmla="*/ 797 w 811"/>
                  <a:gd name="T111" fmla="*/ 702 h 1062"/>
                  <a:gd name="T112" fmla="*/ 799 w 811"/>
                  <a:gd name="T113" fmla="*/ 717 h 1062"/>
                  <a:gd name="T114" fmla="*/ 803 w 811"/>
                  <a:gd name="T115" fmla="*/ 748 h 1062"/>
                  <a:gd name="T116" fmla="*/ 806 w 811"/>
                  <a:gd name="T117" fmla="*/ 779 h 1062"/>
                  <a:gd name="T118" fmla="*/ 808 w 811"/>
                  <a:gd name="T119" fmla="*/ 810 h 1062"/>
                  <a:gd name="T120" fmla="*/ 810 w 811"/>
                  <a:gd name="T121" fmla="*/ 842 h 1062"/>
                  <a:gd name="T122" fmla="*/ 811 w 811"/>
                  <a:gd name="T123" fmla="*/ 873 h 10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811"/>
                  <a:gd name="T187" fmla="*/ 0 h 1062"/>
                  <a:gd name="T188" fmla="*/ 811 w 811"/>
                  <a:gd name="T189" fmla="*/ 1062 h 10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811" h="1062">
                    <a:moveTo>
                      <a:pt x="811" y="873"/>
                    </a:moveTo>
                    <a:lnTo>
                      <a:pt x="474" y="1062"/>
                    </a:lnTo>
                    <a:lnTo>
                      <a:pt x="174" y="863"/>
                    </a:lnTo>
                    <a:lnTo>
                      <a:pt x="173" y="848"/>
                    </a:lnTo>
                    <a:lnTo>
                      <a:pt x="172" y="833"/>
                    </a:lnTo>
                    <a:lnTo>
                      <a:pt x="171" y="819"/>
                    </a:lnTo>
                    <a:lnTo>
                      <a:pt x="169" y="803"/>
                    </a:lnTo>
                    <a:lnTo>
                      <a:pt x="167" y="789"/>
                    </a:lnTo>
                    <a:lnTo>
                      <a:pt x="164" y="774"/>
                    </a:lnTo>
                    <a:lnTo>
                      <a:pt x="159" y="746"/>
                    </a:lnTo>
                    <a:lnTo>
                      <a:pt x="152" y="718"/>
                    </a:lnTo>
                    <a:lnTo>
                      <a:pt x="148" y="704"/>
                    </a:lnTo>
                    <a:lnTo>
                      <a:pt x="143" y="691"/>
                    </a:lnTo>
                    <a:lnTo>
                      <a:pt x="134" y="664"/>
                    </a:lnTo>
                    <a:lnTo>
                      <a:pt x="124" y="637"/>
                    </a:lnTo>
                    <a:lnTo>
                      <a:pt x="112" y="611"/>
                    </a:lnTo>
                    <a:lnTo>
                      <a:pt x="106" y="599"/>
                    </a:lnTo>
                    <a:lnTo>
                      <a:pt x="99" y="586"/>
                    </a:lnTo>
                    <a:lnTo>
                      <a:pt x="85" y="562"/>
                    </a:lnTo>
                    <a:lnTo>
                      <a:pt x="70" y="538"/>
                    </a:lnTo>
                    <a:lnTo>
                      <a:pt x="54" y="516"/>
                    </a:lnTo>
                    <a:lnTo>
                      <a:pt x="37" y="493"/>
                    </a:lnTo>
                    <a:lnTo>
                      <a:pt x="19" y="471"/>
                    </a:lnTo>
                    <a:lnTo>
                      <a:pt x="10" y="460"/>
                    </a:lnTo>
                    <a:lnTo>
                      <a:pt x="0" y="450"/>
                    </a:lnTo>
                    <a:lnTo>
                      <a:pt x="344" y="386"/>
                    </a:lnTo>
                    <a:lnTo>
                      <a:pt x="451" y="0"/>
                    </a:lnTo>
                    <a:lnTo>
                      <a:pt x="471" y="22"/>
                    </a:lnTo>
                    <a:lnTo>
                      <a:pt x="490" y="44"/>
                    </a:lnTo>
                    <a:lnTo>
                      <a:pt x="510" y="66"/>
                    </a:lnTo>
                    <a:lnTo>
                      <a:pt x="528" y="89"/>
                    </a:lnTo>
                    <a:lnTo>
                      <a:pt x="546" y="112"/>
                    </a:lnTo>
                    <a:lnTo>
                      <a:pt x="564" y="136"/>
                    </a:lnTo>
                    <a:lnTo>
                      <a:pt x="582" y="160"/>
                    </a:lnTo>
                    <a:lnTo>
                      <a:pt x="599" y="185"/>
                    </a:lnTo>
                    <a:lnTo>
                      <a:pt x="615" y="210"/>
                    </a:lnTo>
                    <a:lnTo>
                      <a:pt x="630" y="235"/>
                    </a:lnTo>
                    <a:lnTo>
                      <a:pt x="645" y="261"/>
                    </a:lnTo>
                    <a:lnTo>
                      <a:pt x="659" y="286"/>
                    </a:lnTo>
                    <a:lnTo>
                      <a:pt x="673" y="313"/>
                    </a:lnTo>
                    <a:lnTo>
                      <a:pt x="686" y="340"/>
                    </a:lnTo>
                    <a:lnTo>
                      <a:pt x="698" y="367"/>
                    </a:lnTo>
                    <a:lnTo>
                      <a:pt x="710" y="395"/>
                    </a:lnTo>
                    <a:lnTo>
                      <a:pt x="722" y="422"/>
                    </a:lnTo>
                    <a:lnTo>
                      <a:pt x="727" y="436"/>
                    </a:lnTo>
                    <a:lnTo>
                      <a:pt x="733" y="450"/>
                    </a:lnTo>
                    <a:lnTo>
                      <a:pt x="743" y="479"/>
                    </a:lnTo>
                    <a:lnTo>
                      <a:pt x="752" y="508"/>
                    </a:lnTo>
                    <a:lnTo>
                      <a:pt x="761" y="537"/>
                    </a:lnTo>
                    <a:lnTo>
                      <a:pt x="769" y="566"/>
                    </a:lnTo>
                    <a:lnTo>
                      <a:pt x="776" y="596"/>
                    </a:lnTo>
                    <a:lnTo>
                      <a:pt x="783" y="626"/>
                    </a:lnTo>
                    <a:lnTo>
                      <a:pt x="789" y="656"/>
                    </a:lnTo>
                    <a:lnTo>
                      <a:pt x="792" y="672"/>
                    </a:lnTo>
                    <a:lnTo>
                      <a:pt x="794" y="687"/>
                    </a:lnTo>
                    <a:lnTo>
                      <a:pt x="797" y="702"/>
                    </a:lnTo>
                    <a:lnTo>
                      <a:pt x="799" y="717"/>
                    </a:lnTo>
                    <a:lnTo>
                      <a:pt x="803" y="748"/>
                    </a:lnTo>
                    <a:lnTo>
                      <a:pt x="806" y="779"/>
                    </a:lnTo>
                    <a:lnTo>
                      <a:pt x="808" y="810"/>
                    </a:lnTo>
                    <a:lnTo>
                      <a:pt x="810" y="842"/>
                    </a:lnTo>
                    <a:lnTo>
                      <a:pt x="811" y="8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6" name="Freeform 39"/>
              <p:cNvSpPr>
                <a:spLocks noChangeAspect="1"/>
              </p:cNvSpPr>
              <p:nvPr/>
            </p:nvSpPr>
            <p:spPr bwMode="auto">
              <a:xfrm>
                <a:off x="3597" y="2641"/>
                <a:ext cx="804" cy="850"/>
              </a:xfrm>
              <a:custGeom>
                <a:avLst/>
                <a:gdLst>
                  <a:gd name="T0" fmla="*/ 166 w 804"/>
                  <a:gd name="T1" fmla="*/ 0 h 850"/>
                  <a:gd name="T2" fmla="*/ 165 w 804"/>
                  <a:gd name="T3" fmla="*/ 14 h 850"/>
                  <a:gd name="T4" fmla="*/ 164 w 804"/>
                  <a:gd name="T5" fmla="*/ 28 h 850"/>
                  <a:gd name="T6" fmla="*/ 160 w 804"/>
                  <a:gd name="T7" fmla="*/ 56 h 850"/>
                  <a:gd name="T8" fmla="*/ 155 w 804"/>
                  <a:gd name="T9" fmla="*/ 83 h 850"/>
                  <a:gd name="T10" fmla="*/ 150 w 804"/>
                  <a:gd name="T11" fmla="*/ 110 h 850"/>
                  <a:gd name="T12" fmla="*/ 143 w 804"/>
                  <a:gd name="T13" fmla="*/ 136 h 850"/>
                  <a:gd name="T14" fmla="*/ 134 w 804"/>
                  <a:gd name="T15" fmla="*/ 162 h 850"/>
                  <a:gd name="T16" fmla="*/ 125 w 804"/>
                  <a:gd name="T17" fmla="*/ 187 h 850"/>
                  <a:gd name="T18" fmla="*/ 115 w 804"/>
                  <a:gd name="T19" fmla="*/ 213 h 850"/>
                  <a:gd name="T20" fmla="*/ 104 w 804"/>
                  <a:gd name="T21" fmla="*/ 237 h 850"/>
                  <a:gd name="T22" fmla="*/ 92 w 804"/>
                  <a:gd name="T23" fmla="*/ 261 h 850"/>
                  <a:gd name="T24" fmla="*/ 78 w 804"/>
                  <a:gd name="T25" fmla="*/ 284 h 850"/>
                  <a:gd name="T26" fmla="*/ 64 w 804"/>
                  <a:gd name="T27" fmla="*/ 306 h 850"/>
                  <a:gd name="T28" fmla="*/ 57 w 804"/>
                  <a:gd name="T29" fmla="*/ 317 h 850"/>
                  <a:gd name="T30" fmla="*/ 49 w 804"/>
                  <a:gd name="T31" fmla="*/ 328 h 850"/>
                  <a:gd name="T32" fmla="*/ 41 w 804"/>
                  <a:gd name="T33" fmla="*/ 339 h 850"/>
                  <a:gd name="T34" fmla="*/ 34 w 804"/>
                  <a:gd name="T35" fmla="*/ 349 h 850"/>
                  <a:gd name="T36" fmla="*/ 17 w 804"/>
                  <a:gd name="T37" fmla="*/ 371 h 850"/>
                  <a:gd name="T38" fmla="*/ 0 w 804"/>
                  <a:gd name="T39" fmla="*/ 391 h 850"/>
                  <a:gd name="T40" fmla="*/ 70 w 804"/>
                  <a:gd name="T41" fmla="*/ 744 h 850"/>
                  <a:gd name="T42" fmla="*/ 442 w 804"/>
                  <a:gd name="T43" fmla="*/ 850 h 850"/>
                  <a:gd name="T44" fmla="*/ 462 w 804"/>
                  <a:gd name="T45" fmla="*/ 828 h 850"/>
                  <a:gd name="T46" fmla="*/ 481 w 804"/>
                  <a:gd name="T47" fmla="*/ 807 h 850"/>
                  <a:gd name="T48" fmla="*/ 490 w 804"/>
                  <a:gd name="T49" fmla="*/ 796 h 850"/>
                  <a:gd name="T50" fmla="*/ 500 w 804"/>
                  <a:gd name="T51" fmla="*/ 785 h 850"/>
                  <a:gd name="T52" fmla="*/ 518 w 804"/>
                  <a:gd name="T53" fmla="*/ 763 h 850"/>
                  <a:gd name="T54" fmla="*/ 536 w 804"/>
                  <a:gd name="T55" fmla="*/ 741 h 850"/>
                  <a:gd name="T56" fmla="*/ 553 w 804"/>
                  <a:gd name="T57" fmla="*/ 718 h 850"/>
                  <a:gd name="T58" fmla="*/ 571 w 804"/>
                  <a:gd name="T59" fmla="*/ 695 h 850"/>
                  <a:gd name="T60" fmla="*/ 587 w 804"/>
                  <a:gd name="T61" fmla="*/ 670 h 850"/>
                  <a:gd name="T62" fmla="*/ 603 w 804"/>
                  <a:gd name="T63" fmla="*/ 646 h 850"/>
                  <a:gd name="T64" fmla="*/ 619 w 804"/>
                  <a:gd name="T65" fmla="*/ 622 h 850"/>
                  <a:gd name="T66" fmla="*/ 633 w 804"/>
                  <a:gd name="T67" fmla="*/ 597 h 850"/>
                  <a:gd name="T68" fmla="*/ 648 w 804"/>
                  <a:gd name="T69" fmla="*/ 572 h 850"/>
                  <a:gd name="T70" fmla="*/ 661 w 804"/>
                  <a:gd name="T71" fmla="*/ 546 h 850"/>
                  <a:gd name="T72" fmla="*/ 674 w 804"/>
                  <a:gd name="T73" fmla="*/ 520 h 850"/>
                  <a:gd name="T74" fmla="*/ 687 w 804"/>
                  <a:gd name="T75" fmla="*/ 493 h 850"/>
                  <a:gd name="T76" fmla="*/ 699 w 804"/>
                  <a:gd name="T77" fmla="*/ 467 h 850"/>
                  <a:gd name="T78" fmla="*/ 710 w 804"/>
                  <a:gd name="T79" fmla="*/ 440 h 850"/>
                  <a:gd name="T80" fmla="*/ 721 w 804"/>
                  <a:gd name="T81" fmla="*/ 413 h 850"/>
                  <a:gd name="T82" fmla="*/ 732 w 804"/>
                  <a:gd name="T83" fmla="*/ 386 h 850"/>
                  <a:gd name="T84" fmla="*/ 741 w 804"/>
                  <a:gd name="T85" fmla="*/ 358 h 850"/>
                  <a:gd name="T86" fmla="*/ 750 w 804"/>
                  <a:gd name="T87" fmla="*/ 329 h 850"/>
                  <a:gd name="T88" fmla="*/ 758 w 804"/>
                  <a:gd name="T89" fmla="*/ 301 h 850"/>
                  <a:gd name="T90" fmla="*/ 766 w 804"/>
                  <a:gd name="T91" fmla="*/ 272 h 850"/>
                  <a:gd name="T92" fmla="*/ 773 w 804"/>
                  <a:gd name="T93" fmla="*/ 243 h 850"/>
                  <a:gd name="T94" fmla="*/ 779 w 804"/>
                  <a:gd name="T95" fmla="*/ 214 h 850"/>
                  <a:gd name="T96" fmla="*/ 785 w 804"/>
                  <a:gd name="T97" fmla="*/ 184 h 850"/>
                  <a:gd name="T98" fmla="*/ 790 w 804"/>
                  <a:gd name="T99" fmla="*/ 155 h 850"/>
                  <a:gd name="T100" fmla="*/ 794 w 804"/>
                  <a:gd name="T101" fmla="*/ 125 h 850"/>
                  <a:gd name="T102" fmla="*/ 797 w 804"/>
                  <a:gd name="T103" fmla="*/ 95 h 850"/>
                  <a:gd name="T104" fmla="*/ 800 w 804"/>
                  <a:gd name="T105" fmla="*/ 65 h 850"/>
                  <a:gd name="T106" fmla="*/ 802 w 804"/>
                  <a:gd name="T107" fmla="*/ 33 h 850"/>
                  <a:gd name="T108" fmla="*/ 804 w 804"/>
                  <a:gd name="T109" fmla="*/ 3 h 850"/>
                  <a:gd name="T110" fmla="*/ 450 w 804"/>
                  <a:gd name="T111" fmla="*/ 204 h 850"/>
                  <a:gd name="T112" fmla="*/ 166 w 804"/>
                  <a:gd name="T113" fmla="*/ 0 h 85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04"/>
                  <a:gd name="T172" fmla="*/ 0 h 850"/>
                  <a:gd name="T173" fmla="*/ 804 w 804"/>
                  <a:gd name="T174" fmla="*/ 850 h 85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04" h="850">
                    <a:moveTo>
                      <a:pt x="166" y="0"/>
                    </a:moveTo>
                    <a:lnTo>
                      <a:pt x="165" y="14"/>
                    </a:lnTo>
                    <a:lnTo>
                      <a:pt x="164" y="28"/>
                    </a:lnTo>
                    <a:lnTo>
                      <a:pt x="160" y="56"/>
                    </a:lnTo>
                    <a:lnTo>
                      <a:pt x="155" y="83"/>
                    </a:lnTo>
                    <a:lnTo>
                      <a:pt x="150" y="110"/>
                    </a:lnTo>
                    <a:lnTo>
                      <a:pt x="143" y="136"/>
                    </a:lnTo>
                    <a:lnTo>
                      <a:pt x="134" y="162"/>
                    </a:lnTo>
                    <a:lnTo>
                      <a:pt x="125" y="187"/>
                    </a:lnTo>
                    <a:lnTo>
                      <a:pt x="115" y="213"/>
                    </a:lnTo>
                    <a:lnTo>
                      <a:pt x="104" y="237"/>
                    </a:lnTo>
                    <a:lnTo>
                      <a:pt x="92" y="261"/>
                    </a:lnTo>
                    <a:lnTo>
                      <a:pt x="78" y="284"/>
                    </a:lnTo>
                    <a:lnTo>
                      <a:pt x="64" y="306"/>
                    </a:lnTo>
                    <a:lnTo>
                      <a:pt x="57" y="317"/>
                    </a:lnTo>
                    <a:lnTo>
                      <a:pt x="49" y="328"/>
                    </a:lnTo>
                    <a:lnTo>
                      <a:pt x="41" y="339"/>
                    </a:lnTo>
                    <a:lnTo>
                      <a:pt x="34" y="349"/>
                    </a:lnTo>
                    <a:lnTo>
                      <a:pt x="17" y="371"/>
                    </a:lnTo>
                    <a:lnTo>
                      <a:pt x="0" y="391"/>
                    </a:lnTo>
                    <a:lnTo>
                      <a:pt x="70" y="744"/>
                    </a:lnTo>
                    <a:lnTo>
                      <a:pt x="442" y="850"/>
                    </a:lnTo>
                    <a:lnTo>
                      <a:pt x="462" y="828"/>
                    </a:lnTo>
                    <a:lnTo>
                      <a:pt x="481" y="807"/>
                    </a:lnTo>
                    <a:lnTo>
                      <a:pt x="490" y="796"/>
                    </a:lnTo>
                    <a:lnTo>
                      <a:pt x="500" y="785"/>
                    </a:lnTo>
                    <a:lnTo>
                      <a:pt x="518" y="763"/>
                    </a:lnTo>
                    <a:lnTo>
                      <a:pt x="536" y="741"/>
                    </a:lnTo>
                    <a:lnTo>
                      <a:pt x="553" y="718"/>
                    </a:lnTo>
                    <a:lnTo>
                      <a:pt x="571" y="695"/>
                    </a:lnTo>
                    <a:lnTo>
                      <a:pt x="587" y="670"/>
                    </a:lnTo>
                    <a:lnTo>
                      <a:pt x="603" y="646"/>
                    </a:lnTo>
                    <a:lnTo>
                      <a:pt x="619" y="622"/>
                    </a:lnTo>
                    <a:lnTo>
                      <a:pt x="633" y="597"/>
                    </a:lnTo>
                    <a:lnTo>
                      <a:pt x="648" y="572"/>
                    </a:lnTo>
                    <a:lnTo>
                      <a:pt x="661" y="546"/>
                    </a:lnTo>
                    <a:lnTo>
                      <a:pt x="674" y="520"/>
                    </a:lnTo>
                    <a:lnTo>
                      <a:pt x="687" y="493"/>
                    </a:lnTo>
                    <a:lnTo>
                      <a:pt x="699" y="467"/>
                    </a:lnTo>
                    <a:lnTo>
                      <a:pt x="710" y="440"/>
                    </a:lnTo>
                    <a:lnTo>
                      <a:pt x="721" y="413"/>
                    </a:lnTo>
                    <a:lnTo>
                      <a:pt x="732" y="386"/>
                    </a:lnTo>
                    <a:lnTo>
                      <a:pt x="741" y="358"/>
                    </a:lnTo>
                    <a:lnTo>
                      <a:pt x="750" y="329"/>
                    </a:lnTo>
                    <a:lnTo>
                      <a:pt x="758" y="301"/>
                    </a:lnTo>
                    <a:lnTo>
                      <a:pt x="766" y="272"/>
                    </a:lnTo>
                    <a:lnTo>
                      <a:pt x="773" y="243"/>
                    </a:lnTo>
                    <a:lnTo>
                      <a:pt x="779" y="214"/>
                    </a:lnTo>
                    <a:lnTo>
                      <a:pt x="785" y="184"/>
                    </a:lnTo>
                    <a:lnTo>
                      <a:pt x="790" y="155"/>
                    </a:lnTo>
                    <a:lnTo>
                      <a:pt x="794" y="125"/>
                    </a:lnTo>
                    <a:lnTo>
                      <a:pt x="797" y="95"/>
                    </a:lnTo>
                    <a:lnTo>
                      <a:pt x="800" y="65"/>
                    </a:lnTo>
                    <a:lnTo>
                      <a:pt x="802" y="33"/>
                    </a:lnTo>
                    <a:lnTo>
                      <a:pt x="804" y="3"/>
                    </a:lnTo>
                    <a:lnTo>
                      <a:pt x="450" y="204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7" name="Freeform 40"/>
              <p:cNvSpPr>
                <a:spLocks noChangeAspect="1"/>
              </p:cNvSpPr>
              <p:nvPr/>
            </p:nvSpPr>
            <p:spPr bwMode="auto">
              <a:xfrm>
                <a:off x="3015" y="3084"/>
                <a:ext cx="979" cy="792"/>
              </a:xfrm>
              <a:custGeom>
                <a:avLst/>
                <a:gdLst>
                  <a:gd name="T0" fmla="*/ 191 w 979"/>
                  <a:gd name="T1" fmla="*/ 792 h 792"/>
                  <a:gd name="T2" fmla="*/ 0 w 979"/>
                  <a:gd name="T3" fmla="*/ 462 h 792"/>
                  <a:gd name="T4" fmla="*/ 194 w 979"/>
                  <a:gd name="T5" fmla="*/ 151 h 792"/>
                  <a:gd name="T6" fmla="*/ 217 w 979"/>
                  <a:gd name="T7" fmla="*/ 147 h 792"/>
                  <a:gd name="T8" fmla="*/ 240 w 979"/>
                  <a:gd name="T9" fmla="*/ 143 h 792"/>
                  <a:gd name="T10" fmla="*/ 252 w 979"/>
                  <a:gd name="T11" fmla="*/ 140 h 792"/>
                  <a:gd name="T12" fmla="*/ 263 w 979"/>
                  <a:gd name="T13" fmla="*/ 137 h 792"/>
                  <a:gd name="T14" fmla="*/ 286 w 979"/>
                  <a:gd name="T15" fmla="*/ 131 h 792"/>
                  <a:gd name="T16" fmla="*/ 308 w 979"/>
                  <a:gd name="T17" fmla="*/ 124 h 792"/>
                  <a:gd name="T18" fmla="*/ 330 w 979"/>
                  <a:gd name="T19" fmla="*/ 117 h 792"/>
                  <a:gd name="T20" fmla="*/ 353 w 979"/>
                  <a:gd name="T21" fmla="*/ 108 h 792"/>
                  <a:gd name="T22" fmla="*/ 374 w 979"/>
                  <a:gd name="T23" fmla="*/ 99 h 792"/>
                  <a:gd name="T24" fmla="*/ 395 w 979"/>
                  <a:gd name="T25" fmla="*/ 89 h 792"/>
                  <a:gd name="T26" fmla="*/ 415 w 979"/>
                  <a:gd name="T27" fmla="*/ 79 h 792"/>
                  <a:gd name="T28" fmla="*/ 435 w 979"/>
                  <a:gd name="T29" fmla="*/ 67 h 792"/>
                  <a:gd name="T30" fmla="*/ 454 w 979"/>
                  <a:gd name="T31" fmla="*/ 55 h 792"/>
                  <a:gd name="T32" fmla="*/ 464 w 979"/>
                  <a:gd name="T33" fmla="*/ 48 h 792"/>
                  <a:gd name="T34" fmla="*/ 473 w 979"/>
                  <a:gd name="T35" fmla="*/ 42 h 792"/>
                  <a:gd name="T36" fmla="*/ 492 w 979"/>
                  <a:gd name="T37" fmla="*/ 29 h 792"/>
                  <a:gd name="T38" fmla="*/ 511 w 979"/>
                  <a:gd name="T39" fmla="*/ 15 h 792"/>
                  <a:gd name="T40" fmla="*/ 528 w 979"/>
                  <a:gd name="T41" fmla="*/ 0 h 792"/>
                  <a:gd name="T42" fmla="*/ 586 w 979"/>
                  <a:gd name="T43" fmla="*/ 342 h 792"/>
                  <a:gd name="T44" fmla="*/ 979 w 979"/>
                  <a:gd name="T45" fmla="*/ 450 h 792"/>
                  <a:gd name="T46" fmla="*/ 959 w 979"/>
                  <a:gd name="T47" fmla="*/ 468 h 792"/>
                  <a:gd name="T48" fmla="*/ 939 w 979"/>
                  <a:gd name="T49" fmla="*/ 486 h 792"/>
                  <a:gd name="T50" fmla="*/ 918 w 979"/>
                  <a:gd name="T51" fmla="*/ 503 h 792"/>
                  <a:gd name="T52" fmla="*/ 897 w 979"/>
                  <a:gd name="T53" fmla="*/ 520 h 792"/>
                  <a:gd name="T54" fmla="*/ 876 w 979"/>
                  <a:gd name="T55" fmla="*/ 536 h 792"/>
                  <a:gd name="T56" fmla="*/ 855 w 979"/>
                  <a:gd name="T57" fmla="*/ 552 h 792"/>
                  <a:gd name="T58" fmla="*/ 833 w 979"/>
                  <a:gd name="T59" fmla="*/ 569 h 792"/>
                  <a:gd name="T60" fmla="*/ 810 w 979"/>
                  <a:gd name="T61" fmla="*/ 584 h 792"/>
                  <a:gd name="T62" fmla="*/ 787 w 979"/>
                  <a:gd name="T63" fmla="*/ 598 h 792"/>
                  <a:gd name="T64" fmla="*/ 764 w 979"/>
                  <a:gd name="T65" fmla="*/ 613 h 792"/>
                  <a:gd name="T66" fmla="*/ 741 w 979"/>
                  <a:gd name="T67" fmla="*/ 626 h 792"/>
                  <a:gd name="T68" fmla="*/ 718 w 979"/>
                  <a:gd name="T69" fmla="*/ 639 h 792"/>
                  <a:gd name="T70" fmla="*/ 694 w 979"/>
                  <a:gd name="T71" fmla="*/ 652 h 792"/>
                  <a:gd name="T72" fmla="*/ 670 w 979"/>
                  <a:gd name="T73" fmla="*/ 664 h 792"/>
                  <a:gd name="T74" fmla="*/ 645 w 979"/>
                  <a:gd name="T75" fmla="*/ 676 h 792"/>
                  <a:gd name="T76" fmla="*/ 620 w 979"/>
                  <a:gd name="T77" fmla="*/ 687 h 792"/>
                  <a:gd name="T78" fmla="*/ 595 w 979"/>
                  <a:gd name="T79" fmla="*/ 698 h 792"/>
                  <a:gd name="T80" fmla="*/ 570 w 979"/>
                  <a:gd name="T81" fmla="*/ 708 h 792"/>
                  <a:gd name="T82" fmla="*/ 544 w 979"/>
                  <a:gd name="T83" fmla="*/ 718 h 792"/>
                  <a:gd name="T84" fmla="*/ 532 w 979"/>
                  <a:gd name="T85" fmla="*/ 723 h 792"/>
                  <a:gd name="T86" fmla="*/ 519 w 979"/>
                  <a:gd name="T87" fmla="*/ 727 h 792"/>
                  <a:gd name="T88" fmla="*/ 492 w 979"/>
                  <a:gd name="T89" fmla="*/ 736 h 792"/>
                  <a:gd name="T90" fmla="*/ 466 w 979"/>
                  <a:gd name="T91" fmla="*/ 744 h 792"/>
                  <a:gd name="T92" fmla="*/ 439 w 979"/>
                  <a:gd name="T93" fmla="*/ 751 h 792"/>
                  <a:gd name="T94" fmla="*/ 426 w 979"/>
                  <a:gd name="T95" fmla="*/ 755 h 792"/>
                  <a:gd name="T96" fmla="*/ 413 w 979"/>
                  <a:gd name="T97" fmla="*/ 758 h 792"/>
                  <a:gd name="T98" fmla="*/ 386 w 979"/>
                  <a:gd name="T99" fmla="*/ 764 h 792"/>
                  <a:gd name="T100" fmla="*/ 359 w 979"/>
                  <a:gd name="T101" fmla="*/ 770 h 792"/>
                  <a:gd name="T102" fmla="*/ 303 w 979"/>
                  <a:gd name="T103" fmla="*/ 780 h 792"/>
                  <a:gd name="T104" fmla="*/ 275 w 979"/>
                  <a:gd name="T105" fmla="*/ 784 h 792"/>
                  <a:gd name="T106" fmla="*/ 247 w 979"/>
                  <a:gd name="T107" fmla="*/ 787 h 792"/>
                  <a:gd name="T108" fmla="*/ 219 w 979"/>
                  <a:gd name="T109" fmla="*/ 790 h 792"/>
                  <a:gd name="T110" fmla="*/ 191 w 979"/>
                  <a:gd name="T111" fmla="*/ 792 h 7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79"/>
                  <a:gd name="T169" fmla="*/ 0 h 792"/>
                  <a:gd name="T170" fmla="*/ 979 w 979"/>
                  <a:gd name="T171" fmla="*/ 792 h 7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79" h="792">
                    <a:moveTo>
                      <a:pt x="191" y="792"/>
                    </a:moveTo>
                    <a:lnTo>
                      <a:pt x="0" y="462"/>
                    </a:lnTo>
                    <a:lnTo>
                      <a:pt x="194" y="151"/>
                    </a:lnTo>
                    <a:lnTo>
                      <a:pt x="217" y="147"/>
                    </a:lnTo>
                    <a:lnTo>
                      <a:pt x="240" y="143"/>
                    </a:lnTo>
                    <a:lnTo>
                      <a:pt x="252" y="140"/>
                    </a:lnTo>
                    <a:lnTo>
                      <a:pt x="263" y="137"/>
                    </a:lnTo>
                    <a:lnTo>
                      <a:pt x="286" y="131"/>
                    </a:lnTo>
                    <a:lnTo>
                      <a:pt x="308" y="124"/>
                    </a:lnTo>
                    <a:lnTo>
                      <a:pt x="330" y="117"/>
                    </a:lnTo>
                    <a:lnTo>
                      <a:pt x="353" y="108"/>
                    </a:lnTo>
                    <a:lnTo>
                      <a:pt x="374" y="99"/>
                    </a:lnTo>
                    <a:lnTo>
                      <a:pt x="395" y="89"/>
                    </a:lnTo>
                    <a:lnTo>
                      <a:pt x="415" y="79"/>
                    </a:lnTo>
                    <a:lnTo>
                      <a:pt x="435" y="67"/>
                    </a:lnTo>
                    <a:lnTo>
                      <a:pt x="454" y="55"/>
                    </a:lnTo>
                    <a:lnTo>
                      <a:pt x="464" y="48"/>
                    </a:lnTo>
                    <a:lnTo>
                      <a:pt x="473" y="42"/>
                    </a:lnTo>
                    <a:lnTo>
                      <a:pt x="492" y="29"/>
                    </a:lnTo>
                    <a:lnTo>
                      <a:pt x="511" y="15"/>
                    </a:lnTo>
                    <a:lnTo>
                      <a:pt x="528" y="0"/>
                    </a:lnTo>
                    <a:lnTo>
                      <a:pt x="586" y="342"/>
                    </a:lnTo>
                    <a:lnTo>
                      <a:pt x="979" y="450"/>
                    </a:lnTo>
                    <a:lnTo>
                      <a:pt x="959" y="468"/>
                    </a:lnTo>
                    <a:lnTo>
                      <a:pt x="939" y="486"/>
                    </a:lnTo>
                    <a:lnTo>
                      <a:pt x="918" y="503"/>
                    </a:lnTo>
                    <a:lnTo>
                      <a:pt x="897" y="520"/>
                    </a:lnTo>
                    <a:lnTo>
                      <a:pt x="876" y="536"/>
                    </a:lnTo>
                    <a:lnTo>
                      <a:pt x="855" y="552"/>
                    </a:lnTo>
                    <a:lnTo>
                      <a:pt x="833" y="569"/>
                    </a:lnTo>
                    <a:lnTo>
                      <a:pt x="810" y="584"/>
                    </a:lnTo>
                    <a:lnTo>
                      <a:pt x="787" y="598"/>
                    </a:lnTo>
                    <a:lnTo>
                      <a:pt x="764" y="613"/>
                    </a:lnTo>
                    <a:lnTo>
                      <a:pt x="741" y="626"/>
                    </a:lnTo>
                    <a:lnTo>
                      <a:pt x="718" y="639"/>
                    </a:lnTo>
                    <a:lnTo>
                      <a:pt x="694" y="652"/>
                    </a:lnTo>
                    <a:lnTo>
                      <a:pt x="670" y="664"/>
                    </a:lnTo>
                    <a:lnTo>
                      <a:pt x="645" y="676"/>
                    </a:lnTo>
                    <a:lnTo>
                      <a:pt x="620" y="687"/>
                    </a:lnTo>
                    <a:lnTo>
                      <a:pt x="595" y="698"/>
                    </a:lnTo>
                    <a:lnTo>
                      <a:pt x="570" y="708"/>
                    </a:lnTo>
                    <a:lnTo>
                      <a:pt x="544" y="718"/>
                    </a:lnTo>
                    <a:lnTo>
                      <a:pt x="532" y="723"/>
                    </a:lnTo>
                    <a:lnTo>
                      <a:pt x="519" y="727"/>
                    </a:lnTo>
                    <a:lnTo>
                      <a:pt x="492" y="736"/>
                    </a:lnTo>
                    <a:lnTo>
                      <a:pt x="466" y="744"/>
                    </a:lnTo>
                    <a:lnTo>
                      <a:pt x="439" y="751"/>
                    </a:lnTo>
                    <a:lnTo>
                      <a:pt x="426" y="755"/>
                    </a:lnTo>
                    <a:lnTo>
                      <a:pt x="413" y="758"/>
                    </a:lnTo>
                    <a:lnTo>
                      <a:pt x="386" y="764"/>
                    </a:lnTo>
                    <a:lnTo>
                      <a:pt x="359" y="770"/>
                    </a:lnTo>
                    <a:lnTo>
                      <a:pt x="303" y="780"/>
                    </a:lnTo>
                    <a:lnTo>
                      <a:pt x="275" y="784"/>
                    </a:lnTo>
                    <a:lnTo>
                      <a:pt x="247" y="787"/>
                    </a:lnTo>
                    <a:lnTo>
                      <a:pt x="219" y="790"/>
                    </a:lnTo>
                    <a:lnTo>
                      <a:pt x="191" y="792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8" name="Freeform 41"/>
              <p:cNvSpPr>
                <a:spLocks noChangeAspect="1"/>
              </p:cNvSpPr>
              <p:nvPr/>
            </p:nvSpPr>
            <p:spPr bwMode="auto">
              <a:xfrm>
                <a:off x="2274" y="3109"/>
                <a:ext cx="867" cy="769"/>
              </a:xfrm>
              <a:custGeom>
                <a:avLst/>
                <a:gdLst>
                  <a:gd name="T0" fmla="*/ 866 w 867"/>
                  <a:gd name="T1" fmla="*/ 769 h 769"/>
                  <a:gd name="T2" fmla="*/ 847 w 867"/>
                  <a:gd name="T3" fmla="*/ 769 h 769"/>
                  <a:gd name="T4" fmla="*/ 817 w 867"/>
                  <a:gd name="T5" fmla="*/ 769 h 769"/>
                  <a:gd name="T6" fmla="*/ 787 w 867"/>
                  <a:gd name="T7" fmla="*/ 768 h 769"/>
                  <a:gd name="T8" fmla="*/ 756 w 867"/>
                  <a:gd name="T9" fmla="*/ 766 h 769"/>
                  <a:gd name="T10" fmla="*/ 726 w 867"/>
                  <a:gd name="T11" fmla="*/ 764 h 769"/>
                  <a:gd name="T12" fmla="*/ 697 w 867"/>
                  <a:gd name="T13" fmla="*/ 760 h 769"/>
                  <a:gd name="T14" fmla="*/ 667 w 867"/>
                  <a:gd name="T15" fmla="*/ 757 h 769"/>
                  <a:gd name="T16" fmla="*/ 653 w 867"/>
                  <a:gd name="T17" fmla="*/ 755 h 769"/>
                  <a:gd name="T18" fmla="*/ 638 w 867"/>
                  <a:gd name="T19" fmla="*/ 752 h 769"/>
                  <a:gd name="T20" fmla="*/ 610 w 867"/>
                  <a:gd name="T21" fmla="*/ 747 h 769"/>
                  <a:gd name="T22" fmla="*/ 580 w 867"/>
                  <a:gd name="T23" fmla="*/ 742 h 769"/>
                  <a:gd name="T24" fmla="*/ 552 w 867"/>
                  <a:gd name="T25" fmla="*/ 735 h 769"/>
                  <a:gd name="T26" fmla="*/ 523 w 867"/>
                  <a:gd name="T27" fmla="*/ 728 h 769"/>
                  <a:gd name="T28" fmla="*/ 496 w 867"/>
                  <a:gd name="T29" fmla="*/ 721 h 769"/>
                  <a:gd name="T30" fmla="*/ 482 w 867"/>
                  <a:gd name="T31" fmla="*/ 717 h 769"/>
                  <a:gd name="T32" fmla="*/ 468 w 867"/>
                  <a:gd name="T33" fmla="*/ 712 h 769"/>
                  <a:gd name="T34" fmla="*/ 440 w 867"/>
                  <a:gd name="T35" fmla="*/ 704 h 769"/>
                  <a:gd name="T36" fmla="*/ 413 w 867"/>
                  <a:gd name="T37" fmla="*/ 694 h 769"/>
                  <a:gd name="T38" fmla="*/ 386 w 867"/>
                  <a:gd name="T39" fmla="*/ 683 h 769"/>
                  <a:gd name="T40" fmla="*/ 359 w 867"/>
                  <a:gd name="T41" fmla="*/ 673 h 769"/>
                  <a:gd name="T42" fmla="*/ 333 w 867"/>
                  <a:gd name="T43" fmla="*/ 662 h 769"/>
                  <a:gd name="T44" fmla="*/ 307 w 867"/>
                  <a:gd name="T45" fmla="*/ 650 h 769"/>
                  <a:gd name="T46" fmla="*/ 281 w 867"/>
                  <a:gd name="T47" fmla="*/ 638 h 769"/>
                  <a:gd name="T48" fmla="*/ 255 w 867"/>
                  <a:gd name="T49" fmla="*/ 625 h 769"/>
                  <a:gd name="T50" fmla="*/ 230 w 867"/>
                  <a:gd name="T51" fmla="*/ 611 h 769"/>
                  <a:gd name="T52" fmla="*/ 206 w 867"/>
                  <a:gd name="T53" fmla="*/ 598 h 769"/>
                  <a:gd name="T54" fmla="*/ 182 w 867"/>
                  <a:gd name="T55" fmla="*/ 583 h 769"/>
                  <a:gd name="T56" fmla="*/ 158 w 867"/>
                  <a:gd name="T57" fmla="*/ 568 h 769"/>
                  <a:gd name="T58" fmla="*/ 134 w 867"/>
                  <a:gd name="T59" fmla="*/ 553 h 769"/>
                  <a:gd name="T60" fmla="*/ 110 w 867"/>
                  <a:gd name="T61" fmla="*/ 537 h 769"/>
                  <a:gd name="T62" fmla="*/ 87 w 867"/>
                  <a:gd name="T63" fmla="*/ 519 h 769"/>
                  <a:gd name="T64" fmla="*/ 65 w 867"/>
                  <a:gd name="T65" fmla="*/ 502 h 769"/>
                  <a:gd name="T66" fmla="*/ 43 w 867"/>
                  <a:gd name="T67" fmla="*/ 485 h 769"/>
                  <a:gd name="T68" fmla="*/ 21 w 867"/>
                  <a:gd name="T69" fmla="*/ 467 h 769"/>
                  <a:gd name="T70" fmla="*/ 0 w 867"/>
                  <a:gd name="T71" fmla="*/ 449 h 769"/>
                  <a:gd name="T72" fmla="*/ 96 w 867"/>
                  <a:gd name="T73" fmla="*/ 84 h 769"/>
                  <a:gd name="T74" fmla="*/ 454 w 867"/>
                  <a:gd name="T75" fmla="*/ 0 h 769"/>
                  <a:gd name="T76" fmla="*/ 474 w 867"/>
                  <a:gd name="T77" fmla="*/ 15 h 769"/>
                  <a:gd name="T78" fmla="*/ 485 w 867"/>
                  <a:gd name="T79" fmla="*/ 22 h 769"/>
                  <a:gd name="T80" fmla="*/ 495 w 867"/>
                  <a:gd name="T81" fmla="*/ 29 h 769"/>
                  <a:gd name="T82" fmla="*/ 517 w 867"/>
                  <a:gd name="T83" fmla="*/ 43 h 769"/>
                  <a:gd name="T84" fmla="*/ 540 w 867"/>
                  <a:gd name="T85" fmla="*/ 56 h 769"/>
                  <a:gd name="T86" fmla="*/ 563 w 867"/>
                  <a:gd name="T87" fmla="*/ 68 h 769"/>
                  <a:gd name="T88" fmla="*/ 574 w 867"/>
                  <a:gd name="T89" fmla="*/ 74 h 769"/>
                  <a:gd name="T90" fmla="*/ 586 w 867"/>
                  <a:gd name="T91" fmla="*/ 79 h 769"/>
                  <a:gd name="T92" fmla="*/ 611 w 867"/>
                  <a:gd name="T93" fmla="*/ 89 h 769"/>
                  <a:gd name="T94" fmla="*/ 623 w 867"/>
                  <a:gd name="T95" fmla="*/ 93 h 769"/>
                  <a:gd name="T96" fmla="*/ 636 w 867"/>
                  <a:gd name="T97" fmla="*/ 98 h 769"/>
                  <a:gd name="T98" fmla="*/ 660 w 867"/>
                  <a:gd name="T99" fmla="*/ 106 h 769"/>
                  <a:gd name="T100" fmla="*/ 686 w 867"/>
                  <a:gd name="T101" fmla="*/ 113 h 769"/>
                  <a:gd name="T102" fmla="*/ 699 w 867"/>
                  <a:gd name="T103" fmla="*/ 116 h 769"/>
                  <a:gd name="T104" fmla="*/ 712 w 867"/>
                  <a:gd name="T105" fmla="*/ 119 h 769"/>
                  <a:gd name="T106" fmla="*/ 738 w 867"/>
                  <a:gd name="T107" fmla="*/ 124 h 769"/>
                  <a:gd name="T108" fmla="*/ 751 w 867"/>
                  <a:gd name="T109" fmla="*/ 126 h 769"/>
                  <a:gd name="T110" fmla="*/ 764 w 867"/>
                  <a:gd name="T111" fmla="*/ 127 h 769"/>
                  <a:gd name="T112" fmla="*/ 792 w 867"/>
                  <a:gd name="T113" fmla="*/ 130 h 769"/>
                  <a:gd name="T114" fmla="*/ 819 w 867"/>
                  <a:gd name="T115" fmla="*/ 132 h 769"/>
                  <a:gd name="T116" fmla="*/ 833 w 867"/>
                  <a:gd name="T117" fmla="*/ 132 h 769"/>
                  <a:gd name="T118" fmla="*/ 847 w 867"/>
                  <a:gd name="T119" fmla="*/ 133 h 769"/>
                  <a:gd name="T120" fmla="*/ 867 w 867"/>
                  <a:gd name="T121" fmla="*/ 132 h 769"/>
                  <a:gd name="T122" fmla="*/ 667 w 867"/>
                  <a:gd name="T123" fmla="*/ 428 h 769"/>
                  <a:gd name="T124" fmla="*/ 866 w 867"/>
                  <a:gd name="T125" fmla="*/ 769 h 76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67"/>
                  <a:gd name="T190" fmla="*/ 0 h 769"/>
                  <a:gd name="T191" fmla="*/ 867 w 867"/>
                  <a:gd name="T192" fmla="*/ 769 h 76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67" h="769">
                    <a:moveTo>
                      <a:pt x="866" y="769"/>
                    </a:moveTo>
                    <a:lnTo>
                      <a:pt x="847" y="769"/>
                    </a:lnTo>
                    <a:lnTo>
                      <a:pt x="817" y="769"/>
                    </a:lnTo>
                    <a:lnTo>
                      <a:pt x="787" y="768"/>
                    </a:lnTo>
                    <a:lnTo>
                      <a:pt x="756" y="766"/>
                    </a:lnTo>
                    <a:lnTo>
                      <a:pt x="726" y="764"/>
                    </a:lnTo>
                    <a:lnTo>
                      <a:pt x="697" y="760"/>
                    </a:lnTo>
                    <a:lnTo>
                      <a:pt x="667" y="757"/>
                    </a:lnTo>
                    <a:lnTo>
                      <a:pt x="653" y="755"/>
                    </a:lnTo>
                    <a:lnTo>
                      <a:pt x="638" y="752"/>
                    </a:lnTo>
                    <a:lnTo>
                      <a:pt x="610" y="747"/>
                    </a:lnTo>
                    <a:lnTo>
                      <a:pt x="580" y="742"/>
                    </a:lnTo>
                    <a:lnTo>
                      <a:pt x="552" y="735"/>
                    </a:lnTo>
                    <a:lnTo>
                      <a:pt x="523" y="728"/>
                    </a:lnTo>
                    <a:lnTo>
                      <a:pt x="496" y="721"/>
                    </a:lnTo>
                    <a:lnTo>
                      <a:pt x="482" y="717"/>
                    </a:lnTo>
                    <a:lnTo>
                      <a:pt x="468" y="712"/>
                    </a:lnTo>
                    <a:lnTo>
                      <a:pt x="440" y="704"/>
                    </a:lnTo>
                    <a:lnTo>
                      <a:pt x="413" y="694"/>
                    </a:lnTo>
                    <a:lnTo>
                      <a:pt x="386" y="683"/>
                    </a:lnTo>
                    <a:lnTo>
                      <a:pt x="359" y="673"/>
                    </a:lnTo>
                    <a:lnTo>
                      <a:pt x="333" y="662"/>
                    </a:lnTo>
                    <a:lnTo>
                      <a:pt x="307" y="650"/>
                    </a:lnTo>
                    <a:lnTo>
                      <a:pt x="281" y="638"/>
                    </a:lnTo>
                    <a:lnTo>
                      <a:pt x="255" y="625"/>
                    </a:lnTo>
                    <a:lnTo>
                      <a:pt x="230" y="611"/>
                    </a:lnTo>
                    <a:lnTo>
                      <a:pt x="206" y="598"/>
                    </a:lnTo>
                    <a:lnTo>
                      <a:pt x="182" y="583"/>
                    </a:lnTo>
                    <a:lnTo>
                      <a:pt x="158" y="568"/>
                    </a:lnTo>
                    <a:lnTo>
                      <a:pt x="134" y="553"/>
                    </a:lnTo>
                    <a:lnTo>
                      <a:pt x="110" y="537"/>
                    </a:lnTo>
                    <a:lnTo>
                      <a:pt x="87" y="519"/>
                    </a:lnTo>
                    <a:lnTo>
                      <a:pt x="65" y="502"/>
                    </a:lnTo>
                    <a:lnTo>
                      <a:pt x="43" y="485"/>
                    </a:lnTo>
                    <a:lnTo>
                      <a:pt x="21" y="467"/>
                    </a:lnTo>
                    <a:lnTo>
                      <a:pt x="0" y="449"/>
                    </a:lnTo>
                    <a:lnTo>
                      <a:pt x="96" y="84"/>
                    </a:lnTo>
                    <a:lnTo>
                      <a:pt x="454" y="0"/>
                    </a:lnTo>
                    <a:lnTo>
                      <a:pt x="474" y="15"/>
                    </a:lnTo>
                    <a:lnTo>
                      <a:pt x="485" y="22"/>
                    </a:lnTo>
                    <a:lnTo>
                      <a:pt x="495" y="29"/>
                    </a:lnTo>
                    <a:lnTo>
                      <a:pt x="517" y="43"/>
                    </a:lnTo>
                    <a:lnTo>
                      <a:pt x="540" y="56"/>
                    </a:lnTo>
                    <a:lnTo>
                      <a:pt x="563" y="68"/>
                    </a:lnTo>
                    <a:lnTo>
                      <a:pt x="574" y="74"/>
                    </a:lnTo>
                    <a:lnTo>
                      <a:pt x="586" y="79"/>
                    </a:lnTo>
                    <a:lnTo>
                      <a:pt x="611" y="89"/>
                    </a:lnTo>
                    <a:lnTo>
                      <a:pt x="623" y="93"/>
                    </a:lnTo>
                    <a:lnTo>
                      <a:pt x="636" y="98"/>
                    </a:lnTo>
                    <a:lnTo>
                      <a:pt x="660" y="106"/>
                    </a:lnTo>
                    <a:lnTo>
                      <a:pt x="686" y="113"/>
                    </a:lnTo>
                    <a:lnTo>
                      <a:pt x="699" y="116"/>
                    </a:lnTo>
                    <a:lnTo>
                      <a:pt x="712" y="119"/>
                    </a:lnTo>
                    <a:lnTo>
                      <a:pt x="738" y="124"/>
                    </a:lnTo>
                    <a:lnTo>
                      <a:pt x="751" y="126"/>
                    </a:lnTo>
                    <a:lnTo>
                      <a:pt x="764" y="127"/>
                    </a:lnTo>
                    <a:lnTo>
                      <a:pt x="792" y="130"/>
                    </a:lnTo>
                    <a:lnTo>
                      <a:pt x="819" y="132"/>
                    </a:lnTo>
                    <a:lnTo>
                      <a:pt x="833" y="132"/>
                    </a:lnTo>
                    <a:lnTo>
                      <a:pt x="847" y="133"/>
                    </a:lnTo>
                    <a:lnTo>
                      <a:pt x="867" y="132"/>
                    </a:lnTo>
                    <a:lnTo>
                      <a:pt x="667" y="428"/>
                    </a:lnTo>
                    <a:lnTo>
                      <a:pt x="866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9" name="Freeform 42"/>
              <p:cNvSpPr>
                <a:spLocks noChangeAspect="1"/>
              </p:cNvSpPr>
              <p:nvPr/>
            </p:nvSpPr>
            <p:spPr bwMode="auto">
              <a:xfrm>
                <a:off x="1845" y="2514"/>
                <a:ext cx="831" cy="1000"/>
              </a:xfrm>
              <a:custGeom>
                <a:avLst/>
                <a:gdLst>
                  <a:gd name="T0" fmla="*/ 641 w 831"/>
                  <a:gd name="T1" fmla="*/ 195 h 1000"/>
                  <a:gd name="T2" fmla="*/ 322 w 831"/>
                  <a:gd name="T3" fmla="*/ 0 h 1000"/>
                  <a:gd name="T4" fmla="*/ 0 w 831"/>
                  <a:gd name="T5" fmla="*/ 194 h 1000"/>
                  <a:gd name="T6" fmla="*/ 2 w 831"/>
                  <a:gd name="T7" fmla="*/ 224 h 1000"/>
                  <a:gd name="T8" fmla="*/ 6 w 831"/>
                  <a:gd name="T9" fmla="*/ 253 h 1000"/>
                  <a:gd name="T10" fmla="*/ 10 w 831"/>
                  <a:gd name="T11" fmla="*/ 282 h 1000"/>
                  <a:gd name="T12" fmla="*/ 15 w 831"/>
                  <a:gd name="T13" fmla="*/ 310 h 1000"/>
                  <a:gd name="T14" fmla="*/ 20 w 831"/>
                  <a:gd name="T15" fmla="*/ 340 h 1000"/>
                  <a:gd name="T16" fmla="*/ 26 w 831"/>
                  <a:gd name="T17" fmla="*/ 368 h 1000"/>
                  <a:gd name="T18" fmla="*/ 33 w 831"/>
                  <a:gd name="T19" fmla="*/ 396 h 1000"/>
                  <a:gd name="T20" fmla="*/ 40 w 831"/>
                  <a:gd name="T21" fmla="*/ 423 h 1000"/>
                  <a:gd name="T22" fmla="*/ 48 w 831"/>
                  <a:gd name="T23" fmla="*/ 451 h 1000"/>
                  <a:gd name="T24" fmla="*/ 56 w 831"/>
                  <a:gd name="T25" fmla="*/ 478 h 1000"/>
                  <a:gd name="T26" fmla="*/ 65 w 831"/>
                  <a:gd name="T27" fmla="*/ 506 h 1000"/>
                  <a:gd name="T28" fmla="*/ 76 w 831"/>
                  <a:gd name="T29" fmla="*/ 533 h 1000"/>
                  <a:gd name="T30" fmla="*/ 86 w 831"/>
                  <a:gd name="T31" fmla="*/ 559 h 1000"/>
                  <a:gd name="T32" fmla="*/ 97 w 831"/>
                  <a:gd name="T33" fmla="*/ 585 h 1000"/>
                  <a:gd name="T34" fmla="*/ 108 w 831"/>
                  <a:gd name="T35" fmla="*/ 611 h 1000"/>
                  <a:gd name="T36" fmla="*/ 120 w 831"/>
                  <a:gd name="T37" fmla="*/ 636 h 1000"/>
                  <a:gd name="T38" fmla="*/ 133 w 831"/>
                  <a:gd name="T39" fmla="*/ 663 h 1000"/>
                  <a:gd name="T40" fmla="*/ 146 w 831"/>
                  <a:gd name="T41" fmla="*/ 687 h 1000"/>
                  <a:gd name="T42" fmla="*/ 159 w 831"/>
                  <a:gd name="T43" fmla="*/ 712 h 1000"/>
                  <a:gd name="T44" fmla="*/ 173 w 831"/>
                  <a:gd name="T45" fmla="*/ 736 h 1000"/>
                  <a:gd name="T46" fmla="*/ 188 w 831"/>
                  <a:gd name="T47" fmla="*/ 760 h 1000"/>
                  <a:gd name="T48" fmla="*/ 203 w 831"/>
                  <a:gd name="T49" fmla="*/ 783 h 1000"/>
                  <a:gd name="T50" fmla="*/ 218 w 831"/>
                  <a:gd name="T51" fmla="*/ 808 h 1000"/>
                  <a:gd name="T52" fmla="*/ 234 w 831"/>
                  <a:gd name="T53" fmla="*/ 830 h 1000"/>
                  <a:gd name="T54" fmla="*/ 252 w 831"/>
                  <a:gd name="T55" fmla="*/ 853 h 1000"/>
                  <a:gd name="T56" fmla="*/ 269 w 831"/>
                  <a:gd name="T57" fmla="*/ 875 h 1000"/>
                  <a:gd name="T58" fmla="*/ 286 w 831"/>
                  <a:gd name="T59" fmla="*/ 897 h 1000"/>
                  <a:gd name="T60" fmla="*/ 304 w 831"/>
                  <a:gd name="T61" fmla="*/ 918 h 1000"/>
                  <a:gd name="T62" fmla="*/ 323 w 831"/>
                  <a:gd name="T63" fmla="*/ 939 h 1000"/>
                  <a:gd name="T64" fmla="*/ 342 w 831"/>
                  <a:gd name="T65" fmla="*/ 959 h 1000"/>
                  <a:gd name="T66" fmla="*/ 361 w 831"/>
                  <a:gd name="T67" fmla="*/ 980 h 1000"/>
                  <a:gd name="T68" fmla="*/ 381 w 831"/>
                  <a:gd name="T69" fmla="*/ 1000 h 1000"/>
                  <a:gd name="T70" fmla="*/ 479 w 831"/>
                  <a:gd name="T71" fmla="*/ 619 h 1000"/>
                  <a:gd name="T72" fmla="*/ 831 w 831"/>
                  <a:gd name="T73" fmla="*/ 550 h 1000"/>
                  <a:gd name="T74" fmla="*/ 813 w 831"/>
                  <a:gd name="T75" fmla="*/ 532 h 1000"/>
                  <a:gd name="T76" fmla="*/ 796 w 831"/>
                  <a:gd name="T77" fmla="*/ 514 h 1000"/>
                  <a:gd name="T78" fmla="*/ 780 w 831"/>
                  <a:gd name="T79" fmla="*/ 495 h 1000"/>
                  <a:gd name="T80" fmla="*/ 764 w 831"/>
                  <a:gd name="T81" fmla="*/ 474 h 1000"/>
                  <a:gd name="T82" fmla="*/ 749 w 831"/>
                  <a:gd name="T83" fmla="*/ 454 h 1000"/>
                  <a:gd name="T84" fmla="*/ 735 w 831"/>
                  <a:gd name="T85" fmla="*/ 433 h 1000"/>
                  <a:gd name="T86" fmla="*/ 722 w 831"/>
                  <a:gd name="T87" fmla="*/ 411 h 1000"/>
                  <a:gd name="T88" fmla="*/ 708 w 831"/>
                  <a:gd name="T89" fmla="*/ 389 h 1000"/>
                  <a:gd name="T90" fmla="*/ 696 w 831"/>
                  <a:gd name="T91" fmla="*/ 367 h 1000"/>
                  <a:gd name="T92" fmla="*/ 686 w 831"/>
                  <a:gd name="T93" fmla="*/ 344 h 1000"/>
                  <a:gd name="T94" fmla="*/ 676 w 831"/>
                  <a:gd name="T95" fmla="*/ 319 h 1000"/>
                  <a:gd name="T96" fmla="*/ 667 w 831"/>
                  <a:gd name="T97" fmla="*/ 295 h 1000"/>
                  <a:gd name="T98" fmla="*/ 659 w 831"/>
                  <a:gd name="T99" fmla="*/ 270 h 1000"/>
                  <a:gd name="T100" fmla="*/ 652 w 831"/>
                  <a:gd name="T101" fmla="*/ 246 h 1000"/>
                  <a:gd name="T102" fmla="*/ 649 w 831"/>
                  <a:gd name="T103" fmla="*/ 233 h 1000"/>
                  <a:gd name="T104" fmla="*/ 646 w 831"/>
                  <a:gd name="T105" fmla="*/ 220 h 1000"/>
                  <a:gd name="T106" fmla="*/ 641 w 831"/>
                  <a:gd name="T107" fmla="*/ 195 h 100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31"/>
                  <a:gd name="T163" fmla="*/ 0 h 1000"/>
                  <a:gd name="T164" fmla="*/ 831 w 831"/>
                  <a:gd name="T165" fmla="*/ 1000 h 100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31" h="1000">
                    <a:moveTo>
                      <a:pt x="641" y="195"/>
                    </a:moveTo>
                    <a:lnTo>
                      <a:pt x="322" y="0"/>
                    </a:lnTo>
                    <a:lnTo>
                      <a:pt x="0" y="194"/>
                    </a:lnTo>
                    <a:lnTo>
                      <a:pt x="2" y="224"/>
                    </a:lnTo>
                    <a:lnTo>
                      <a:pt x="6" y="253"/>
                    </a:lnTo>
                    <a:lnTo>
                      <a:pt x="10" y="282"/>
                    </a:lnTo>
                    <a:lnTo>
                      <a:pt x="15" y="310"/>
                    </a:lnTo>
                    <a:lnTo>
                      <a:pt x="20" y="340"/>
                    </a:lnTo>
                    <a:lnTo>
                      <a:pt x="26" y="368"/>
                    </a:lnTo>
                    <a:lnTo>
                      <a:pt x="33" y="396"/>
                    </a:lnTo>
                    <a:lnTo>
                      <a:pt x="40" y="423"/>
                    </a:lnTo>
                    <a:lnTo>
                      <a:pt x="48" y="451"/>
                    </a:lnTo>
                    <a:lnTo>
                      <a:pt x="56" y="478"/>
                    </a:lnTo>
                    <a:lnTo>
                      <a:pt x="65" y="506"/>
                    </a:lnTo>
                    <a:lnTo>
                      <a:pt x="76" y="533"/>
                    </a:lnTo>
                    <a:lnTo>
                      <a:pt x="86" y="559"/>
                    </a:lnTo>
                    <a:lnTo>
                      <a:pt x="97" y="585"/>
                    </a:lnTo>
                    <a:lnTo>
                      <a:pt x="108" y="611"/>
                    </a:lnTo>
                    <a:lnTo>
                      <a:pt x="120" y="636"/>
                    </a:lnTo>
                    <a:lnTo>
                      <a:pt x="133" y="663"/>
                    </a:lnTo>
                    <a:lnTo>
                      <a:pt x="146" y="687"/>
                    </a:lnTo>
                    <a:lnTo>
                      <a:pt x="159" y="712"/>
                    </a:lnTo>
                    <a:lnTo>
                      <a:pt x="173" y="736"/>
                    </a:lnTo>
                    <a:lnTo>
                      <a:pt x="188" y="760"/>
                    </a:lnTo>
                    <a:lnTo>
                      <a:pt x="203" y="783"/>
                    </a:lnTo>
                    <a:lnTo>
                      <a:pt x="218" y="808"/>
                    </a:lnTo>
                    <a:lnTo>
                      <a:pt x="234" y="830"/>
                    </a:lnTo>
                    <a:lnTo>
                      <a:pt x="252" y="853"/>
                    </a:lnTo>
                    <a:lnTo>
                      <a:pt x="269" y="875"/>
                    </a:lnTo>
                    <a:lnTo>
                      <a:pt x="286" y="897"/>
                    </a:lnTo>
                    <a:lnTo>
                      <a:pt x="304" y="918"/>
                    </a:lnTo>
                    <a:lnTo>
                      <a:pt x="323" y="939"/>
                    </a:lnTo>
                    <a:lnTo>
                      <a:pt x="342" y="959"/>
                    </a:lnTo>
                    <a:lnTo>
                      <a:pt x="361" y="980"/>
                    </a:lnTo>
                    <a:lnTo>
                      <a:pt x="381" y="1000"/>
                    </a:lnTo>
                    <a:lnTo>
                      <a:pt x="479" y="619"/>
                    </a:lnTo>
                    <a:lnTo>
                      <a:pt x="831" y="550"/>
                    </a:lnTo>
                    <a:lnTo>
                      <a:pt x="813" y="532"/>
                    </a:lnTo>
                    <a:lnTo>
                      <a:pt x="796" y="514"/>
                    </a:lnTo>
                    <a:lnTo>
                      <a:pt x="780" y="495"/>
                    </a:lnTo>
                    <a:lnTo>
                      <a:pt x="764" y="474"/>
                    </a:lnTo>
                    <a:lnTo>
                      <a:pt x="749" y="454"/>
                    </a:lnTo>
                    <a:lnTo>
                      <a:pt x="735" y="433"/>
                    </a:lnTo>
                    <a:lnTo>
                      <a:pt x="722" y="411"/>
                    </a:lnTo>
                    <a:lnTo>
                      <a:pt x="708" y="389"/>
                    </a:lnTo>
                    <a:lnTo>
                      <a:pt x="696" y="367"/>
                    </a:lnTo>
                    <a:lnTo>
                      <a:pt x="686" y="344"/>
                    </a:lnTo>
                    <a:lnTo>
                      <a:pt x="676" y="319"/>
                    </a:lnTo>
                    <a:lnTo>
                      <a:pt x="667" y="295"/>
                    </a:lnTo>
                    <a:lnTo>
                      <a:pt x="659" y="270"/>
                    </a:lnTo>
                    <a:lnTo>
                      <a:pt x="652" y="246"/>
                    </a:lnTo>
                    <a:lnTo>
                      <a:pt x="649" y="233"/>
                    </a:lnTo>
                    <a:lnTo>
                      <a:pt x="646" y="220"/>
                    </a:lnTo>
                    <a:lnTo>
                      <a:pt x="641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90" name="Freeform 43"/>
              <p:cNvSpPr>
                <a:spLocks noChangeAspect="1"/>
              </p:cNvSpPr>
              <p:nvPr/>
            </p:nvSpPr>
            <p:spPr bwMode="auto">
              <a:xfrm>
                <a:off x="1840" y="1772"/>
                <a:ext cx="754" cy="872"/>
              </a:xfrm>
              <a:custGeom>
                <a:avLst/>
                <a:gdLst>
                  <a:gd name="T0" fmla="*/ 335 w 754"/>
                  <a:gd name="T1" fmla="*/ 675 h 872"/>
                  <a:gd name="T2" fmla="*/ 637 w 754"/>
                  <a:gd name="T3" fmla="*/ 849 h 872"/>
                  <a:gd name="T4" fmla="*/ 637 w 754"/>
                  <a:gd name="T5" fmla="*/ 826 h 872"/>
                  <a:gd name="T6" fmla="*/ 638 w 754"/>
                  <a:gd name="T7" fmla="*/ 787 h 872"/>
                  <a:gd name="T8" fmla="*/ 641 w 754"/>
                  <a:gd name="T9" fmla="*/ 750 h 872"/>
                  <a:gd name="T10" fmla="*/ 645 w 754"/>
                  <a:gd name="T11" fmla="*/ 724 h 872"/>
                  <a:gd name="T12" fmla="*/ 651 w 754"/>
                  <a:gd name="T13" fmla="*/ 687 h 872"/>
                  <a:gd name="T14" fmla="*/ 660 w 754"/>
                  <a:gd name="T15" fmla="*/ 651 h 872"/>
                  <a:gd name="T16" fmla="*/ 675 w 754"/>
                  <a:gd name="T17" fmla="*/ 605 h 872"/>
                  <a:gd name="T18" fmla="*/ 694 w 754"/>
                  <a:gd name="T19" fmla="*/ 559 h 872"/>
                  <a:gd name="T20" fmla="*/ 710 w 754"/>
                  <a:gd name="T21" fmla="*/ 527 h 872"/>
                  <a:gd name="T22" fmla="*/ 722 w 754"/>
                  <a:gd name="T23" fmla="*/ 506 h 872"/>
                  <a:gd name="T24" fmla="*/ 734 w 754"/>
                  <a:gd name="T25" fmla="*/ 485 h 872"/>
                  <a:gd name="T26" fmla="*/ 747 w 754"/>
                  <a:gd name="T27" fmla="*/ 465 h 872"/>
                  <a:gd name="T28" fmla="*/ 665 w 754"/>
                  <a:gd name="T29" fmla="*/ 91 h 872"/>
                  <a:gd name="T30" fmla="*/ 285 w 754"/>
                  <a:gd name="T31" fmla="*/ 21 h 872"/>
                  <a:gd name="T32" fmla="*/ 252 w 754"/>
                  <a:gd name="T33" fmla="*/ 64 h 872"/>
                  <a:gd name="T34" fmla="*/ 219 w 754"/>
                  <a:gd name="T35" fmla="*/ 109 h 872"/>
                  <a:gd name="T36" fmla="*/ 190 w 754"/>
                  <a:gd name="T37" fmla="*/ 155 h 872"/>
                  <a:gd name="T38" fmla="*/ 162 w 754"/>
                  <a:gd name="T39" fmla="*/ 202 h 872"/>
                  <a:gd name="T40" fmla="*/ 136 w 754"/>
                  <a:gd name="T41" fmla="*/ 251 h 872"/>
                  <a:gd name="T42" fmla="*/ 112 w 754"/>
                  <a:gd name="T43" fmla="*/ 301 h 872"/>
                  <a:gd name="T44" fmla="*/ 91 w 754"/>
                  <a:gd name="T45" fmla="*/ 352 h 872"/>
                  <a:gd name="T46" fmla="*/ 71 w 754"/>
                  <a:gd name="T47" fmla="*/ 404 h 872"/>
                  <a:gd name="T48" fmla="*/ 53 w 754"/>
                  <a:gd name="T49" fmla="*/ 458 h 872"/>
                  <a:gd name="T50" fmla="*/ 39 w 754"/>
                  <a:gd name="T51" fmla="*/ 512 h 872"/>
                  <a:gd name="T52" fmla="*/ 26 w 754"/>
                  <a:gd name="T53" fmla="*/ 567 h 872"/>
                  <a:gd name="T54" fmla="*/ 16 w 754"/>
                  <a:gd name="T55" fmla="*/ 623 h 872"/>
                  <a:gd name="T56" fmla="*/ 8 w 754"/>
                  <a:gd name="T57" fmla="*/ 680 h 872"/>
                  <a:gd name="T58" fmla="*/ 3 w 754"/>
                  <a:gd name="T59" fmla="*/ 737 h 872"/>
                  <a:gd name="T60" fmla="*/ 0 w 754"/>
                  <a:gd name="T61" fmla="*/ 796 h 872"/>
                  <a:gd name="T62" fmla="*/ 0 w 754"/>
                  <a:gd name="T63" fmla="*/ 837 h 872"/>
                  <a:gd name="T64" fmla="*/ 3 w 754"/>
                  <a:gd name="T65" fmla="*/ 871 h 8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4"/>
                  <a:gd name="T100" fmla="*/ 0 h 872"/>
                  <a:gd name="T101" fmla="*/ 754 w 754"/>
                  <a:gd name="T102" fmla="*/ 872 h 87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4" h="872">
                    <a:moveTo>
                      <a:pt x="3" y="871"/>
                    </a:moveTo>
                    <a:lnTo>
                      <a:pt x="335" y="675"/>
                    </a:lnTo>
                    <a:lnTo>
                      <a:pt x="639" y="872"/>
                    </a:lnTo>
                    <a:lnTo>
                      <a:pt x="637" y="849"/>
                    </a:lnTo>
                    <a:lnTo>
                      <a:pt x="637" y="837"/>
                    </a:lnTo>
                    <a:lnTo>
                      <a:pt x="637" y="826"/>
                    </a:lnTo>
                    <a:lnTo>
                      <a:pt x="637" y="800"/>
                    </a:lnTo>
                    <a:lnTo>
                      <a:pt x="638" y="787"/>
                    </a:lnTo>
                    <a:lnTo>
                      <a:pt x="639" y="775"/>
                    </a:lnTo>
                    <a:lnTo>
                      <a:pt x="641" y="750"/>
                    </a:lnTo>
                    <a:lnTo>
                      <a:pt x="643" y="736"/>
                    </a:lnTo>
                    <a:lnTo>
                      <a:pt x="645" y="724"/>
                    </a:lnTo>
                    <a:lnTo>
                      <a:pt x="649" y="699"/>
                    </a:lnTo>
                    <a:lnTo>
                      <a:pt x="651" y="687"/>
                    </a:lnTo>
                    <a:lnTo>
                      <a:pt x="654" y="675"/>
                    </a:lnTo>
                    <a:lnTo>
                      <a:pt x="660" y="651"/>
                    </a:lnTo>
                    <a:lnTo>
                      <a:pt x="667" y="628"/>
                    </a:lnTo>
                    <a:lnTo>
                      <a:pt x="675" y="605"/>
                    </a:lnTo>
                    <a:lnTo>
                      <a:pt x="684" y="581"/>
                    </a:lnTo>
                    <a:lnTo>
                      <a:pt x="694" y="559"/>
                    </a:lnTo>
                    <a:lnTo>
                      <a:pt x="704" y="537"/>
                    </a:lnTo>
                    <a:lnTo>
                      <a:pt x="710" y="527"/>
                    </a:lnTo>
                    <a:lnTo>
                      <a:pt x="715" y="516"/>
                    </a:lnTo>
                    <a:lnTo>
                      <a:pt x="722" y="506"/>
                    </a:lnTo>
                    <a:lnTo>
                      <a:pt x="728" y="495"/>
                    </a:lnTo>
                    <a:lnTo>
                      <a:pt x="734" y="485"/>
                    </a:lnTo>
                    <a:lnTo>
                      <a:pt x="741" y="475"/>
                    </a:lnTo>
                    <a:lnTo>
                      <a:pt x="747" y="465"/>
                    </a:lnTo>
                    <a:lnTo>
                      <a:pt x="754" y="455"/>
                    </a:lnTo>
                    <a:lnTo>
                      <a:pt x="665" y="91"/>
                    </a:lnTo>
                    <a:lnTo>
                      <a:pt x="302" y="0"/>
                    </a:lnTo>
                    <a:lnTo>
                      <a:pt x="285" y="21"/>
                    </a:lnTo>
                    <a:lnTo>
                      <a:pt x="268" y="42"/>
                    </a:lnTo>
                    <a:lnTo>
                      <a:pt x="252" y="64"/>
                    </a:lnTo>
                    <a:lnTo>
                      <a:pt x="235" y="86"/>
                    </a:lnTo>
                    <a:lnTo>
                      <a:pt x="219" y="109"/>
                    </a:lnTo>
                    <a:lnTo>
                      <a:pt x="204" y="132"/>
                    </a:lnTo>
                    <a:lnTo>
                      <a:pt x="190" y="155"/>
                    </a:lnTo>
                    <a:lnTo>
                      <a:pt x="175" y="178"/>
                    </a:lnTo>
                    <a:lnTo>
                      <a:pt x="162" y="202"/>
                    </a:lnTo>
                    <a:lnTo>
                      <a:pt x="149" y="226"/>
                    </a:lnTo>
                    <a:lnTo>
                      <a:pt x="136" y="251"/>
                    </a:lnTo>
                    <a:lnTo>
                      <a:pt x="124" y="276"/>
                    </a:lnTo>
                    <a:lnTo>
                      <a:pt x="112" y="301"/>
                    </a:lnTo>
                    <a:lnTo>
                      <a:pt x="101" y="326"/>
                    </a:lnTo>
                    <a:lnTo>
                      <a:pt x="91" y="352"/>
                    </a:lnTo>
                    <a:lnTo>
                      <a:pt x="81" y="378"/>
                    </a:lnTo>
                    <a:lnTo>
                      <a:pt x="71" y="404"/>
                    </a:lnTo>
                    <a:lnTo>
                      <a:pt x="62" y="431"/>
                    </a:lnTo>
                    <a:lnTo>
                      <a:pt x="53" y="458"/>
                    </a:lnTo>
                    <a:lnTo>
                      <a:pt x="46" y="485"/>
                    </a:lnTo>
                    <a:lnTo>
                      <a:pt x="39" y="512"/>
                    </a:lnTo>
                    <a:lnTo>
                      <a:pt x="32" y="539"/>
                    </a:lnTo>
                    <a:lnTo>
                      <a:pt x="26" y="567"/>
                    </a:lnTo>
                    <a:lnTo>
                      <a:pt x="21" y="595"/>
                    </a:lnTo>
                    <a:lnTo>
                      <a:pt x="16" y="623"/>
                    </a:lnTo>
                    <a:lnTo>
                      <a:pt x="12" y="652"/>
                    </a:lnTo>
                    <a:lnTo>
                      <a:pt x="8" y="680"/>
                    </a:lnTo>
                    <a:lnTo>
                      <a:pt x="5" y="709"/>
                    </a:lnTo>
                    <a:lnTo>
                      <a:pt x="3" y="737"/>
                    </a:lnTo>
                    <a:lnTo>
                      <a:pt x="1" y="767"/>
                    </a:lnTo>
                    <a:lnTo>
                      <a:pt x="0" y="796"/>
                    </a:lnTo>
                    <a:lnTo>
                      <a:pt x="0" y="826"/>
                    </a:lnTo>
                    <a:lnTo>
                      <a:pt x="0" y="837"/>
                    </a:lnTo>
                    <a:lnTo>
                      <a:pt x="1" y="848"/>
                    </a:lnTo>
                    <a:lnTo>
                      <a:pt x="3" y="871"/>
                    </a:lnTo>
                    <a:close/>
                  </a:path>
                </a:pathLst>
              </a:custGeom>
              <a:solidFill>
                <a:srgbClr val="EBA8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7" name="Oval 96"/>
            <p:cNvSpPr/>
            <p:nvPr/>
          </p:nvSpPr>
          <p:spPr>
            <a:xfrm>
              <a:off x="7855830" y="4291396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17797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kreis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farbig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3819079" y="1340768"/>
            <a:ext cx="2015999" cy="2016000"/>
            <a:chOff x="3819079" y="1340768"/>
            <a:chExt cx="2015999" cy="2016000"/>
          </a:xfrm>
        </p:grpSpPr>
        <p:sp>
          <p:nvSpPr>
            <p:cNvPr id="4" name="Oval 3"/>
            <p:cNvSpPr/>
            <p:nvPr/>
          </p:nvSpPr>
          <p:spPr>
            <a:xfrm>
              <a:off x="4440838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9" name="Gruppieren 50"/>
            <p:cNvGrpSpPr>
              <a:grpSpLocks/>
            </p:cNvGrpSpPr>
            <p:nvPr/>
          </p:nvGrpSpPr>
          <p:grpSpPr bwMode="auto">
            <a:xfrm>
              <a:off x="3819079" y="1340768"/>
              <a:ext cx="2015999" cy="2016000"/>
              <a:chOff x="2528626" y="1618488"/>
              <a:chExt cx="1881571" cy="2038372"/>
            </a:xfrm>
            <a:solidFill>
              <a:srgbClr val="2F52A0"/>
            </a:solidFill>
          </p:grpSpPr>
          <p:sp>
            <p:nvSpPr>
              <p:cNvPr id="50" name="Freeform 6"/>
              <p:cNvSpPr>
                <a:spLocks noChangeAspect="1"/>
              </p:cNvSpPr>
              <p:nvPr/>
            </p:nvSpPr>
            <p:spPr bwMode="auto">
              <a:xfrm>
                <a:off x="2700435" y="2914155"/>
                <a:ext cx="1572981" cy="742705"/>
              </a:xfrm>
              <a:custGeom>
                <a:avLst/>
                <a:gdLst>
                  <a:gd name="T0" fmla="*/ 2147483647 w 2140"/>
                  <a:gd name="T1" fmla="*/ 2147483647 h 932"/>
                  <a:gd name="T2" fmla="*/ 2147483647 w 2140"/>
                  <a:gd name="T3" fmla="*/ 2147483647 h 932"/>
                  <a:gd name="T4" fmla="*/ 2147483647 w 2140"/>
                  <a:gd name="T5" fmla="*/ 2147483647 h 932"/>
                  <a:gd name="T6" fmla="*/ 2147483647 w 2140"/>
                  <a:gd name="T7" fmla="*/ 2147483647 h 932"/>
                  <a:gd name="T8" fmla="*/ 2147483647 w 2140"/>
                  <a:gd name="T9" fmla="*/ 2147483647 h 932"/>
                  <a:gd name="T10" fmla="*/ 2147483647 w 2140"/>
                  <a:gd name="T11" fmla="*/ 2147483647 h 932"/>
                  <a:gd name="T12" fmla="*/ 2147483647 w 2140"/>
                  <a:gd name="T13" fmla="*/ 2147483647 h 932"/>
                  <a:gd name="T14" fmla="*/ 2147483647 w 2140"/>
                  <a:gd name="T15" fmla="*/ 2147483647 h 932"/>
                  <a:gd name="T16" fmla="*/ 2147483647 w 2140"/>
                  <a:gd name="T17" fmla="*/ 2147483647 h 932"/>
                  <a:gd name="T18" fmla="*/ 2147483647 w 2140"/>
                  <a:gd name="T19" fmla="*/ 2147483647 h 932"/>
                  <a:gd name="T20" fmla="*/ 2147483647 w 2140"/>
                  <a:gd name="T21" fmla="*/ 2147483647 h 932"/>
                  <a:gd name="T22" fmla="*/ 2147483647 w 2140"/>
                  <a:gd name="T23" fmla="*/ 2147483647 h 932"/>
                  <a:gd name="T24" fmla="*/ 2147483647 w 2140"/>
                  <a:gd name="T25" fmla="*/ 2147483647 h 932"/>
                  <a:gd name="T26" fmla="*/ 2147483647 w 2140"/>
                  <a:gd name="T27" fmla="*/ 2147483647 h 932"/>
                  <a:gd name="T28" fmla="*/ 2147483647 w 2140"/>
                  <a:gd name="T29" fmla="*/ 2147483647 h 932"/>
                  <a:gd name="T30" fmla="*/ 2147483647 w 2140"/>
                  <a:gd name="T31" fmla="*/ 2147483647 h 932"/>
                  <a:gd name="T32" fmla="*/ 2147483647 w 2140"/>
                  <a:gd name="T33" fmla="*/ 2147483647 h 932"/>
                  <a:gd name="T34" fmla="*/ 2147483647 w 2140"/>
                  <a:gd name="T35" fmla="*/ 2147483647 h 932"/>
                  <a:gd name="T36" fmla="*/ 2147483647 w 2140"/>
                  <a:gd name="T37" fmla="*/ 2147483647 h 932"/>
                  <a:gd name="T38" fmla="*/ 2147483647 w 2140"/>
                  <a:gd name="T39" fmla="*/ 2147483647 h 932"/>
                  <a:gd name="T40" fmla="*/ 2147483647 w 2140"/>
                  <a:gd name="T41" fmla="*/ 2147483647 h 932"/>
                  <a:gd name="T42" fmla="*/ 2147483647 w 2140"/>
                  <a:gd name="T43" fmla="*/ 2147483647 h 932"/>
                  <a:gd name="T44" fmla="*/ 2147483647 w 2140"/>
                  <a:gd name="T45" fmla="*/ 2147483647 h 932"/>
                  <a:gd name="T46" fmla="*/ 2147483647 w 2140"/>
                  <a:gd name="T47" fmla="*/ 2147483647 h 932"/>
                  <a:gd name="T48" fmla="*/ 2147483647 w 2140"/>
                  <a:gd name="T49" fmla="*/ 2147483647 h 932"/>
                  <a:gd name="T50" fmla="*/ 2147483647 w 2140"/>
                  <a:gd name="T51" fmla="*/ 2147483647 h 932"/>
                  <a:gd name="T52" fmla="*/ 2147483647 w 2140"/>
                  <a:gd name="T53" fmla="*/ 2147483647 h 932"/>
                  <a:gd name="T54" fmla="*/ 2147483647 w 2140"/>
                  <a:gd name="T55" fmla="*/ 2147483647 h 932"/>
                  <a:gd name="T56" fmla="*/ 2147483647 w 2140"/>
                  <a:gd name="T57" fmla="*/ 2147483647 h 932"/>
                  <a:gd name="T58" fmla="*/ 2147483647 w 2140"/>
                  <a:gd name="T59" fmla="*/ 2147483647 h 932"/>
                  <a:gd name="T60" fmla="*/ 2147483647 w 2140"/>
                  <a:gd name="T61" fmla="*/ 2147483647 h 932"/>
                  <a:gd name="T62" fmla="*/ 2147483647 w 2140"/>
                  <a:gd name="T63" fmla="*/ 2147483647 h 932"/>
                  <a:gd name="T64" fmla="*/ 2147483647 w 2140"/>
                  <a:gd name="T65" fmla="*/ 2147483647 h 932"/>
                  <a:gd name="T66" fmla="*/ 2147483647 w 2140"/>
                  <a:gd name="T67" fmla="*/ 2147483647 h 932"/>
                  <a:gd name="T68" fmla="*/ 2147483647 w 2140"/>
                  <a:gd name="T69" fmla="*/ 2147483647 h 932"/>
                  <a:gd name="T70" fmla="*/ 2147483647 w 2140"/>
                  <a:gd name="T71" fmla="*/ 2147483647 h 932"/>
                  <a:gd name="T72" fmla="*/ 2147483647 w 2140"/>
                  <a:gd name="T73" fmla="*/ 2147483647 h 932"/>
                  <a:gd name="T74" fmla="*/ 2147483647 w 2140"/>
                  <a:gd name="T75" fmla="*/ 2147483647 h 932"/>
                  <a:gd name="T76" fmla="*/ 2147483647 w 2140"/>
                  <a:gd name="T77" fmla="*/ 2147483647 h 932"/>
                  <a:gd name="T78" fmla="*/ 2147483647 w 2140"/>
                  <a:gd name="T79" fmla="*/ 2147483647 h 932"/>
                  <a:gd name="T80" fmla="*/ 2147483647 w 2140"/>
                  <a:gd name="T81" fmla="*/ 2147483647 h 932"/>
                  <a:gd name="T82" fmla="*/ 2147483647 w 2140"/>
                  <a:gd name="T83" fmla="*/ 2147483647 h 932"/>
                  <a:gd name="T84" fmla="*/ 2147483647 w 2140"/>
                  <a:gd name="T85" fmla="*/ 2147483647 h 932"/>
                  <a:gd name="T86" fmla="*/ 2147483647 w 2140"/>
                  <a:gd name="T87" fmla="*/ 2147483647 h 932"/>
                  <a:gd name="T88" fmla="*/ 2147483647 w 2140"/>
                  <a:gd name="T89" fmla="*/ 2147483647 h 932"/>
                  <a:gd name="T90" fmla="*/ 2147483647 w 2140"/>
                  <a:gd name="T91" fmla="*/ 2147483647 h 932"/>
                  <a:gd name="T92" fmla="*/ 2147483647 w 2140"/>
                  <a:gd name="T93" fmla="*/ 2147483647 h 932"/>
                  <a:gd name="T94" fmla="*/ 2147483647 w 2140"/>
                  <a:gd name="T95" fmla="*/ 2147483647 h 932"/>
                  <a:gd name="T96" fmla="*/ 2147483647 w 2140"/>
                  <a:gd name="T97" fmla="*/ 2147483647 h 932"/>
                  <a:gd name="T98" fmla="*/ 2147483647 w 2140"/>
                  <a:gd name="T99" fmla="*/ 2147483647 h 932"/>
                  <a:gd name="T100" fmla="*/ 2147483647 w 2140"/>
                  <a:gd name="T101" fmla="*/ 2147483647 h 932"/>
                  <a:gd name="T102" fmla="*/ 2147483647 w 2140"/>
                  <a:gd name="T103" fmla="*/ 2147483647 h 93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140"/>
                  <a:gd name="T157" fmla="*/ 0 h 932"/>
                  <a:gd name="T158" fmla="*/ 2140 w 2140"/>
                  <a:gd name="T159" fmla="*/ 932 h 93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140" h="932">
                    <a:moveTo>
                      <a:pt x="1047" y="296"/>
                    </a:moveTo>
                    <a:lnTo>
                      <a:pt x="1068" y="295"/>
                    </a:lnTo>
                    <a:lnTo>
                      <a:pt x="1089" y="295"/>
                    </a:lnTo>
                    <a:lnTo>
                      <a:pt x="1109" y="293"/>
                    </a:lnTo>
                    <a:lnTo>
                      <a:pt x="1120" y="292"/>
                    </a:lnTo>
                    <a:lnTo>
                      <a:pt x="1131" y="291"/>
                    </a:lnTo>
                    <a:lnTo>
                      <a:pt x="1151" y="288"/>
                    </a:lnTo>
                    <a:lnTo>
                      <a:pt x="1171" y="285"/>
                    </a:lnTo>
                    <a:lnTo>
                      <a:pt x="1191" y="280"/>
                    </a:lnTo>
                    <a:lnTo>
                      <a:pt x="1211" y="276"/>
                    </a:lnTo>
                    <a:lnTo>
                      <a:pt x="1231" y="270"/>
                    </a:lnTo>
                    <a:lnTo>
                      <a:pt x="1250" y="264"/>
                    </a:lnTo>
                    <a:lnTo>
                      <a:pt x="1269" y="258"/>
                    </a:lnTo>
                    <a:lnTo>
                      <a:pt x="1288" y="250"/>
                    </a:lnTo>
                    <a:lnTo>
                      <a:pt x="1307" y="243"/>
                    </a:lnTo>
                    <a:lnTo>
                      <a:pt x="1325" y="234"/>
                    </a:lnTo>
                    <a:lnTo>
                      <a:pt x="1334" y="230"/>
                    </a:lnTo>
                    <a:lnTo>
                      <a:pt x="1342" y="225"/>
                    </a:lnTo>
                    <a:lnTo>
                      <a:pt x="1360" y="216"/>
                    </a:lnTo>
                    <a:lnTo>
                      <a:pt x="1377" y="205"/>
                    </a:lnTo>
                    <a:lnTo>
                      <a:pt x="1394" y="195"/>
                    </a:lnTo>
                    <a:lnTo>
                      <a:pt x="1410" y="184"/>
                    </a:lnTo>
                    <a:lnTo>
                      <a:pt x="1426" y="172"/>
                    </a:lnTo>
                    <a:lnTo>
                      <a:pt x="1442" y="160"/>
                    </a:lnTo>
                    <a:lnTo>
                      <a:pt x="1458" y="148"/>
                    </a:lnTo>
                    <a:lnTo>
                      <a:pt x="1473" y="135"/>
                    </a:lnTo>
                    <a:lnTo>
                      <a:pt x="1488" y="122"/>
                    </a:lnTo>
                    <a:lnTo>
                      <a:pt x="1502" y="108"/>
                    </a:lnTo>
                    <a:lnTo>
                      <a:pt x="1515" y="94"/>
                    </a:lnTo>
                    <a:lnTo>
                      <a:pt x="1529" y="79"/>
                    </a:lnTo>
                    <a:lnTo>
                      <a:pt x="1541" y="64"/>
                    </a:lnTo>
                    <a:lnTo>
                      <a:pt x="1554" y="48"/>
                    </a:lnTo>
                    <a:lnTo>
                      <a:pt x="1566" y="32"/>
                    </a:lnTo>
                    <a:lnTo>
                      <a:pt x="1577" y="16"/>
                    </a:lnTo>
                    <a:lnTo>
                      <a:pt x="1588" y="0"/>
                    </a:lnTo>
                    <a:lnTo>
                      <a:pt x="1730" y="322"/>
                    </a:lnTo>
                    <a:lnTo>
                      <a:pt x="2140" y="319"/>
                    </a:lnTo>
                    <a:lnTo>
                      <a:pt x="2119" y="353"/>
                    </a:lnTo>
                    <a:lnTo>
                      <a:pt x="2108" y="369"/>
                    </a:lnTo>
                    <a:lnTo>
                      <a:pt x="2096" y="387"/>
                    </a:lnTo>
                    <a:lnTo>
                      <a:pt x="2072" y="419"/>
                    </a:lnTo>
                    <a:lnTo>
                      <a:pt x="2047" y="451"/>
                    </a:lnTo>
                    <a:lnTo>
                      <a:pt x="2035" y="466"/>
                    </a:lnTo>
                    <a:lnTo>
                      <a:pt x="2022" y="482"/>
                    </a:lnTo>
                    <a:lnTo>
                      <a:pt x="2009" y="497"/>
                    </a:lnTo>
                    <a:lnTo>
                      <a:pt x="1995" y="512"/>
                    </a:lnTo>
                    <a:lnTo>
                      <a:pt x="1968" y="542"/>
                    </a:lnTo>
                    <a:lnTo>
                      <a:pt x="1940" y="570"/>
                    </a:lnTo>
                    <a:lnTo>
                      <a:pt x="1910" y="597"/>
                    </a:lnTo>
                    <a:lnTo>
                      <a:pt x="1895" y="611"/>
                    </a:lnTo>
                    <a:lnTo>
                      <a:pt x="1880" y="624"/>
                    </a:lnTo>
                    <a:lnTo>
                      <a:pt x="1864" y="637"/>
                    </a:lnTo>
                    <a:lnTo>
                      <a:pt x="1849" y="650"/>
                    </a:lnTo>
                    <a:lnTo>
                      <a:pt x="1817" y="674"/>
                    </a:lnTo>
                    <a:lnTo>
                      <a:pt x="1785" y="699"/>
                    </a:lnTo>
                    <a:lnTo>
                      <a:pt x="1751" y="721"/>
                    </a:lnTo>
                    <a:lnTo>
                      <a:pt x="1717" y="743"/>
                    </a:lnTo>
                    <a:lnTo>
                      <a:pt x="1683" y="763"/>
                    </a:lnTo>
                    <a:lnTo>
                      <a:pt x="1647" y="783"/>
                    </a:lnTo>
                    <a:lnTo>
                      <a:pt x="1629" y="792"/>
                    </a:lnTo>
                    <a:lnTo>
                      <a:pt x="1611" y="801"/>
                    </a:lnTo>
                    <a:lnTo>
                      <a:pt x="1592" y="810"/>
                    </a:lnTo>
                    <a:lnTo>
                      <a:pt x="1574" y="819"/>
                    </a:lnTo>
                    <a:lnTo>
                      <a:pt x="1555" y="827"/>
                    </a:lnTo>
                    <a:lnTo>
                      <a:pt x="1537" y="835"/>
                    </a:lnTo>
                    <a:lnTo>
                      <a:pt x="1518" y="842"/>
                    </a:lnTo>
                    <a:lnTo>
                      <a:pt x="1499" y="850"/>
                    </a:lnTo>
                    <a:lnTo>
                      <a:pt x="1480" y="858"/>
                    </a:lnTo>
                    <a:lnTo>
                      <a:pt x="1460" y="864"/>
                    </a:lnTo>
                    <a:lnTo>
                      <a:pt x="1440" y="871"/>
                    </a:lnTo>
                    <a:lnTo>
                      <a:pt x="1421" y="877"/>
                    </a:lnTo>
                    <a:lnTo>
                      <a:pt x="1401" y="883"/>
                    </a:lnTo>
                    <a:lnTo>
                      <a:pt x="1381" y="888"/>
                    </a:lnTo>
                    <a:lnTo>
                      <a:pt x="1361" y="893"/>
                    </a:lnTo>
                    <a:lnTo>
                      <a:pt x="1341" y="898"/>
                    </a:lnTo>
                    <a:lnTo>
                      <a:pt x="1321" y="903"/>
                    </a:lnTo>
                    <a:lnTo>
                      <a:pt x="1301" y="907"/>
                    </a:lnTo>
                    <a:lnTo>
                      <a:pt x="1279" y="911"/>
                    </a:lnTo>
                    <a:lnTo>
                      <a:pt x="1259" y="915"/>
                    </a:lnTo>
                    <a:lnTo>
                      <a:pt x="1217" y="921"/>
                    </a:lnTo>
                    <a:lnTo>
                      <a:pt x="1196" y="924"/>
                    </a:lnTo>
                    <a:lnTo>
                      <a:pt x="1175" y="926"/>
                    </a:lnTo>
                    <a:lnTo>
                      <a:pt x="1154" y="928"/>
                    </a:lnTo>
                    <a:lnTo>
                      <a:pt x="1133" y="929"/>
                    </a:lnTo>
                    <a:lnTo>
                      <a:pt x="1111" y="931"/>
                    </a:lnTo>
                    <a:lnTo>
                      <a:pt x="1090" y="931"/>
                    </a:lnTo>
                    <a:lnTo>
                      <a:pt x="1047" y="932"/>
                    </a:lnTo>
                    <a:lnTo>
                      <a:pt x="1007" y="932"/>
                    </a:lnTo>
                    <a:lnTo>
                      <a:pt x="967" y="930"/>
                    </a:lnTo>
                    <a:lnTo>
                      <a:pt x="946" y="928"/>
                    </a:lnTo>
                    <a:lnTo>
                      <a:pt x="926" y="927"/>
                    </a:lnTo>
                    <a:lnTo>
                      <a:pt x="887" y="922"/>
                    </a:lnTo>
                    <a:lnTo>
                      <a:pt x="867" y="920"/>
                    </a:lnTo>
                    <a:lnTo>
                      <a:pt x="848" y="917"/>
                    </a:lnTo>
                    <a:lnTo>
                      <a:pt x="810" y="910"/>
                    </a:lnTo>
                    <a:lnTo>
                      <a:pt x="771" y="903"/>
                    </a:lnTo>
                    <a:lnTo>
                      <a:pt x="733" y="894"/>
                    </a:lnTo>
                    <a:lnTo>
                      <a:pt x="714" y="889"/>
                    </a:lnTo>
                    <a:lnTo>
                      <a:pt x="696" y="884"/>
                    </a:lnTo>
                    <a:lnTo>
                      <a:pt x="659" y="873"/>
                    </a:lnTo>
                    <a:lnTo>
                      <a:pt x="640" y="867"/>
                    </a:lnTo>
                    <a:lnTo>
                      <a:pt x="622" y="861"/>
                    </a:lnTo>
                    <a:lnTo>
                      <a:pt x="586" y="847"/>
                    </a:lnTo>
                    <a:lnTo>
                      <a:pt x="551" y="833"/>
                    </a:lnTo>
                    <a:lnTo>
                      <a:pt x="516" y="818"/>
                    </a:lnTo>
                    <a:lnTo>
                      <a:pt x="481" y="801"/>
                    </a:lnTo>
                    <a:lnTo>
                      <a:pt x="448" y="784"/>
                    </a:lnTo>
                    <a:lnTo>
                      <a:pt x="415" y="766"/>
                    </a:lnTo>
                    <a:lnTo>
                      <a:pt x="382" y="747"/>
                    </a:lnTo>
                    <a:lnTo>
                      <a:pt x="351" y="727"/>
                    </a:lnTo>
                    <a:lnTo>
                      <a:pt x="318" y="706"/>
                    </a:lnTo>
                    <a:lnTo>
                      <a:pt x="303" y="696"/>
                    </a:lnTo>
                    <a:lnTo>
                      <a:pt x="288" y="684"/>
                    </a:lnTo>
                    <a:lnTo>
                      <a:pt x="258" y="661"/>
                    </a:lnTo>
                    <a:lnTo>
                      <a:pt x="229" y="638"/>
                    </a:lnTo>
                    <a:lnTo>
                      <a:pt x="201" y="613"/>
                    </a:lnTo>
                    <a:lnTo>
                      <a:pt x="173" y="588"/>
                    </a:lnTo>
                    <a:lnTo>
                      <a:pt x="145" y="562"/>
                    </a:lnTo>
                    <a:lnTo>
                      <a:pt x="119" y="536"/>
                    </a:lnTo>
                    <a:lnTo>
                      <a:pt x="94" y="507"/>
                    </a:lnTo>
                    <a:lnTo>
                      <a:pt x="69" y="479"/>
                    </a:lnTo>
                    <a:lnTo>
                      <a:pt x="46" y="450"/>
                    </a:lnTo>
                    <a:lnTo>
                      <a:pt x="23" y="421"/>
                    </a:lnTo>
                    <a:lnTo>
                      <a:pt x="0" y="390"/>
                    </a:lnTo>
                    <a:lnTo>
                      <a:pt x="177" y="51"/>
                    </a:lnTo>
                    <a:lnTo>
                      <a:pt x="365" y="62"/>
                    </a:lnTo>
                    <a:lnTo>
                      <a:pt x="495" y="69"/>
                    </a:lnTo>
                    <a:lnTo>
                      <a:pt x="537" y="72"/>
                    </a:lnTo>
                    <a:lnTo>
                      <a:pt x="554" y="73"/>
                    </a:lnTo>
                    <a:lnTo>
                      <a:pt x="578" y="97"/>
                    </a:lnTo>
                    <a:lnTo>
                      <a:pt x="603" y="120"/>
                    </a:lnTo>
                    <a:lnTo>
                      <a:pt x="627" y="142"/>
                    </a:lnTo>
                    <a:lnTo>
                      <a:pt x="640" y="152"/>
                    </a:lnTo>
                    <a:lnTo>
                      <a:pt x="654" y="162"/>
                    </a:lnTo>
                    <a:lnTo>
                      <a:pt x="666" y="172"/>
                    </a:lnTo>
                    <a:lnTo>
                      <a:pt x="679" y="182"/>
                    </a:lnTo>
                    <a:lnTo>
                      <a:pt x="693" y="191"/>
                    </a:lnTo>
                    <a:lnTo>
                      <a:pt x="706" y="200"/>
                    </a:lnTo>
                    <a:lnTo>
                      <a:pt x="734" y="217"/>
                    </a:lnTo>
                    <a:lnTo>
                      <a:pt x="748" y="225"/>
                    </a:lnTo>
                    <a:lnTo>
                      <a:pt x="762" y="233"/>
                    </a:lnTo>
                    <a:lnTo>
                      <a:pt x="777" y="240"/>
                    </a:lnTo>
                    <a:lnTo>
                      <a:pt x="792" y="246"/>
                    </a:lnTo>
                    <a:lnTo>
                      <a:pt x="809" y="253"/>
                    </a:lnTo>
                    <a:lnTo>
                      <a:pt x="824" y="259"/>
                    </a:lnTo>
                    <a:lnTo>
                      <a:pt x="840" y="264"/>
                    </a:lnTo>
                    <a:lnTo>
                      <a:pt x="857" y="269"/>
                    </a:lnTo>
                    <a:lnTo>
                      <a:pt x="874" y="274"/>
                    </a:lnTo>
                    <a:lnTo>
                      <a:pt x="891" y="278"/>
                    </a:lnTo>
                    <a:lnTo>
                      <a:pt x="909" y="282"/>
                    </a:lnTo>
                    <a:lnTo>
                      <a:pt x="927" y="285"/>
                    </a:lnTo>
                    <a:lnTo>
                      <a:pt x="945" y="288"/>
                    </a:lnTo>
                    <a:lnTo>
                      <a:pt x="964" y="291"/>
                    </a:lnTo>
                    <a:lnTo>
                      <a:pt x="985" y="293"/>
                    </a:lnTo>
                    <a:lnTo>
                      <a:pt x="1005" y="294"/>
                    </a:lnTo>
                    <a:lnTo>
                      <a:pt x="1026" y="295"/>
                    </a:lnTo>
                    <a:lnTo>
                      <a:pt x="1047" y="296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1" name="Freeform 7"/>
              <p:cNvSpPr>
                <a:spLocks noChangeAspect="1"/>
              </p:cNvSpPr>
              <p:nvPr/>
            </p:nvSpPr>
            <p:spPr bwMode="auto">
              <a:xfrm>
                <a:off x="2528626" y="1618488"/>
                <a:ext cx="1050878" cy="1561305"/>
              </a:xfrm>
              <a:custGeom>
                <a:avLst/>
                <a:gdLst>
                  <a:gd name="T0" fmla="*/ 2147483647 w 1431"/>
                  <a:gd name="T1" fmla="*/ 2147483647 h 1961"/>
                  <a:gd name="T2" fmla="*/ 2147483647 w 1431"/>
                  <a:gd name="T3" fmla="*/ 2147483647 h 1961"/>
                  <a:gd name="T4" fmla="*/ 2147483647 w 1431"/>
                  <a:gd name="T5" fmla="*/ 2147483647 h 1961"/>
                  <a:gd name="T6" fmla="*/ 2147483647 w 1431"/>
                  <a:gd name="T7" fmla="*/ 2147483647 h 1961"/>
                  <a:gd name="T8" fmla="*/ 2147483647 w 1431"/>
                  <a:gd name="T9" fmla="*/ 2147483647 h 1961"/>
                  <a:gd name="T10" fmla="*/ 2147483647 w 1431"/>
                  <a:gd name="T11" fmla="*/ 2147483647 h 1961"/>
                  <a:gd name="T12" fmla="*/ 2147483647 w 1431"/>
                  <a:gd name="T13" fmla="*/ 2147483647 h 1961"/>
                  <a:gd name="T14" fmla="*/ 2147483647 w 1431"/>
                  <a:gd name="T15" fmla="*/ 2147483647 h 1961"/>
                  <a:gd name="T16" fmla="*/ 2147483647 w 1431"/>
                  <a:gd name="T17" fmla="*/ 2147483647 h 1961"/>
                  <a:gd name="T18" fmla="*/ 2147483647 w 1431"/>
                  <a:gd name="T19" fmla="*/ 2147483647 h 1961"/>
                  <a:gd name="T20" fmla="*/ 2147483647 w 1431"/>
                  <a:gd name="T21" fmla="*/ 2147483647 h 1961"/>
                  <a:gd name="T22" fmla="*/ 2147483647 w 1431"/>
                  <a:gd name="T23" fmla="*/ 2147483647 h 1961"/>
                  <a:gd name="T24" fmla="*/ 2147483647 w 1431"/>
                  <a:gd name="T25" fmla="*/ 2147483647 h 1961"/>
                  <a:gd name="T26" fmla="*/ 2147483647 w 1431"/>
                  <a:gd name="T27" fmla="*/ 2147483647 h 1961"/>
                  <a:gd name="T28" fmla="*/ 2147483647 w 1431"/>
                  <a:gd name="T29" fmla="*/ 2147483647 h 1961"/>
                  <a:gd name="T30" fmla="*/ 2147483647 w 1431"/>
                  <a:gd name="T31" fmla="*/ 2147483647 h 1961"/>
                  <a:gd name="T32" fmla="*/ 2147483647 w 1431"/>
                  <a:gd name="T33" fmla="*/ 2147483647 h 1961"/>
                  <a:gd name="T34" fmla="*/ 2147483647 w 1431"/>
                  <a:gd name="T35" fmla="*/ 2147483647 h 1961"/>
                  <a:gd name="T36" fmla="*/ 2147483647 w 1431"/>
                  <a:gd name="T37" fmla="*/ 2147483647 h 1961"/>
                  <a:gd name="T38" fmla="*/ 2147483647 w 1431"/>
                  <a:gd name="T39" fmla="*/ 2147483647 h 1961"/>
                  <a:gd name="T40" fmla="*/ 2147483647 w 1431"/>
                  <a:gd name="T41" fmla="*/ 2147483647 h 1961"/>
                  <a:gd name="T42" fmla="*/ 2147483647 w 1431"/>
                  <a:gd name="T43" fmla="*/ 2147483647 h 1961"/>
                  <a:gd name="T44" fmla="*/ 2147483647 w 1431"/>
                  <a:gd name="T45" fmla="*/ 2147483647 h 1961"/>
                  <a:gd name="T46" fmla="*/ 2147483647 w 1431"/>
                  <a:gd name="T47" fmla="*/ 2147483647 h 1961"/>
                  <a:gd name="T48" fmla="*/ 2147483647 w 1431"/>
                  <a:gd name="T49" fmla="*/ 2147483647 h 1961"/>
                  <a:gd name="T50" fmla="*/ 2147483647 w 1431"/>
                  <a:gd name="T51" fmla="*/ 2147483647 h 1961"/>
                  <a:gd name="T52" fmla="*/ 2147483647 w 1431"/>
                  <a:gd name="T53" fmla="*/ 2147483647 h 1961"/>
                  <a:gd name="T54" fmla="*/ 2147483647 w 1431"/>
                  <a:gd name="T55" fmla="*/ 2147483647 h 1961"/>
                  <a:gd name="T56" fmla="*/ 2147483647 w 1431"/>
                  <a:gd name="T57" fmla="*/ 2147483647 h 1961"/>
                  <a:gd name="T58" fmla="*/ 2147483647 w 1431"/>
                  <a:gd name="T59" fmla="*/ 2147483647 h 1961"/>
                  <a:gd name="T60" fmla="*/ 2147483647 w 1431"/>
                  <a:gd name="T61" fmla="*/ 2147483647 h 1961"/>
                  <a:gd name="T62" fmla="*/ 2147483647 w 1431"/>
                  <a:gd name="T63" fmla="*/ 2147483647 h 1961"/>
                  <a:gd name="T64" fmla="*/ 2147483647 w 1431"/>
                  <a:gd name="T65" fmla="*/ 2147483647 h 1961"/>
                  <a:gd name="T66" fmla="*/ 2147483647 w 1431"/>
                  <a:gd name="T67" fmla="*/ 2147483647 h 1961"/>
                  <a:gd name="T68" fmla="*/ 2147483647 w 1431"/>
                  <a:gd name="T69" fmla="*/ 2147483647 h 1961"/>
                  <a:gd name="T70" fmla="*/ 2147483647 w 1431"/>
                  <a:gd name="T71" fmla="*/ 2147483647 h 1961"/>
                  <a:gd name="T72" fmla="*/ 2147483647 w 1431"/>
                  <a:gd name="T73" fmla="*/ 2147483647 h 1961"/>
                  <a:gd name="T74" fmla="*/ 2147483647 w 1431"/>
                  <a:gd name="T75" fmla="*/ 2147483647 h 1961"/>
                  <a:gd name="T76" fmla="*/ 2147483647 w 1431"/>
                  <a:gd name="T77" fmla="*/ 2147483647 h 1961"/>
                  <a:gd name="T78" fmla="*/ 2147483647 w 1431"/>
                  <a:gd name="T79" fmla="*/ 2147483647 h 1961"/>
                  <a:gd name="T80" fmla="*/ 2147483647 w 1431"/>
                  <a:gd name="T81" fmla="*/ 2147483647 h 1961"/>
                  <a:gd name="T82" fmla="*/ 2147483647 w 1431"/>
                  <a:gd name="T83" fmla="*/ 2147483647 h 1961"/>
                  <a:gd name="T84" fmla="*/ 2147483647 w 1431"/>
                  <a:gd name="T85" fmla="*/ 2147483647 h 1961"/>
                  <a:gd name="T86" fmla="*/ 2147483647 w 1431"/>
                  <a:gd name="T87" fmla="*/ 2147483647 h 1961"/>
                  <a:gd name="T88" fmla="*/ 2147483647 w 1431"/>
                  <a:gd name="T89" fmla="*/ 2147483647 h 1961"/>
                  <a:gd name="T90" fmla="*/ 2147483647 w 1431"/>
                  <a:gd name="T91" fmla="*/ 2147483647 h 1961"/>
                  <a:gd name="T92" fmla="*/ 2147483647 w 1431"/>
                  <a:gd name="T93" fmla="*/ 2147483647 h 1961"/>
                  <a:gd name="T94" fmla="*/ 2147483647 w 1431"/>
                  <a:gd name="T95" fmla="*/ 2147483647 h 1961"/>
                  <a:gd name="T96" fmla="*/ 2147483647 w 1431"/>
                  <a:gd name="T97" fmla="*/ 2147483647 h 1961"/>
                  <a:gd name="T98" fmla="*/ 2147483647 w 1431"/>
                  <a:gd name="T99" fmla="*/ 2147483647 h 1961"/>
                  <a:gd name="T100" fmla="*/ 2147483647 w 1431"/>
                  <a:gd name="T101" fmla="*/ 2147483647 h 1961"/>
                  <a:gd name="T102" fmla="*/ 2147483647 w 1431"/>
                  <a:gd name="T103" fmla="*/ 2147483647 h 1961"/>
                  <a:gd name="T104" fmla="*/ 2147483647 w 1431"/>
                  <a:gd name="T105" fmla="*/ 2147483647 h 1961"/>
                  <a:gd name="T106" fmla="*/ 2147483647 w 1431"/>
                  <a:gd name="T107" fmla="*/ 2147483647 h 1961"/>
                  <a:gd name="T108" fmla="*/ 2147483647 w 1431"/>
                  <a:gd name="T109" fmla="*/ 2147483647 h 196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31"/>
                  <a:gd name="T166" fmla="*/ 0 h 1961"/>
                  <a:gd name="T167" fmla="*/ 1431 w 1431"/>
                  <a:gd name="T168" fmla="*/ 1961 h 196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31" h="1961">
                    <a:moveTo>
                      <a:pt x="196" y="1961"/>
                    </a:moveTo>
                    <a:lnTo>
                      <a:pt x="384" y="1617"/>
                    </a:lnTo>
                    <a:lnTo>
                      <a:pt x="750" y="1645"/>
                    </a:lnTo>
                    <a:lnTo>
                      <a:pt x="737" y="1625"/>
                    </a:lnTo>
                    <a:lnTo>
                      <a:pt x="725" y="1605"/>
                    </a:lnTo>
                    <a:lnTo>
                      <a:pt x="713" y="1584"/>
                    </a:lnTo>
                    <a:lnTo>
                      <a:pt x="702" y="1563"/>
                    </a:lnTo>
                    <a:lnTo>
                      <a:pt x="692" y="1542"/>
                    </a:lnTo>
                    <a:lnTo>
                      <a:pt x="683" y="1519"/>
                    </a:lnTo>
                    <a:lnTo>
                      <a:pt x="674" y="1497"/>
                    </a:lnTo>
                    <a:lnTo>
                      <a:pt x="666" y="1474"/>
                    </a:lnTo>
                    <a:lnTo>
                      <a:pt x="660" y="1451"/>
                    </a:lnTo>
                    <a:lnTo>
                      <a:pt x="654" y="1427"/>
                    </a:lnTo>
                    <a:lnTo>
                      <a:pt x="649" y="1404"/>
                    </a:lnTo>
                    <a:lnTo>
                      <a:pt x="644" y="1380"/>
                    </a:lnTo>
                    <a:lnTo>
                      <a:pt x="641" y="1354"/>
                    </a:lnTo>
                    <a:lnTo>
                      <a:pt x="639" y="1330"/>
                    </a:lnTo>
                    <a:lnTo>
                      <a:pt x="637" y="1305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5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3"/>
                    </a:lnTo>
                    <a:lnTo>
                      <a:pt x="683" y="1038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3" y="957"/>
                    </a:lnTo>
                    <a:lnTo>
                      <a:pt x="731" y="945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8"/>
                    </a:lnTo>
                    <a:lnTo>
                      <a:pt x="764" y="896"/>
                    </a:lnTo>
                    <a:lnTo>
                      <a:pt x="773" y="884"/>
                    </a:lnTo>
                    <a:lnTo>
                      <a:pt x="782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65" y="78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0" y="727"/>
                    </a:lnTo>
                    <a:lnTo>
                      <a:pt x="976" y="712"/>
                    </a:lnTo>
                    <a:lnTo>
                      <a:pt x="989" y="705"/>
                    </a:lnTo>
                    <a:lnTo>
                      <a:pt x="1003" y="698"/>
                    </a:lnTo>
                    <a:lnTo>
                      <a:pt x="1016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7" y="665"/>
                    </a:lnTo>
                    <a:lnTo>
                      <a:pt x="1116" y="657"/>
                    </a:lnTo>
                    <a:lnTo>
                      <a:pt x="1131" y="653"/>
                    </a:lnTo>
                    <a:lnTo>
                      <a:pt x="1146" y="650"/>
                    </a:lnTo>
                    <a:lnTo>
                      <a:pt x="1176" y="644"/>
                    </a:lnTo>
                    <a:lnTo>
                      <a:pt x="1191" y="642"/>
                    </a:lnTo>
                    <a:lnTo>
                      <a:pt x="1208" y="640"/>
                    </a:lnTo>
                    <a:lnTo>
                      <a:pt x="1223" y="638"/>
                    </a:lnTo>
                    <a:lnTo>
                      <a:pt x="1239" y="637"/>
                    </a:lnTo>
                    <a:lnTo>
                      <a:pt x="1431" y="334"/>
                    </a:lnTo>
                    <a:lnTo>
                      <a:pt x="1238" y="0"/>
                    </a:lnTo>
                    <a:lnTo>
                      <a:pt x="1206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7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6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0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3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26"/>
                    </a:lnTo>
                    <a:lnTo>
                      <a:pt x="2" y="1349"/>
                    </a:lnTo>
                    <a:lnTo>
                      <a:pt x="3" y="1373"/>
                    </a:lnTo>
                    <a:lnTo>
                      <a:pt x="5" y="1396"/>
                    </a:lnTo>
                    <a:lnTo>
                      <a:pt x="8" y="1419"/>
                    </a:lnTo>
                    <a:lnTo>
                      <a:pt x="10" y="1441"/>
                    </a:lnTo>
                    <a:lnTo>
                      <a:pt x="13" y="1464"/>
                    </a:lnTo>
                    <a:lnTo>
                      <a:pt x="17" y="1486"/>
                    </a:lnTo>
                    <a:lnTo>
                      <a:pt x="20" y="1509"/>
                    </a:lnTo>
                    <a:lnTo>
                      <a:pt x="25" y="1532"/>
                    </a:lnTo>
                    <a:lnTo>
                      <a:pt x="29" y="1554"/>
                    </a:lnTo>
                    <a:lnTo>
                      <a:pt x="34" y="1575"/>
                    </a:lnTo>
                    <a:lnTo>
                      <a:pt x="39" y="1597"/>
                    </a:lnTo>
                    <a:lnTo>
                      <a:pt x="45" y="1619"/>
                    </a:lnTo>
                    <a:lnTo>
                      <a:pt x="51" y="1640"/>
                    </a:lnTo>
                    <a:lnTo>
                      <a:pt x="58" y="1661"/>
                    </a:lnTo>
                    <a:lnTo>
                      <a:pt x="64" y="1683"/>
                    </a:lnTo>
                    <a:lnTo>
                      <a:pt x="72" y="1704"/>
                    </a:lnTo>
                    <a:lnTo>
                      <a:pt x="79" y="1725"/>
                    </a:lnTo>
                    <a:lnTo>
                      <a:pt x="88" y="1745"/>
                    </a:lnTo>
                    <a:lnTo>
                      <a:pt x="96" y="1766"/>
                    </a:lnTo>
                    <a:lnTo>
                      <a:pt x="105" y="1786"/>
                    </a:lnTo>
                    <a:lnTo>
                      <a:pt x="114" y="1806"/>
                    </a:lnTo>
                    <a:lnTo>
                      <a:pt x="123" y="1826"/>
                    </a:lnTo>
                    <a:lnTo>
                      <a:pt x="132" y="1847"/>
                    </a:lnTo>
                    <a:lnTo>
                      <a:pt x="152" y="1885"/>
                    </a:lnTo>
                    <a:lnTo>
                      <a:pt x="174" y="1923"/>
                    </a:lnTo>
                    <a:lnTo>
                      <a:pt x="185" y="1942"/>
                    </a:lnTo>
                    <a:lnTo>
                      <a:pt x="196" y="19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3" name="Freeform 8"/>
              <p:cNvSpPr>
                <a:spLocks noChangeAspect="1"/>
              </p:cNvSpPr>
              <p:nvPr/>
            </p:nvSpPr>
            <p:spPr bwMode="auto">
              <a:xfrm>
                <a:off x="3484424" y="1618488"/>
                <a:ext cx="925773" cy="1510707"/>
              </a:xfrm>
              <a:custGeom>
                <a:avLst/>
                <a:gdLst>
                  <a:gd name="T0" fmla="*/ 2147483647 w 1261"/>
                  <a:gd name="T1" fmla="*/ 2147483647 h 1899"/>
                  <a:gd name="T2" fmla="*/ 2147483647 w 1261"/>
                  <a:gd name="T3" fmla="*/ 2147483647 h 1899"/>
                  <a:gd name="T4" fmla="*/ 2147483647 w 1261"/>
                  <a:gd name="T5" fmla="*/ 2147483647 h 1899"/>
                  <a:gd name="T6" fmla="*/ 2147483647 w 1261"/>
                  <a:gd name="T7" fmla="*/ 2147483647 h 1899"/>
                  <a:gd name="T8" fmla="*/ 2147483647 w 1261"/>
                  <a:gd name="T9" fmla="*/ 2147483647 h 1899"/>
                  <a:gd name="T10" fmla="*/ 2147483647 w 1261"/>
                  <a:gd name="T11" fmla="*/ 2147483647 h 1899"/>
                  <a:gd name="T12" fmla="*/ 2147483647 w 1261"/>
                  <a:gd name="T13" fmla="*/ 2147483647 h 1899"/>
                  <a:gd name="T14" fmla="*/ 2147483647 w 1261"/>
                  <a:gd name="T15" fmla="*/ 2147483647 h 1899"/>
                  <a:gd name="T16" fmla="*/ 2147483647 w 1261"/>
                  <a:gd name="T17" fmla="*/ 2147483647 h 1899"/>
                  <a:gd name="T18" fmla="*/ 2147483647 w 1261"/>
                  <a:gd name="T19" fmla="*/ 2147483647 h 1899"/>
                  <a:gd name="T20" fmla="*/ 2147483647 w 1261"/>
                  <a:gd name="T21" fmla="*/ 2147483647 h 1899"/>
                  <a:gd name="T22" fmla="*/ 2147483647 w 1261"/>
                  <a:gd name="T23" fmla="*/ 2147483647 h 1899"/>
                  <a:gd name="T24" fmla="*/ 2147483647 w 1261"/>
                  <a:gd name="T25" fmla="*/ 2147483647 h 1899"/>
                  <a:gd name="T26" fmla="*/ 2147483647 w 1261"/>
                  <a:gd name="T27" fmla="*/ 2147483647 h 1899"/>
                  <a:gd name="T28" fmla="*/ 2147483647 w 1261"/>
                  <a:gd name="T29" fmla="*/ 2147483647 h 1899"/>
                  <a:gd name="T30" fmla="*/ 2147483647 w 1261"/>
                  <a:gd name="T31" fmla="*/ 2147483647 h 1899"/>
                  <a:gd name="T32" fmla="*/ 2147483647 w 1261"/>
                  <a:gd name="T33" fmla="*/ 2147483647 h 1899"/>
                  <a:gd name="T34" fmla="*/ 2147483647 w 1261"/>
                  <a:gd name="T35" fmla="*/ 2147483647 h 1899"/>
                  <a:gd name="T36" fmla="*/ 2147483647 w 1261"/>
                  <a:gd name="T37" fmla="*/ 2147483647 h 1899"/>
                  <a:gd name="T38" fmla="*/ 2147483647 w 1261"/>
                  <a:gd name="T39" fmla="*/ 2147483647 h 1899"/>
                  <a:gd name="T40" fmla="*/ 2147483647 w 1261"/>
                  <a:gd name="T41" fmla="*/ 2147483647 h 1899"/>
                  <a:gd name="T42" fmla="*/ 2147483647 w 1261"/>
                  <a:gd name="T43" fmla="*/ 2147483647 h 1899"/>
                  <a:gd name="T44" fmla="*/ 2147483647 w 1261"/>
                  <a:gd name="T45" fmla="*/ 2147483647 h 1899"/>
                  <a:gd name="T46" fmla="*/ 2147483647 w 1261"/>
                  <a:gd name="T47" fmla="*/ 2147483647 h 1899"/>
                  <a:gd name="T48" fmla="*/ 2147483647 w 1261"/>
                  <a:gd name="T49" fmla="*/ 2147483647 h 1899"/>
                  <a:gd name="T50" fmla="*/ 2147483647 w 1261"/>
                  <a:gd name="T51" fmla="*/ 2147483647 h 1899"/>
                  <a:gd name="T52" fmla="*/ 2147483647 w 1261"/>
                  <a:gd name="T53" fmla="*/ 2147483647 h 1899"/>
                  <a:gd name="T54" fmla="*/ 2147483647 w 1261"/>
                  <a:gd name="T55" fmla="*/ 2147483647 h 1899"/>
                  <a:gd name="T56" fmla="*/ 2147483647 w 1261"/>
                  <a:gd name="T57" fmla="*/ 2147483647 h 1899"/>
                  <a:gd name="T58" fmla="*/ 2147483647 w 1261"/>
                  <a:gd name="T59" fmla="*/ 2147483647 h 1899"/>
                  <a:gd name="T60" fmla="*/ 2147483647 w 1261"/>
                  <a:gd name="T61" fmla="*/ 2147483647 h 1899"/>
                  <a:gd name="T62" fmla="*/ 2147483647 w 1261"/>
                  <a:gd name="T63" fmla="*/ 2147483647 h 1899"/>
                  <a:gd name="T64" fmla="*/ 2147483647 w 1261"/>
                  <a:gd name="T65" fmla="*/ 2147483647 h 1899"/>
                  <a:gd name="T66" fmla="*/ 2147483647 w 1261"/>
                  <a:gd name="T67" fmla="*/ 2147483647 h 1899"/>
                  <a:gd name="T68" fmla="*/ 2147483647 w 1261"/>
                  <a:gd name="T69" fmla="*/ 2147483647 h 1899"/>
                  <a:gd name="T70" fmla="*/ 2147483647 w 1261"/>
                  <a:gd name="T71" fmla="*/ 2147483647 h 1899"/>
                  <a:gd name="T72" fmla="*/ 2147483647 w 1261"/>
                  <a:gd name="T73" fmla="*/ 2147483647 h 1899"/>
                  <a:gd name="T74" fmla="*/ 2147483647 w 1261"/>
                  <a:gd name="T75" fmla="*/ 2147483647 h 1899"/>
                  <a:gd name="T76" fmla="*/ 2147483647 w 1261"/>
                  <a:gd name="T77" fmla="*/ 2147483647 h 1899"/>
                  <a:gd name="T78" fmla="*/ 2147483647 w 1261"/>
                  <a:gd name="T79" fmla="*/ 2147483647 h 1899"/>
                  <a:gd name="T80" fmla="*/ 2147483647 w 1261"/>
                  <a:gd name="T81" fmla="*/ 2147483647 h 1899"/>
                  <a:gd name="T82" fmla="*/ 2147483647 w 1261"/>
                  <a:gd name="T83" fmla="*/ 2147483647 h 1899"/>
                  <a:gd name="T84" fmla="*/ 2147483647 w 1261"/>
                  <a:gd name="T85" fmla="*/ 2147483647 h 1899"/>
                  <a:gd name="T86" fmla="*/ 2147483647 w 1261"/>
                  <a:gd name="T87" fmla="*/ 2147483647 h 1899"/>
                  <a:gd name="T88" fmla="*/ 2147483647 w 1261"/>
                  <a:gd name="T89" fmla="*/ 2147483647 h 1899"/>
                  <a:gd name="T90" fmla="*/ 2147483647 w 1261"/>
                  <a:gd name="T91" fmla="*/ 2147483647 h 1899"/>
                  <a:gd name="T92" fmla="*/ 2147483647 w 1261"/>
                  <a:gd name="T93" fmla="*/ 2147483647 h 1899"/>
                  <a:gd name="T94" fmla="*/ 2147483647 w 1261"/>
                  <a:gd name="T95" fmla="*/ 2147483647 h 1899"/>
                  <a:gd name="T96" fmla="*/ 2147483647 w 1261"/>
                  <a:gd name="T97" fmla="*/ 2147483647 h 1899"/>
                  <a:gd name="T98" fmla="*/ 2147483647 w 1261"/>
                  <a:gd name="T99" fmla="*/ 2147483647 h 1899"/>
                  <a:gd name="T100" fmla="*/ 2147483647 w 1261"/>
                  <a:gd name="T101" fmla="*/ 2147483647 h 1899"/>
                  <a:gd name="T102" fmla="*/ 2147483647 w 1261"/>
                  <a:gd name="T103" fmla="*/ 2147483647 h 189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61"/>
                  <a:gd name="T157" fmla="*/ 0 h 1899"/>
                  <a:gd name="T158" fmla="*/ 1261 w 1261"/>
                  <a:gd name="T159" fmla="*/ 1899 h 189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61" h="1899">
                    <a:moveTo>
                      <a:pt x="0" y="0"/>
                    </a:moveTo>
                    <a:lnTo>
                      <a:pt x="33" y="1"/>
                    </a:lnTo>
                    <a:lnTo>
                      <a:pt x="66" y="3"/>
                    </a:lnTo>
                    <a:lnTo>
                      <a:pt x="98" y="5"/>
                    </a:lnTo>
                    <a:lnTo>
                      <a:pt x="130" y="8"/>
                    </a:lnTo>
                    <a:lnTo>
                      <a:pt x="161" y="13"/>
                    </a:lnTo>
                    <a:lnTo>
                      <a:pt x="193" y="17"/>
                    </a:lnTo>
                    <a:lnTo>
                      <a:pt x="225" y="23"/>
                    </a:lnTo>
                    <a:lnTo>
                      <a:pt x="255" y="29"/>
                    </a:lnTo>
                    <a:lnTo>
                      <a:pt x="286" y="36"/>
                    </a:lnTo>
                    <a:lnTo>
                      <a:pt x="316" y="44"/>
                    </a:lnTo>
                    <a:lnTo>
                      <a:pt x="346" y="53"/>
                    </a:lnTo>
                    <a:lnTo>
                      <a:pt x="376" y="62"/>
                    </a:lnTo>
                    <a:lnTo>
                      <a:pt x="406" y="72"/>
                    </a:lnTo>
                    <a:lnTo>
                      <a:pt x="435" y="83"/>
                    </a:lnTo>
                    <a:lnTo>
                      <a:pt x="463" y="94"/>
                    </a:lnTo>
                    <a:lnTo>
                      <a:pt x="492" y="106"/>
                    </a:lnTo>
                    <a:lnTo>
                      <a:pt x="520" y="119"/>
                    </a:lnTo>
                    <a:lnTo>
                      <a:pt x="548" y="132"/>
                    </a:lnTo>
                    <a:lnTo>
                      <a:pt x="576" y="146"/>
                    </a:lnTo>
                    <a:lnTo>
                      <a:pt x="602" y="161"/>
                    </a:lnTo>
                    <a:lnTo>
                      <a:pt x="629" y="176"/>
                    </a:lnTo>
                    <a:lnTo>
                      <a:pt x="655" y="191"/>
                    </a:lnTo>
                    <a:lnTo>
                      <a:pt x="680" y="208"/>
                    </a:lnTo>
                    <a:lnTo>
                      <a:pt x="707" y="225"/>
                    </a:lnTo>
                    <a:lnTo>
                      <a:pt x="731" y="243"/>
                    </a:lnTo>
                    <a:lnTo>
                      <a:pt x="756" y="261"/>
                    </a:lnTo>
                    <a:lnTo>
                      <a:pt x="780" y="280"/>
                    </a:lnTo>
                    <a:lnTo>
                      <a:pt x="803" y="299"/>
                    </a:lnTo>
                    <a:lnTo>
                      <a:pt x="826" y="319"/>
                    </a:lnTo>
                    <a:lnTo>
                      <a:pt x="848" y="339"/>
                    </a:lnTo>
                    <a:lnTo>
                      <a:pt x="871" y="360"/>
                    </a:lnTo>
                    <a:lnTo>
                      <a:pt x="893" y="381"/>
                    </a:lnTo>
                    <a:lnTo>
                      <a:pt x="914" y="404"/>
                    </a:lnTo>
                    <a:lnTo>
                      <a:pt x="934" y="426"/>
                    </a:lnTo>
                    <a:lnTo>
                      <a:pt x="954" y="449"/>
                    </a:lnTo>
                    <a:lnTo>
                      <a:pt x="974" y="472"/>
                    </a:lnTo>
                    <a:lnTo>
                      <a:pt x="993" y="496"/>
                    </a:lnTo>
                    <a:lnTo>
                      <a:pt x="1011" y="520"/>
                    </a:lnTo>
                    <a:lnTo>
                      <a:pt x="1030" y="545"/>
                    </a:lnTo>
                    <a:lnTo>
                      <a:pt x="1047" y="571"/>
                    </a:lnTo>
                    <a:lnTo>
                      <a:pt x="1063" y="596"/>
                    </a:lnTo>
                    <a:lnTo>
                      <a:pt x="1079" y="622"/>
                    </a:lnTo>
                    <a:lnTo>
                      <a:pt x="1095" y="648"/>
                    </a:lnTo>
                    <a:lnTo>
                      <a:pt x="1109" y="675"/>
                    </a:lnTo>
                    <a:lnTo>
                      <a:pt x="1124" y="702"/>
                    </a:lnTo>
                    <a:lnTo>
                      <a:pt x="1137" y="730"/>
                    </a:lnTo>
                    <a:lnTo>
                      <a:pt x="1150" y="758"/>
                    </a:lnTo>
                    <a:lnTo>
                      <a:pt x="1162" y="786"/>
                    </a:lnTo>
                    <a:lnTo>
                      <a:pt x="1174" y="815"/>
                    </a:lnTo>
                    <a:lnTo>
                      <a:pt x="1185" y="844"/>
                    </a:lnTo>
                    <a:lnTo>
                      <a:pt x="1196" y="873"/>
                    </a:lnTo>
                    <a:lnTo>
                      <a:pt x="1205" y="903"/>
                    </a:lnTo>
                    <a:lnTo>
                      <a:pt x="1214" y="933"/>
                    </a:lnTo>
                    <a:lnTo>
                      <a:pt x="1222" y="963"/>
                    </a:lnTo>
                    <a:lnTo>
                      <a:pt x="1229" y="994"/>
                    </a:lnTo>
                    <a:lnTo>
                      <a:pt x="1236" y="1024"/>
                    </a:lnTo>
                    <a:lnTo>
                      <a:pt x="1242" y="1056"/>
                    </a:lnTo>
                    <a:lnTo>
                      <a:pt x="1247" y="1088"/>
                    </a:lnTo>
                    <a:lnTo>
                      <a:pt x="1251" y="1119"/>
                    </a:lnTo>
                    <a:lnTo>
                      <a:pt x="1255" y="1151"/>
                    </a:lnTo>
                    <a:lnTo>
                      <a:pt x="1258" y="1183"/>
                    </a:lnTo>
                    <a:lnTo>
                      <a:pt x="1260" y="1216"/>
                    </a:lnTo>
                    <a:lnTo>
                      <a:pt x="1261" y="1248"/>
                    </a:lnTo>
                    <a:lnTo>
                      <a:pt x="1261" y="1281"/>
                    </a:lnTo>
                    <a:lnTo>
                      <a:pt x="1261" y="1321"/>
                    </a:lnTo>
                    <a:lnTo>
                      <a:pt x="1260" y="1342"/>
                    </a:lnTo>
                    <a:lnTo>
                      <a:pt x="1259" y="1363"/>
                    </a:lnTo>
                    <a:lnTo>
                      <a:pt x="1257" y="1383"/>
                    </a:lnTo>
                    <a:lnTo>
                      <a:pt x="1255" y="1403"/>
                    </a:lnTo>
                    <a:lnTo>
                      <a:pt x="1251" y="1443"/>
                    </a:lnTo>
                    <a:lnTo>
                      <a:pt x="1248" y="1463"/>
                    </a:lnTo>
                    <a:lnTo>
                      <a:pt x="1245" y="1483"/>
                    </a:lnTo>
                    <a:lnTo>
                      <a:pt x="1242" y="1502"/>
                    </a:lnTo>
                    <a:lnTo>
                      <a:pt x="1238" y="1523"/>
                    </a:lnTo>
                    <a:lnTo>
                      <a:pt x="1230" y="1562"/>
                    </a:lnTo>
                    <a:lnTo>
                      <a:pt x="1221" y="1600"/>
                    </a:lnTo>
                    <a:lnTo>
                      <a:pt x="1216" y="1619"/>
                    </a:lnTo>
                    <a:lnTo>
                      <a:pt x="1211" y="1638"/>
                    </a:lnTo>
                    <a:lnTo>
                      <a:pt x="1199" y="1675"/>
                    </a:lnTo>
                    <a:lnTo>
                      <a:pt x="1186" y="1713"/>
                    </a:lnTo>
                    <a:lnTo>
                      <a:pt x="1172" y="1749"/>
                    </a:lnTo>
                    <a:lnTo>
                      <a:pt x="1157" y="1785"/>
                    </a:lnTo>
                    <a:lnTo>
                      <a:pt x="1141" y="1820"/>
                    </a:lnTo>
                    <a:lnTo>
                      <a:pt x="1124" y="1856"/>
                    </a:lnTo>
                    <a:lnTo>
                      <a:pt x="1106" y="1890"/>
                    </a:lnTo>
                    <a:lnTo>
                      <a:pt x="709" y="1899"/>
                    </a:lnTo>
                    <a:lnTo>
                      <a:pt x="554" y="1574"/>
                    </a:lnTo>
                    <a:lnTo>
                      <a:pt x="562" y="1557"/>
                    </a:lnTo>
                    <a:lnTo>
                      <a:pt x="570" y="1541"/>
                    </a:lnTo>
                    <a:lnTo>
                      <a:pt x="577" y="1524"/>
                    </a:lnTo>
                    <a:lnTo>
                      <a:pt x="584" y="1505"/>
                    </a:lnTo>
                    <a:lnTo>
                      <a:pt x="590" y="1488"/>
                    </a:lnTo>
                    <a:lnTo>
                      <a:pt x="596" y="1470"/>
                    </a:lnTo>
                    <a:lnTo>
                      <a:pt x="601" y="1452"/>
                    </a:lnTo>
                    <a:lnTo>
                      <a:pt x="606" y="1434"/>
                    </a:lnTo>
                    <a:lnTo>
                      <a:pt x="610" y="1416"/>
                    </a:lnTo>
                    <a:lnTo>
                      <a:pt x="614" y="1397"/>
                    </a:lnTo>
                    <a:lnTo>
                      <a:pt x="617" y="1378"/>
                    </a:lnTo>
                    <a:lnTo>
                      <a:pt x="620" y="1358"/>
                    </a:lnTo>
                    <a:lnTo>
                      <a:pt x="622" y="1339"/>
                    </a:lnTo>
                    <a:lnTo>
                      <a:pt x="624" y="1320"/>
                    </a:lnTo>
                    <a:lnTo>
                      <a:pt x="624" y="1300"/>
                    </a:lnTo>
                    <a:lnTo>
                      <a:pt x="625" y="1281"/>
                    </a:lnTo>
                    <a:lnTo>
                      <a:pt x="624" y="1248"/>
                    </a:lnTo>
                    <a:lnTo>
                      <a:pt x="623" y="1232"/>
                    </a:lnTo>
                    <a:lnTo>
                      <a:pt x="622" y="1216"/>
                    </a:lnTo>
                    <a:lnTo>
                      <a:pt x="620" y="1200"/>
                    </a:lnTo>
                    <a:lnTo>
                      <a:pt x="618" y="1184"/>
                    </a:lnTo>
                    <a:lnTo>
                      <a:pt x="615" y="1169"/>
                    </a:lnTo>
                    <a:lnTo>
                      <a:pt x="612" y="1153"/>
                    </a:lnTo>
                    <a:lnTo>
                      <a:pt x="609" y="1138"/>
                    </a:lnTo>
                    <a:lnTo>
                      <a:pt x="605" y="1123"/>
                    </a:lnTo>
                    <a:lnTo>
                      <a:pt x="601" y="1108"/>
                    </a:lnTo>
                    <a:lnTo>
                      <a:pt x="597" y="1093"/>
                    </a:lnTo>
                    <a:lnTo>
                      <a:pt x="587" y="1064"/>
                    </a:lnTo>
                    <a:lnTo>
                      <a:pt x="576" y="1034"/>
                    </a:lnTo>
                    <a:lnTo>
                      <a:pt x="564" y="1006"/>
                    </a:lnTo>
                    <a:lnTo>
                      <a:pt x="557" y="993"/>
                    </a:lnTo>
                    <a:lnTo>
                      <a:pt x="550" y="979"/>
                    </a:lnTo>
                    <a:lnTo>
                      <a:pt x="534" y="953"/>
                    </a:lnTo>
                    <a:lnTo>
                      <a:pt x="518" y="927"/>
                    </a:lnTo>
                    <a:lnTo>
                      <a:pt x="510" y="915"/>
                    </a:lnTo>
                    <a:lnTo>
                      <a:pt x="501" y="902"/>
                    </a:lnTo>
                    <a:lnTo>
                      <a:pt x="483" y="877"/>
                    </a:lnTo>
                    <a:lnTo>
                      <a:pt x="473" y="866"/>
                    </a:lnTo>
                    <a:lnTo>
                      <a:pt x="463" y="854"/>
                    </a:lnTo>
                    <a:lnTo>
                      <a:pt x="453" y="843"/>
                    </a:lnTo>
                    <a:lnTo>
                      <a:pt x="443" y="832"/>
                    </a:lnTo>
                    <a:lnTo>
                      <a:pt x="432" y="822"/>
                    </a:lnTo>
                    <a:lnTo>
                      <a:pt x="421" y="81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75" y="772"/>
                    </a:lnTo>
                    <a:lnTo>
                      <a:pt x="363" y="763"/>
                    </a:lnTo>
                    <a:lnTo>
                      <a:pt x="350" y="754"/>
                    </a:lnTo>
                    <a:lnTo>
                      <a:pt x="338" y="746"/>
                    </a:lnTo>
                    <a:lnTo>
                      <a:pt x="325" y="737"/>
                    </a:lnTo>
                    <a:lnTo>
                      <a:pt x="312" y="729"/>
                    </a:lnTo>
                    <a:lnTo>
                      <a:pt x="299" y="722"/>
                    </a:lnTo>
                    <a:lnTo>
                      <a:pt x="273" y="706"/>
                    </a:lnTo>
                    <a:lnTo>
                      <a:pt x="245" y="693"/>
                    </a:lnTo>
                    <a:lnTo>
                      <a:pt x="231" y="687"/>
                    </a:lnTo>
                    <a:lnTo>
                      <a:pt x="216" y="681"/>
                    </a:lnTo>
                    <a:lnTo>
                      <a:pt x="202" y="676"/>
                    </a:lnTo>
                    <a:lnTo>
                      <a:pt x="187" y="671"/>
                    </a:lnTo>
                    <a:lnTo>
                      <a:pt x="158" y="662"/>
                    </a:lnTo>
                    <a:lnTo>
                      <a:pt x="143" y="657"/>
                    </a:lnTo>
                    <a:lnTo>
                      <a:pt x="128" y="654"/>
                    </a:lnTo>
                    <a:lnTo>
                      <a:pt x="97" y="647"/>
                    </a:lnTo>
                    <a:lnTo>
                      <a:pt x="82" y="645"/>
                    </a:lnTo>
                    <a:lnTo>
                      <a:pt x="66" y="642"/>
                    </a:lnTo>
                    <a:lnTo>
                      <a:pt x="49" y="641"/>
                    </a:lnTo>
                    <a:lnTo>
                      <a:pt x="34" y="639"/>
                    </a:lnTo>
                    <a:lnTo>
                      <a:pt x="18" y="638"/>
                    </a:lnTo>
                    <a:lnTo>
                      <a:pt x="2" y="637"/>
                    </a:lnTo>
                    <a:lnTo>
                      <a:pt x="199" y="34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</p:grpSp>
      <p:grpSp>
        <p:nvGrpSpPr>
          <p:cNvPr id="2" name="Gruppierung 1"/>
          <p:cNvGrpSpPr/>
          <p:nvPr/>
        </p:nvGrpSpPr>
        <p:grpSpPr>
          <a:xfrm>
            <a:off x="1559496" y="1340769"/>
            <a:ext cx="2016224" cy="2016224"/>
            <a:chOff x="1559496" y="1340769"/>
            <a:chExt cx="2016224" cy="2016224"/>
          </a:xfrm>
        </p:grpSpPr>
        <p:grpSp>
          <p:nvGrpSpPr>
            <p:cNvPr id="44" name="Group 3"/>
            <p:cNvGrpSpPr>
              <a:grpSpLocks noChangeAspect="1"/>
            </p:cNvGrpSpPr>
            <p:nvPr/>
          </p:nvGrpSpPr>
          <p:grpSpPr bwMode="auto">
            <a:xfrm>
              <a:off x="1559496" y="1340769"/>
              <a:ext cx="2016224" cy="2016224"/>
              <a:chOff x="1862" y="1377"/>
              <a:chExt cx="2562" cy="2543"/>
            </a:xfrm>
            <a:solidFill>
              <a:srgbClr val="2F52A0"/>
            </a:solidFill>
          </p:grpSpPr>
          <p:sp>
            <p:nvSpPr>
              <p:cNvPr id="45" name="Freeform 4"/>
              <p:cNvSpPr>
                <a:spLocks noChangeAspect="1"/>
              </p:cNvSpPr>
              <p:nvPr/>
            </p:nvSpPr>
            <p:spPr bwMode="auto">
              <a:xfrm>
                <a:off x="3040" y="1377"/>
                <a:ext cx="1384" cy="2543"/>
              </a:xfrm>
              <a:custGeom>
                <a:avLst/>
                <a:gdLst>
                  <a:gd name="T0" fmla="*/ 165 w 1384"/>
                  <a:gd name="T1" fmla="*/ 636 h 2543"/>
                  <a:gd name="T2" fmla="*/ 230 w 1384"/>
                  <a:gd name="T3" fmla="*/ 645 h 2543"/>
                  <a:gd name="T4" fmla="*/ 291 w 1384"/>
                  <a:gd name="T5" fmla="*/ 659 h 2543"/>
                  <a:gd name="T6" fmla="*/ 351 w 1384"/>
                  <a:gd name="T7" fmla="*/ 679 h 2543"/>
                  <a:gd name="T8" fmla="*/ 421 w 1384"/>
                  <a:gd name="T9" fmla="*/ 711 h 2543"/>
                  <a:gd name="T10" fmla="*/ 486 w 1384"/>
                  <a:gd name="T11" fmla="*/ 753 h 2543"/>
                  <a:gd name="T12" fmla="*/ 547 w 1384"/>
                  <a:gd name="T13" fmla="*/ 801 h 2543"/>
                  <a:gd name="T14" fmla="*/ 590 w 1384"/>
                  <a:gd name="T15" fmla="*/ 844 h 2543"/>
                  <a:gd name="T16" fmla="*/ 646 w 1384"/>
                  <a:gd name="T17" fmla="*/ 917 h 2543"/>
                  <a:gd name="T18" fmla="*/ 679 w 1384"/>
                  <a:gd name="T19" fmla="*/ 969 h 2543"/>
                  <a:gd name="T20" fmla="*/ 706 w 1384"/>
                  <a:gd name="T21" fmla="*/ 1024 h 2543"/>
                  <a:gd name="T22" fmla="*/ 727 w 1384"/>
                  <a:gd name="T23" fmla="*/ 1084 h 2543"/>
                  <a:gd name="T24" fmla="*/ 743 w 1384"/>
                  <a:gd name="T25" fmla="*/ 1145 h 2543"/>
                  <a:gd name="T26" fmla="*/ 752 w 1384"/>
                  <a:gd name="T27" fmla="*/ 1209 h 2543"/>
                  <a:gd name="T28" fmla="*/ 756 w 1384"/>
                  <a:gd name="T29" fmla="*/ 1274 h 2543"/>
                  <a:gd name="T30" fmla="*/ 753 w 1384"/>
                  <a:gd name="T31" fmla="*/ 1331 h 2543"/>
                  <a:gd name="T32" fmla="*/ 740 w 1384"/>
                  <a:gd name="T33" fmla="*/ 1415 h 2543"/>
                  <a:gd name="T34" fmla="*/ 716 w 1384"/>
                  <a:gd name="T35" fmla="*/ 1494 h 2543"/>
                  <a:gd name="T36" fmla="*/ 683 w 1384"/>
                  <a:gd name="T37" fmla="*/ 1570 h 2543"/>
                  <a:gd name="T38" fmla="*/ 624 w 1384"/>
                  <a:gd name="T39" fmla="*/ 1661 h 2543"/>
                  <a:gd name="T40" fmla="*/ 590 w 1384"/>
                  <a:gd name="T41" fmla="*/ 1703 h 2543"/>
                  <a:gd name="T42" fmla="*/ 532 w 1384"/>
                  <a:gd name="T43" fmla="*/ 1759 h 2543"/>
                  <a:gd name="T44" fmla="*/ 456 w 1384"/>
                  <a:gd name="T45" fmla="*/ 1815 h 2543"/>
                  <a:gd name="T46" fmla="*/ 372 w 1384"/>
                  <a:gd name="T47" fmla="*/ 1860 h 2543"/>
                  <a:gd name="T48" fmla="*/ 280 w 1384"/>
                  <a:gd name="T49" fmla="*/ 1892 h 2543"/>
                  <a:gd name="T50" fmla="*/ 0 w 1384"/>
                  <a:gd name="T51" fmla="*/ 2230 h 2543"/>
                  <a:gd name="T52" fmla="*/ 333 w 1384"/>
                  <a:gd name="T53" fmla="*/ 2531 h 2543"/>
                  <a:gd name="T54" fmla="*/ 449 w 1384"/>
                  <a:gd name="T55" fmla="*/ 2505 h 2543"/>
                  <a:gd name="T56" fmla="*/ 560 w 1384"/>
                  <a:gd name="T57" fmla="*/ 2468 h 2543"/>
                  <a:gd name="T58" fmla="*/ 666 w 1384"/>
                  <a:gd name="T59" fmla="*/ 2422 h 2543"/>
                  <a:gd name="T60" fmla="*/ 768 w 1384"/>
                  <a:gd name="T61" fmla="*/ 2367 h 2543"/>
                  <a:gd name="T62" fmla="*/ 864 w 1384"/>
                  <a:gd name="T63" fmla="*/ 2302 h 2543"/>
                  <a:gd name="T64" fmla="*/ 952 w 1384"/>
                  <a:gd name="T65" fmla="*/ 2231 h 2543"/>
                  <a:gd name="T66" fmla="*/ 1035 w 1384"/>
                  <a:gd name="T67" fmla="*/ 2151 h 2543"/>
                  <a:gd name="T68" fmla="*/ 1110 w 1384"/>
                  <a:gd name="T69" fmla="*/ 2065 h 2543"/>
                  <a:gd name="T70" fmla="*/ 1177 w 1384"/>
                  <a:gd name="T71" fmla="*/ 1971 h 2543"/>
                  <a:gd name="T72" fmla="*/ 1235 w 1384"/>
                  <a:gd name="T73" fmla="*/ 1872 h 2543"/>
                  <a:gd name="T74" fmla="*/ 1285 w 1384"/>
                  <a:gd name="T75" fmla="*/ 1767 h 2543"/>
                  <a:gd name="T76" fmla="*/ 1326 w 1384"/>
                  <a:gd name="T77" fmla="*/ 1657 h 2543"/>
                  <a:gd name="T78" fmla="*/ 1356 w 1384"/>
                  <a:gd name="T79" fmla="*/ 1544 h 2543"/>
                  <a:gd name="T80" fmla="*/ 1375 w 1384"/>
                  <a:gd name="T81" fmla="*/ 1426 h 2543"/>
                  <a:gd name="T82" fmla="*/ 1384 w 1384"/>
                  <a:gd name="T83" fmla="*/ 1304 h 2543"/>
                  <a:gd name="T84" fmla="*/ 1380 w 1384"/>
                  <a:gd name="T85" fmla="*/ 1175 h 2543"/>
                  <a:gd name="T86" fmla="*/ 1364 w 1384"/>
                  <a:gd name="T87" fmla="*/ 1048 h 2543"/>
                  <a:gd name="T88" fmla="*/ 1336 w 1384"/>
                  <a:gd name="T89" fmla="*/ 925 h 2543"/>
                  <a:gd name="T90" fmla="*/ 1295 w 1384"/>
                  <a:gd name="T91" fmla="*/ 806 h 2543"/>
                  <a:gd name="T92" fmla="*/ 1244 w 1384"/>
                  <a:gd name="T93" fmla="*/ 693 h 2543"/>
                  <a:gd name="T94" fmla="*/ 1182 w 1384"/>
                  <a:gd name="T95" fmla="*/ 587 h 2543"/>
                  <a:gd name="T96" fmla="*/ 1110 w 1384"/>
                  <a:gd name="T97" fmla="*/ 487 h 2543"/>
                  <a:gd name="T98" fmla="*/ 1030 w 1384"/>
                  <a:gd name="T99" fmla="*/ 394 h 2543"/>
                  <a:gd name="T100" fmla="*/ 941 w 1384"/>
                  <a:gd name="T101" fmla="*/ 310 h 2543"/>
                  <a:gd name="T102" fmla="*/ 845 w 1384"/>
                  <a:gd name="T103" fmla="*/ 234 h 2543"/>
                  <a:gd name="T104" fmla="*/ 741 w 1384"/>
                  <a:gd name="T105" fmla="*/ 168 h 2543"/>
                  <a:gd name="T106" fmla="*/ 630 w 1384"/>
                  <a:gd name="T107" fmla="*/ 112 h 2543"/>
                  <a:gd name="T108" fmla="*/ 515 w 1384"/>
                  <a:gd name="T109" fmla="*/ 66 h 2543"/>
                  <a:gd name="T110" fmla="*/ 394 w 1384"/>
                  <a:gd name="T111" fmla="*/ 32 h 2543"/>
                  <a:gd name="T112" fmla="*/ 268 w 1384"/>
                  <a:gd name="T113" fmla="*/ 10 h 2543"/>
                  <a:gd name="T114" fmla="*/ 138 w 1384"/>
                  <a:gd name="T115" fmla="*/ 0 h 254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84"/>
                  <a:gd name="T175" fmla="*/ 0 h 2543"/>
                  <a:gd name="T176" fmla="*/ 1384 w 1384"/>
                  <a:gd name="T177" fmla="*/ 2543 h 254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84" h="2543">
                    <a:moveTo>
                      <a:pt x="114" y="635"/>
                    </a:moveTo>
                    <a:lnTo>
                      <a:pt x="117" y="635"/>
                    </a:lnTo>
                    <a:lnTo>
                      <a:pt x="149" y="635"/>
                    </a:lnTo>
                    <a:lnTo>
                      <a:pt x="165" y="636"/>
                    </a:lnTo>
                    <a:lnTo>
                      <a:pt x="181" y="638"/>
                    </a:lnTo>
                    <a:lnTo>
                      <a:pt x="198" y="640"/>
                    </a:lnTo>
                    <a:lnTo>
                      <a:pt x="214" y="642"/>
                    </a:lnTo>
                    <a:lnTo>
                      <a:pt x="230" y="645"/>
                    </a:lnTo>
                    <a:lnTo>
                      <a:pt x="246" y="648"/>
                    </a:lnTo>
                    <a:lnTo>
                      <a:pt x="261" y="651"/>
                    </a:lnTo>
                    <a:lnTo>
                      <a:pt x="276" y="655"/>
                    </a:lnTo>
                    <a:lnTo>
                      <a:pt x="291" y="659"/>
                    </a:lnTo>
                    <a:lnTo>
                      <a:pt x="306" y="663"/>
                    </a:lnTo>
                    <a:lnTo>
                      <a:pt x="321" y="668"/>
                    </a:lnTo>
                    <a:lnTo>
                      <a:pt x="336" y="673"/>
                    </a:lnTo>
                    <a:lnTo>
                      <a:pt x="351" y="679"/>
                    </a:lnTo>
                    <a:lnTo>
                      <a:pt x="366" y="685"/>
                    </a:lnTo>
                    <a:lnTo>
                      <a:pt x="380" y="691"/>
                    </a:lnTo>
                    <a:lnTo>
                      <a:pt x="394" y="697"/>
                    </a:lnTo>
                    <a:lnTo>
                      <a:pt x="421" y="711"/>
                    </a:lnTo>
                    <a:lnTo>
                      <a:pt x="448" y="728"/>
                    </a:lnTo>
                    <a:lnTo>
                      <a:pt x="461" y="736"/>
                    </a:lnTo>
                    <a:lnTo>
                      <a:pt x="474" y="744"/>
                    </a:lnTo>
                    <a:lnTo>
                      <a:pt x="486" y="753"/>
                    </a:lnTo>
                    <a:lnTo>
                      <a:pt x="498" y="762"/>
                    </a:lnTo>
                    <a:lnTo>
                      <a:pt x="512" y="771"/>
                    </a:lnTo>
                    <a:lnTo>
                      <a:pt x="523" y="781"/>
                    </a:lnTo>
                    <a:lnTo>
                      <a:pt x="547" y="801"/>
                    </a:lnTo>
                    <a:lnTo>
                      <a:pt x="558" y="811"/>
                    </a:lnTo>
                    <a:lnTo>
                      <a:pt x="569" y="822"/>
                    </a:lnTo>
                    <a:lnTo>
                      <a:pt x="579" y="833"/>
                    </a:lnTo>
                    <a:lnTo>
                      <a:pt x="590" y="844"/>
                    </a:lnTo>
                    <a:lnTo>
                      <a:pt x="610" y="867"/>
                    </a:lnTo>
                    <a:lnTo>
                      <a:pt x="619" y="880"/>
                    </a:lnTo>
                    <a:lnTo>
                      <a:pt x="628" y="892"/>
                    </a:lnTo>
                    <a:lnTo>
                      <a:pt x="646" y="917"/>
                    </a:lnTo>
                    <a:lnTo>
                      <a:pt x="655" y="929"/>
                    </a:lnTo>
                    <a:lnTo>
                      <a:pt x="663" y="942"/>
                    </a:lnTo>
                    <a:lnTo>
                      <a:pt x="671" y="956"/>
                    </a:lnTo>
                    <a:lnTo>
                      <a:pt x="679" y="969"/>
                    </a:lnTo>
                    <a:lnTo>
                      <a:pt x="686" y="983"/>
                    </a:lnTo>
                    <a:lnTo>
                      <a:pt x="693" y="996"/>
                    </a:lnTo>
                    <a:lnTo>
                      <a:pt x="699" y="1010"/>
                    </a:lnTo>
                    <a:lnTo>
                      <a:pt x="706" y="1024"/>
                    </a:lnTo>
                    <a:lnTo>
                      <a:pt x="712" y="1040"/>
                    </a:lnTo>
                    <a:lnTo>
                      <a:pt x="717" y="1054"/>
                    </a:lnTo>
                    <a:lnTo>
                      <a:pt x="722" y="1069"/>
                    </a:lnTo>
                    <a:lnTo>
                      <a:pt x="727" y="1084"/>
                    </a:lnTo>
                    <a:lnTo>
                      <a:pt x="731" y="1099"/>
                    </a:lnTo>
                    <a:lnTo>
                      <a:pt x="736" y="1114"/>
                    </a:lnTo>
                    <a:lnTo>
                      <a:pt x="739" y="1129"/>
                    </a:lnTo>
                    <a:lnTo>
                      <a:pt x="743" y="1145"/>
                    </a:lnTo>
                    <a:lnTo>
                      <a:pt x="746" y="1160"/>
                    </a:lnTo>
                    <a:lnTo>
                      <a:pt x="748" y="1176"/>
                    </a:lnTo>
                    <a:lnTo>
                      <a:pt x="750" y="1192"/>
                    </a:lnTo>
                    <a:lnTo>
                      <a:pt x="752" y="1209"/>
                    </a:lnTo>
                    <a:lnTo>
                      <a:pt x="754" y="1225"/>
                    </a:lnTo>
                    <a:lnTo>
                      <a:pt x="755" y="1241"/>
                    </a:lnTo>
                    <a:lnTo>
                      <a:pt x="755" y="1257"/>
                    </a:lnTo>
                    <a:lnTo>
                      <a:pt x="756" y="1274"/>
                    </a:lnTo>
                    <a:lnTo>
                      <a:pt x="755" y="1288"/>
                    </a:lnTo>
                    <a:lnTo>
                      <a:pt x="755" y="1302"/>
                    </a:lnTo>
                    <a:lnTo>
                      <a:pt x="754" y="1317"/>
                    </a:lnTo>
                    <a:lnTo>
                      <a:pt x="753" y="1331"/>
                    </a:lnTo>
                    <a:lnTo>
                      <a:pt x="752" y="1345"/>
                    </a:lnTo>
                    <a:lnTo>
                      <a:pt x="750" y="1360"/>
                    </a:lnTo>
                    <a:lnTo>
                      <a:pt x="746" y="1388"/>
                    </a:lnTo>
                    <a:lnTo>
                      <a:pt x="740" y="1415"/>
                    </a:lnTo>
                    <a:lnTo>
                      <a:pt x="733" y="1442"/>
                    </a:lnTo>
                    <a:lnTo>
                      <a:pt x="725" y="1469"/>
                    </a:lnTo>
                    <a:lnTo>
                      <a:pt x="721" y="1482"/>
                    </a:lnTo>
                    <a:lnTo>
                      <a:pt x="716" y="1494"/>
                    </a:lnTo>
                    <a:lnTo>
                      <a:pt x="706" y="1521"/>
                    </a:lnTo>
                    <a:lnTo>
                      <a:pt x="695" y="1546"/>
                    </a:lnTo>
                    <a:lnTo>
                      <a:pt x="690" y="1558"/>
                    </a:lnTo>
                    <a:lnTo>
                      <a:pt x="683" y="1570"/>
                    </a:lnTo>
                    <a:lnTo>
                      <a:pt x="670" y="1594"/>
                    </a:lnTo>
                    <a:lnTo>
                      <a:pt x="655" y="1617"/>
                    </a:lnTo>
                    <a:lnTo>
                      <a:pt x="640" y="1639"/>
                    </a:lnTo>
                    <a:lnTo>
                      <a:pt x="624" y="1661"/>
                    </a:lnTo>
                    <a:lnTo>
                      <a:pt x="616" y="1672"/>
                    </a:lnTo>
                    <a:lnTo>
                      <a:pt x="608" y="1683"/>
                    </a:lnTo>
                    <a:lnTo>
                      <a:pt x="599" y="1693"/>
                    </a:lnTo>
                    <a:lnTo>
                      <a:pt x="590" y="1703"/>
                    </a:lnTo>
                    <a:lnTo>
                      <a:pt x="581" y="1713"/>
                    </a:lnTo>
                    <a:lnTo>
                      <a:pt x="572" y="1723"/>
                    </a:lnTo>
                    <a:lnTo>
                      <a:pt x="552" y="1741"/>
                    </a:lnTo>
                    <a:lnTo>
                      <a:pt x="532" y="1759"/>
                    </a:lnTo>
                    <a:lnTo>
                      <a:pt x="512" y="1776"/>
                    </a:lnTo>
                    <a:lnTo>
                      <a:pt x="489" y="1793"/>
                    </a:lnTo>
                    <a:lnTo>
                      <a:pt x="467" y="1808"/>
                    </a:lnTo>
                    <a:lnTo>
                      <a:pt x="456" y="1815"/>
                    </a:lnTo>
                    <a:lnTo>
                      <a:pt x="444" y="1822"/>
                    </a:lnTo>
                    <a:lnTo>
                      <a:pt x="421" y="1837"/>
                    </a:lnTo>
                    <a:lnTo>
                      <a:pt x="396" y="1849"/>
                    </a:lnTo>
                    <a:lnTo>
                      <a:pt x="372" y="1860"/>
                    </a:lnTo>
                    <a:lnTo>
                      <a:pt x="346" y="1871"/>
                    </a:lnTo>
                    <a:lnTo>
                      <a:pt x="320" y="1880"/>
                    </a:lnTo>
                    <a:lnTo>
                      <a:pt x="294" y="1888"/>
                    </a:lnTo>
                    <a:lnTo>
                      <a:pt x="280" y="1892"/>
                    </a:lnTo>
                    <a:lnTo>
                      <a:pt x="267" y="1895"/>
                    </a:lnTo>
                    <a:lnTo>
                      <a:pt x="253" y="1898"/>
                    </a:lnTo>
                    <a:lnTo>
                      <a:pt x="240" y="1901"/>
                    </a:lnTo>
                    <a:lnTo>
                      <a:pt x="0" y="2230"/>
                    </a:lnTo>
                    <a:lnTo>
                      <a:pt x="244" y="2543"/>
                    </a:lnTo>
                    <a:lnTo>
                      <a:pt x="274" y="2540"/>
                    </a:lnTo>
                    <a:lnTo>
                      <a:pt x="304" y="2535"/>
                    </a:lnTo>
                    <a:lnTo>
                      <a:pt x="333" y="2531"/>
                    </a:lnTo>
                    <a:lnTo>
                      <a:pt x="363" y="2525"/>
                    </a:lnTo>
                    <a:lnTo>
                      <a:pt x="392" y="2519"/>
                    </a:lnTo>
                    <a:lnTo>
                      <a:pt x="420" y="2512"/>
                    </a:lnTo>
                    <a:lnTo>
                      <a:pt x="449" y="2505"/>
                    </a:lnTo>
                    <a:lnTo>
                      <a:pt x="477" y="2497"/>
                    </a:lnTo>
                    <a:lnTo>
                      <a:pt x="505" y="2488"/>
                    </a:lnTo>
                    <a:lnTo>
                      <a:pt x="533" y="2479"/>
                    </a:lnTo>
                    <a:lnTo>
                      <a:pt x="560" y="2468"/>
                    </a:lnTo>
                    <a:lnTo>
                      <a:pt x="587" y="2457"/>
                    </a:lnTo>
                    <a:lnTo>
                      <a:pt x="614" y="2446"/>
                    </a:lnTo>
                    <a:lnTo>
                      <a:pt x="640" y="2434"/>
                    </a:lnTo>
                    <a:lnTo>
                      <a:pt x="666" y="2422"/>
                    </a:lnTo>
                    <a:lnTo>
                      <a:pt x="693" y="2409"/>
                    </a:lnTo>
                    <a:lnTo>
                      <a:pt x="718" y="2395"/>
                    </a:lnTo>
                    <a:lnTo>
                      <a:pt x="743" y="2381"/>
                    </a:lnTo>
                    <a:lnTo>
                      <a:pt x="768" y="2367"/>
                    </a:lnTo>
                    <a:lnTo>
                      <a:pt x="792" y="2352"/>
                    </a:lnTo>
                    <a:lnTo>
                      <a:pt x="816" y="2336"/>
                    </a:lnTo>
                    <a:lnTo>
                      <a:pt x="841" y="2320"/>
                    </a:lnTo>
                    <a:lnTo>
                      <a:pt x="864" y="2302"/>
                    </a:lnTo>
                    <a:lnTo>
                      <a:pt x="887" y="2285"/>
                    </a:lnTo>
                    <a:lnTo>
                      <a:pt x="909" y="2268"/>
                    </a:lnTo>
                    <a:lnTo>
                      <a:pt x="931" y="2250"/>
                    </a:lnTo>
                    <a:lnTo>
                      <a:pt x="952" y="2231"/>
                    </a:lnTo>
                    <a:lnTo>
                      <a:pt x="973" y="2212"/>
                    </a:lnTo>
                    <a:lnTo>
                      <a:pt x="995" y="2192"/>
                    </a:lnTo>
                    <a:lnTo>
                      <a:pt x="1015" y="2172"/>
                    </a:lnTo>
                    <a:lnTo>
                      <a:pt x="1035" y="2151"/>
                    </a:lnTo>
                    <a:lnTo>
                      <a:pt x="1054" y="2130"/>
                    </a:lnTo>
                    <a:lnTo>
                      <a:pt x="1073" y="2109"/>
                    </a:lnTo>
                    <a:lnTo>
                      <a:pt x="1092" y="2087"/>
                    </a:lnTo>
                    <a:lnTo>
                      <a:pt x="1110" y="2065"/>
                    </a:lnTo>
                    <a:lnTo>
                      <a:pt x="1127" y="2042"/>
                    </a:lnTo>
                    <a:lnTo>
                      <a:pt x="1144" y="2019"/>
                    </a:lnTo>
                    <a:lnTo>
                      <a:pt x="1161" y="1996"/>
                    </a:lnTo>
                    <a:lnTo>
                      <a:pt x="1177" y="1971"/>
                    </a:lnTo>
                    <a:lnTo>
                      <a:pt x="1192" y="1947"/>
                    </a:lnTo>
                    <a:lnTo>
                      <a:pt x="1207" y="1922"/>
                    </a:lnTo>
                    <a:lnTo>
                      <a:pt x="1222" y="1898"/>
                    </a:lnTo>
                    <a:lnTo>
                      <a:pt x="1235" y="1872"/>
                    </a:lnTo>
                    <a:lnTo>
                      <a:pt x="1249" y="1847"/>
                    </a:lnTo>
                    <a:lnTo>
                      <a:pt x="1261" y="1820"/>
                    </a:lnTo>
                    <a:lnTo>
                      <a:pt x="1273" y="1794"/>
                    </a:lnTo>
                    <a:lnTo>
                      <a:pt x="1285" y="1767"/>
                    </a:lnTo>
                    <a:lnTo>
                      <a:pt x="1296" y="1741"/>
                    </a:lnTo>
                    <a:lnTo>
                      <a:pt x="1307" y="1714"/>
                    </a:lnTo>
                    <a:lnTo>
                      <a:pt x="1316" y="1686"/>
                    </a:lnTo>
                    <a:lnTo>
                      <a:pt x="1326" y="1657"/>
                    </a:lnTo>
                    <a:lnTo>
                      <a:pt x="1334" y="1630"/>
                    </a:lnTo>
                    <a:lnTo>
                      <a:pt x="1342" y="1601"/>
                    </a:lnTo>
                    <a:lnTo>
                      <a:pt x="1349" y="1573"/>
                    </a:lnTo>
                    <a:lnTo>
                      <a:pt x="1356" y="1544"/>
                    </a:lnTo>
                    <a:lnTo>
                      <a:pt x="1361" y="1515"/>
                    </a:lnTo>
                    <a:lnTo>
                      <a:pt x="1367" y="1485"/>
                    </a:lnTo>
                    <a:lnTo>
                      <a:pt x="1371" y="1456"/>
                    </a:lnTo>
                    <a:lnTo>
                      <a:pt x="1375" y="1426"/>
                    </a:lnTo>
                    <a:lnTo>
                      <a:pt x="1378" y="1396"/>
                    </a:lnTo>
                    <a:lnTo>
                      <a:pt x="1381" y="1366"/>
                    </a:lnTo>
                    <a:lnTo>
                      <a:pt x="1383" y="1335"/>
                    </a:lnTo>
                    <a:lnTo>
                      <a:pt x="1384" y="1304"/>
                    </a:lnTo>
                    <a:lnTo>
                      <a:pt x="1384" y="1274"/>
                    </a:lnTo>
                    <a:lnTo>
                      <a:pt x="1384" y="1241"/>
                    </a:lnTo>
                    <a:lnTo>
                      <a:pt x="1382" y="1208"/>
                    </a:lnTo>
                    <a:lnTo>
                      <a:pt x="1380" y="1175"/>
                    </a:lnTo>
                    <a:lnTo>
                      <a:pt x="1377" y="1143"/>
                    </a:lnTo>
                    <a:lnTo>
                      <a:pt x="1374" y="1111"/>
                    </a:lnTo>
                    <a:lnTo>
                      <a:pt x="1369" y="1080"/>
                    </a:lnTo>
                    <a:lnTo>
                      <a:pt x="1364" y="1048"/>
                    </a:lnTo>
                    <a:lnTo>
                      <a:pt x="1358" y="1016"/>
                    </a:lnTo>
                    <a:lnTo>
                      <a:pt x="1351" y="986"/>
                    </a:lnTo>
                    <a:lnTo>
                      <a:pt x="1344" y="955"/>
                    </a:lnTo>
                    <a:lnTo>
                      <a:pt x="1336" y="925"/>
                    </a:lnTo>
                    <a:lnTo>
                      <a:pt x="1327" y="895"/>
                    </a:lnTo>
                    <a:lnTo>
                      <a:pt x="1317" y="864"/>
                    </a:lnTo>
                    <a:lnTo>
                      <a:pt x="1307" y="835"/>
                    </a:lnTo>
                    <a:lnTo>
                      <a:pt x="1295" y="806"/>
                    </a:lnTo>
                    <a:lnTo>
                      <a:pt x="1283" y="778"/>
                    </a:lnTo>
                    <a:lnTo>
                      <a:pt x="1270" y="749"/>
                    </a:lnTo>
                    <a:lnTo>
                      <a:pt x="1257" y="721"/>
                    </a:lnTo>
                    <a:lnTo>
                      <a:pt x="1244" y="693"/>
                    </a:lnTo>
                    <a:lnTo>
                      <a:pt x="1229" y="666"/>
                    </a:lnTo>
                    <a:lnTo>
                      <a:pt x="1214" y="639"/>
                    </a:lnTo>
                    <a:lnTo>
                      <a:pt x="1199" y="613"/>
                    </a:lnTo>
                    <a:lnTo>
                      <a:pt x="1182" y="587"/>
                    </a:lnTo>
                    <a:lnTo>
                      <a:pt x="1165" y="561"/>
                    </a:lnTo>
                    <a:lnTo>
                      <a:pt x="1148" y="535"/>
                    </a:lnTo>
                    <a:lnTo>
                      <a:pt x="1129" y="511"/>
                    </a:lnTo>
                    <a:lnTo>
                      <a:pt x="1110" y="487"/>
                    </a:lnTo>
                    <a:lnTo>
                      <a:pt x="1091" y="463"/>
                    </a:lnTo>
                    <a:lnTo>
                      <a:pt x="1071" y="440"/>
                    </a:lnTo>
                    <a:lnTo>
                      <a:pt x="1051" y="417"/>
                    </a:lnTo>
                    <a:lnTo>
                      <a:pt x="1030" y="394"/>
                    </a:lnTo>
                    <a:lnTo>
                      <a:pt x="1009" y="372"/>
                    </a:lnTo>
                    <a:lnTo>
                      <a:pt x="987" y="351"/>
                    </a:lnTo>
                    <a:lnTo>
                      <a:pt x="964" y="330"/>
                    </a:lnTo>
                    <a:lnTo>
                      <a:pt x="941" y="310"/>
                    </a:lnTo>
                    <a:lnTo>
                      <a:pt x="918" y="290"/>
                    </a:lnTo>
                    <a:lnTo>
                      <a:pt x="894" y="271"/>
                    </a:lnTo>
                    <a:lnTo>
                      <a:pt x="870" y="253"/>
                    </a:lnTo>
                    <a:lnTo>
                      <a:pt x="845" y="234"/>
                    </a:lnTo>
                    <a:lnTo>
                      <a:pt x="819" y="217"/>
                    </a:lnTo>
                    <a:lnTo>
                      <a:pt x="793" y="200"/>
                    </a:lnTo>
                    <a:lnTo>
                      <a:pt x="767" y="184"/>
                    </a:lnTo>
                    <a:lnTo>
                      <a:pt x="741" y="168"/>
                    </a:lnTo>
                    <a:lnTo>
                      <a:pt x="714" y="153"/>
                    </a:lnTo>
                    <a:lnTo>
                      <a:pt x="687" y="139"/>
                    </a:lnTo>
                    <a:lnTo>
                      <a:pt x="658" y="125"/>
                    </a:lnTo>
                    <a:lnTo>
                      <a:pt x="630" y="112"/>
                    </a:lnTo>
                    <a:lnTo>
                      <a:pt x="602" y="100"/>
                    </a:lnTo>
                    <a:lnTo>
                      <a:pt x="573" y="88"/>
                    </a:lnTo>
                    <a:lnTo>
                      <a:pt x="544" y="76"/>
                    </a:lnTo>
                    <a:lnTo>
                      <a:pt x="515" y="66"/>
                    </a:lnTo>
                    <a:lnTo>
                      <a:pt x="484" y="56"/>
                    </a:lnTo>
                    <a:lnTo>
                      <a:pt x="454" y="48"/>
                    </a:lnTo>
                    <a:lnTo>
                      <a:pt x="424" y="39"/>
                    </a:lnTo>
                    <a:lnTo>
                      <a:pt x="394" y="32"/>
                    </a:lnTo>
                    <a:lnTo>
                      <a:pt x="363" y="25"/>
                    </a:lnTo>
                    <a:lnTo>
                      <a:pt x="331" y="19"/>
                    </a:lnTo>
                    <a:lnTo>
                      <a:pt x="299" y="14"/>
                    </a:lnTo>
                    <a:lnTo>
                      <a:pt x="268" y="10"/>
                    </a:lnTo>
                    <a:lnTo>
                      <a:pt x="236" y="6"/>
                    </a:lnTo>
                    <a:lnTo>
                      <a:pt x="204" y="3"/>
                    </a:lnTo>
                    <a:lnTo>
                      <a:pt x="170" y="1"/>
                    </a:lnTo>
                    <a:lnTo>
                      <a:pt x="138" y="0"/>
                    </a:lnTo>
                    <a:lnTo>
                      <a:pt x="105" y="0"/>
                    </a:lnTo>
                    <a:lnTo>
                      <a:pt x="340" y="337"/>
                    </a:lnTo>
                    <a:lnTo>
                      <a:pt x="114" y="635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48" name="Freeform 5"/>
              <p:cNvSpPr>
                <a:spLocks noChangeAspect="1"/>
              </p:cNvSpPr>
              <p:nvPr/>
            </p:nvSpPr>
            <p:spPr bwMode="auto">
              <a:xfrm>
                <a:off x="1862" y="1377"/>
                <a:ext cx="1379" cy="2543"/>
              </a:xfrm>
              <a:custGeom>
                <a:avLst/>
                <a:gdLst>
                  <a:gd name="T0" fmla="*/ 1218 w 1379"/>
                  <a:gd name="T1" fmla="*/ 1901 h 2543"/>
                  <a:gd name="T2" fmla="*/ 1155 w 1379"/>
                  <a:gd name="T3" fmla="*/ 1892 h 2543"/>
                  <a:gd name="T4" fmla="*/ 1095 w 1379"/>
                  <a:gd name="T5" fmla="*/ 1877 h 2543"/>
                  <a:gd name="T6" fmla="*/ 1038 w 1379"/>
                  <a:gd name="T7" fmla="*/ 1856 h 2543"/>
                  <a:gd name="T8" fmla="*/ 969 w 1379"/>
                  <a:gd name="T9" fmla="*/ 1821 h 2543"/>
                  <a:gd name="T10" fmla="*/ 918 w 1379"/>
                  <a:gd name="T11" fmla="*/ 1789 h 2543"/>
                  <a:gd name="T12" fmla="*/ 858 w 1379"/>
                  <a:gd name="T13" fmla="*/ 1743 h 2543"/>
                  <a:gd name="T14" fmla="*/ 805 w 1379"/>
                  <a:gd name="T15" fmla="*/ 1690 h 2543"/>
                  <a:gd name="T16" fmla="*/ 759 w 1379"/>
                  <a:gd name="T17" fmla="*/ 1630 h 2543"/>
                  <a:gd name="T18" fmla="*/ 720 w 1379"/>
                  <a:gd name="T19" fmla="*/ 1566 h 2543"/>
                  <a:gd name="T20" fmla="*/ 687 w 1379"/>
                  <a:gd name="T21" fmla="*/ 1496 h 2543"/>
                  <a:gd name="T22" fmla="*/ 668 w 1379"/>
                  <a:gd name="T23" fmla="*/ 1438 h 2543"/>
                  <a:gd name="T24" fmla="*/ 652 w 1379"/>
                  <a:gd name="T25" fmla="*/ 1362 h 2543"/>
                  <a:gd name="T26" fmla="*/ 645 w 1379"/>
                  <a:gd name="T27" fmla="*/ 1282 h 2543"/>
                  <a:gd name="T28" fmla="*/ 648 w 1379"/>
                  <a:gd name="T29" fmla="*/ 1197 h 2543"/>
                  <a:gd name="T30" fmla="*/ 659 w 1379"/>
                  <a:gd name="T31" fmla="*/ 1129 h 2543"/>
                  <a:gd name="T32" fmla="*/ 686 w 1379"/>
                  <a:gd name="T33" fmla="*/ 1039 h 2543"/>
                  <a:gd name="T34" fmla="*/ 725 w 1379"/>
                  <a:gd name="T35" fmla="*/ 955 h 2543"/>
                  <a:gd name="T36" fmla="*/ 768 w 1379"/>
                  <a:gd name="T37" fmla="*/ 889 h 2543"/>
                  <a:gd name="T38" fmla="*/ 836 w 1379"/>
                  <a:gd name="T39" fmla="*/ 810 h 2543"/>
                  <a:gd name="T40" fmla="*/ 906 w 1379"/>
                  <a:gd name="T41" fmla="*/ 751 h 2543"/>
                  <a:gd name="T42" fmla="*/ 971 w 1379"/>
                  <a:gd name="T43" fmla="*/ 707 h 2543"/>
                  <a:gd name="T44" fmla="*/ 1056 w 1379"/>
                  <a:gd name="T45" fmla="*/ 668 h 2543"/>
                  <a:gd name="T46" fmla="*/ 1132 w 1379"/>
                  <a:gd name="T47" fmla="*/ 645 h 2543"/>
                  <a:gd name="T48" fmla="*/ 1076 w 1379"/>
                  <a:gd name="T49" fmla="*/ 7 h 2543"/>
                  <a:gd name="T50" fmla="*/ 959 w 1379"/>
                  <a:gd name="T51" fmla="*/ 31 h 2543"/>
                  <a:gd name="T52" fmla="*/ 847 w 1379"/>
                  <a:gd name="T53" fmla="*/ 65 h 2543"/>
                  <a:gd name="T54" fmla="*/ 740 w 1379"/>
                  <a:gd name="T55" fmla="*/ 109 h 2543"/>
                  <a:gd name="T56" fmla="*/ 638 w 1379"/>
                  <a:gd name="T57" fmla="*/ 162 h 2543"/>
                  <a:gd name="T58" fmla="*/ 541 w 1379"/>
                  <a:gd name="T59" fmla="*/ 223 h 2543"/>
                  <a:gd name="T60" fmla="*/ 451 w 1379"/>
                  <a:gd name="T61" fmla="*/ 294 h 2543"/>
                  <a:gd name="T62" fmla="*/ 367 w 1379"/>
                  <a:gd name="T63" fmla="*/ 371 h 2543"/>
                  <a:gd name="T64" fmla="*/ 291 w 1379"/>
                  <a:gd name="T65" fmla="*/ 456 h 2543"/>
                  <a:gd name="T66" fmla="*/ 222 w 1379"/>
                  <a:gd name="T67" fmla="*/ 546 h 2543"/>
                  <a:gd name="T68" fmla="*/ 162 w 1379"/>
                  <a:gd name="T69" fmla="*/ 644 h 2543"/>
                  <a:gd name="T70" fmla="*/ 110 w 1379"/>
                  <a:gd name="T71" fmla="*/ 747 h 2543"/>
                  <a:gd name="T72" fmla="*/ 67 w 1379"/>
                  <a:gd name="T73" fmla="*/ 855 h 2543"/>
                  <a:gd name="T74" fmla="*/ 35 w 1379"/>
                  <a:gd name="T75" fmla="*/ 968 h 2543"/>
                  <a:gd name="T76" fmla="*/ 13 w 1379"/>
                  <a:gd name="T77" fmla="*/ 1084 h 2543"/>
                  <a:gd name="T78" fmla="*/ 2 w 1379"/>
                  <a:gd name="T79" fmla="*/ 1205 h 2543"/>
                  <a:gd name="T80" fmla="*/ 2 w 1379"/>
                  <a:gd name="T81" fmla="*/ 1331 h 2543"/>
                  <a:gd name="T82" fmla="*/ 15 w 1379"/>
                  <a:gd name="T83" fmla="*/ 1459 h 2543"/>
                  <a:gd name="T84" fmla="*/ 40 w 1379"/>
                  <a:gd name="T85" fmla="*/ 1584 h 2543"/>
                  <a:gd name="T86" fmla="*/ 77 w 1379"/>
                  <a:gd name="T87" fmla="*/ 1704 h 2543"/>
                  <a:gd name="T88" fmla="*/ 126 w 1379"/>
                  <a:gd name="T89" fmla="*/ 1817 h 2543"/>
                  <a:gd name="T90" fmla="*/ 185 w 1379"/>
                  <a:gd name="T91" fmla="*/ 1926 h 2543"/>
                  <a:gd name="T92" fmla="*/ 254 w 1379"/>
                  <a:gd name="T93" fmla="*/ 2028 h 2543"/>
                  <a:gd name="T94" fmla="*/ 332 w 1379"/>
                  <a:gd name="T95" fmla="*/ 2122 h 2543"/>
                  <a:gd name="T96" fmla="*/ 419 w 1379"/>
                  <a:gd name="T97" fmla="*/ 2209 h 2543"/>
                  <a:gd name="T98" fmla="*/ 512 w 1379"/>
                  <a:gd name="T99" fmla="*/ 2287 h 2543"/>
                  <a:gd name="T100" fmla="*/ 614 w 1379"/>
                  <a:gd name="T101" fmla="*/ 2356 h 2543"/>
                  <a:gd name="T102" fmla="*/ 723 w 1379"/>
                  <a:gd name="T103" fmla="*/ 2415 h 2543"/>
                  <a:gd name="T104" fmla="*/ 836 w 1379"/>
                  <a:gd name="T105" fmla="*/ 2465 h 2543"/>
                  <a:gd name="T106" fmla="*/ 956 w 1379"/>
                  <a:gd name="T107" fmla="*/ 2502 h 2543"/>
                  <a:gd name="T108" fmla="*/ 1081 w 1379"/>
                  <a:gd name="T109" fmla="*/ 2528 h 2543"/>
                  <a:gd name="T110" fmla="*/ 1209 w 1379"/>
                  <a:gd name="T111" fmla="*/ 2541 h 2543"/>
                  <a:gd name="T112" fmla="*/ 1266 w 1379"/>
                  <a:gd name="T113" fmla="*/ 1904 h 254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79"/>
                  <a:gd name="T172" fmla="*/ 0 h 2543"/>
                  <a:gd name="T173" fmla="*/ 1379 w 1379"/>
                  <a:gd name="T174" fmla="*/ 2543 h 254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79" h="2543">
                    <a:moveTo>
                      <a:pt x="1266" y="1904"/>
                    </a:moveTo>
                    <a:lnTo>
                      <a:pt x="1250" y="1904"/>
                    </a:lnTo>
                    <a:lnTo>
                      <a:pt x="1234" y="1903"/>
                    </a:lnTo>
                    <a:lnTo>
                      <a:pt x="1218" y="1901"/>
                    </a:lnTo>
                    <a:lnTo>
                      <a:pt x="1202" y="1900"/>
                    </a:lnTo>
                    <a:lnTo>
                      <a:pt x="1186" y="1897"/>
                    </a:lnTo>
                    <a:lnTo>
                      <a:pt x="1170" y="1895"/>
                    </a:lnTo>
                    <a:lnTo>
                      <a:pt x="1155" y="1892"/>
                    </a:lnTo>
                    <a:lnTo>
                      <a:pt x="1140" y="1889"/>
                    </a:lnTo>
                    <a:lnTo>
                      <a:pt x="1125" y="1885"/>
                    </a:lnTo>
                    <a:lnTo>
                      <a:pt x="1110" y="1881"/>
                    </a:lnTo>
                    <a:lnTo>
                      <a:pt x="1095" y="1877"/>
                    </a:lnTo>
                    <a:lnTo>
                      <a:pt x="1081" y="1872"/>
                    </a:lnTo>
                    <a:lnTo>
                      <a:pt x="1066" y="1867"/>
                    </a:lnTo>
                    <a:lnTo>
                      <a:pt x="1052" y="1861"/>
                    </a:lnTo>
                    <a:lnTo>
                      <a:pt x="1038" y="1856"/>
                    </a:lnTo>
                    <a:lnTo>
                      <a:pt x="1023" y="1850"/>
                    </a:lnTo>
                    <a:lnTo>
                      <a:pt x="995" y="1837"/>
                    </a:lnTo>
                    <a:lnTo>
                      <a:pt x="982" y="1830"/>
                    </a:lnTo>
                    <a:lnTo>
                      <a:pt x="969" y="1821"/>
                    </a:lnTo>
                    <a:lnTo>
                      <a:pt x="956" y="1814"/>
                    </a:lnTo>
                    <a:lnTo>
                      <a:pt x="943" y="1806"/>
                    </a:lnTo>
                    <a:lnTo>
                      <a:pt x="930" y="1798"/>
                    </a:lnTo>
                    <a:lnTo>
                      <a:pt x="918" y="1789"/>
                    </a:lnTo>
                    <a:lnTo>
                      <a:pt x="894" y="1772"/>
                    </a:lnTo>
                    <a:lnTo>
                      <a:pt x="882" y="1762"/>
                    </a:lnTo>
                    <a:lnTo>
                      <a:pt x="869" y="1753"/>
                    </a:lnTo>
                    <a:lnTo>
                      <a:pt x="858" y="1743"/>
                    </a:lnTo>
                    <a:lnTo>
                      <a:pt x="847" y="1733"/>
                    </a:lnTo>
                    <a:lnTo>
                      <a:pt x="836" y="1722"/>
                    </a:lnTo>
                    <a:lnTo>
                      <a:pt x="826" y="1712"/>
                    </a:lnTo>
                    <a:lnTo>
                      <a:pt x="805" y="1690"/>
                    </a:lnTo>
                    <a:lnTo>
                      <a:pt x="795" y="1679"/>
                    </a:lnTo>
                    <a:lnTo>
                      <a:pt x="786" y="1667"/>
                    </a:lnTo>
                    <a:lnTo>
                      <a:pt x="768" y="1642"/>
                    </a:lnTo>
                    <a:lnTo>
                      <a:pt x="759" y="1630"/>
                    </a:lnTo>
                    <a:lnTo>
                      <a:pt x="750" y="1618"/>
                    </a:lnTo>
                    <a:lnTo>
                      <a:pt x="734" y="1592"/>
                    </a:lnTo>
                    <a:lnTo>
                      <a:pt x="727" y="1579"/>
                    </a:lnTo>
                    <a:lnTo>
                      <a:pt x="720" y="1566"/>
                    </a:lnTo>
                    <a:lnTo>
                      <a:pt x="705" y="1539"/>
                    </a:lnTo>
                    <a:lnTo>
                      <a:pt x="699" y="1525"/>
                    </a:lnTo>
                    <a:lnTo>
                      <a:pt x="693" y="1511"/>
                    </a:lnTo>
                    <a:lnTo>
                      <a:pt x="687" y="1496"/>
                    </a:lnTo>
                    <a:lnTo>
                      <a:pt x="682" y="1482"/>
                    </a:lnTo>
                    <a:lnTo>
                      <a:pt x="677" y="1467"/>
                    </a:lnTo>
                    <a:lnTo>
                      <a:pt x="672" y="1452"/>
                    </a:lnTo>
                    <a:lnTo>
                      <a:pt x="668" y="1438"/>
                    </a:lnTo>
                    <a:lnTo>
                      <a:pt x="664" y="1423"/>
                    </a:lnTo>
                    <a:lnTo>
                      <a:pt x="660" y="1408"/>
                    </a:lnTo>
                    <a:lnTo>
                      <a:pt x="657" y="1393"/>
                    </a:lnTo>
                    <a:lnTo>
                      <a:pt x="652" y="1362"/>
                    </a:lnTo>
                    <a:lnTo>
                      <a:pt x="648" y="1329"/>
                    </a:lnTo>
                    <a:lnTo>
                      <a:pt x="646" y="1314"/>
                    </a:lnTo>
                    <a:lnTo>
                      <a:pt x="645" y="1298"/>
                    </a:lnTo>
                    <a:lnTo>
                      <a:pt x="645" y="1282"/>
                    </a:lnTo>
                    <a:lnTo>
                      <a:pt x="645" y="1266"/>
                    </a:lnTo>
                    <a:lnTo>
                      <a:pt x="645" y="1238"/>
                    </a:lnTo>
                    <a:lnTo>
                      <a:pt x="647" y="1210"/>
                    </a:lnTo>
                    <a:lnTo>
                      <a:pt x="648" y="1197"/>
                    </a:lnTo>
                    <a:lnTo>
                      <a:pt x="650" y="1182"/>
                    </a:lnTo>
                    <a:lnTo>
                      <a:pt x="654" y="1155"/>
                    </a:lnTo>
                    <a:lnTo>
                      <a:pt x="656" y="1142"/>
                    </a:lnTo>
                    <a:lnTo>
                      <a:pt x="659" y="1129"/>
                    </a:lnTo>
                    <a:lnTo>
                      <a:pt x="665" y="1103"/>
                    </a:lnTo>
                    <a:lnTo>
                      <a:pt x="673" y="1077"/>
                    </a:lnTo>
                    <a:lnTo>
                      <a:pt x="681" y="1052"/>
                    </a:lnTo>
                    <a:lnTo>
                      <a:pt x="686" y="1039"/>
                    </a:lnTo>
                    <a:lnTo>
                      <a:pt x="690" y="1026"/>
                    </a:lnTo>
                    <a:lnTo>
                      <a:pt x="701" y="1002"/>
                    </a:lnTo>
                    <a:lnTo>
                      <a:pt x="712" y="978"/>
                    </a:lnTo>
                    <a:lnTo>
                      <a:pt x="725" y="955"/>
                    </a:lnTo>
                    <a:lnTo>
                      <a:pt x="739" y="932"/>
                    </a:lnTo>
                    <a:lnTo>
                      <a:pt x="753" y="910"/>
                    </a:lnTo>
                    <a:lnTo>
                      <a:pt x="760" y="900"/>
                    </a:lnTo>
                    <a:lnTo>
                      <a:pt x="768" y="889"/>
                    </a:lnTo>
                    <a:lnTo>
                      <a:pt x="783" y="867"/>
                    </a:lnTo>
                    <a:lnTo>
                      <a:pt x="800" y="847"/>
                    </a:lnTo>
                    <a:lnTo>
                      <a:pt x="817" y="828"/>
                    </a:lnTo>
                    <a:lnTo>
                      <a:pt x="836" y="810"/>
                    </a:lnTo>
                    <a:lnTo>
                      <a:pt x="854" y="792"/>
                    </a:lnTo>
                    <a:lnTo>
                      <a:pt x="874" y="775"/>
                    </a:lnTo>
                    <a:lnTo>
                      <a:pt x="895" y="759"/>
                    </a:lnTo>
                    <a:lnTo>
                      <a:pt x="906" y="751"/>
                    </a:lnTo>
                    <a:lnTo>
                      <a:pt x="916" y="743"/>
                    </a:lnTo>
                    <a:lnTo>
                      <a:pt x="938" y="729"/>
                    </a:lnTo>
                    <a:lnTo>
                      <a:pt x="960" y="715"/>
                    </a:lnTo>
                    <a:lnTo>
                      <a:pt x="971" y="707"/>
                    </a:lnTo>
                    <a:lnTo>
                      <a:pt x="983" y="701"/>
                    </a:lnTo>
                    <a:lnTo>
                      <a:pt x="1006" y="689"/>
                    </a:lnTo>
                    <a:lnTo>
                      <a:pt x="1030" y="678"/>
                    </a:lnTo>
                    <a:lnTo>
                      <a:pt x="1056" y="668"/>
                    </a:lnTo>
                    <a:lnTo>
                      <a:pt x="1068" y="664"/>
                    </a:lnTo>
                    <a:lnTo>
                      <a:pt x="1081" y="659"/>
                    </a:lnTo>
                    <a:lnTo>
                      <a:pt x="1106" y="651"/>
                    </a:lnTo>
                    <a:lnTo>
                      <a:pt x="1132" y="645"/>
                    </a:lnTo>
                    <a:lnTo>
                      <a:pt x="1379" y="313"/>
                    </a:lnTo>
                    <a:lnTo>
                      <a:pt x="1135" y="0"/>
                    </a:lnTo>
                    <a:lnTo>
                      <a:pt x="1105" y="3"/>
                    </a:lnTo>
                    <a:lnTo>
                      <a:pt x="1076" y="7"/>
                    </a:lnTo>
                    <a:lnTo>
                      <a:pt x="1046" y="12"/>
                    </a:lnTo>
                    <a:lnTo>
                      <a:pt x="1016" y="18"/>
                    </a:lnTo>
                    <a:lnTo>
                      <a:pt x="988" y="24"/>
                    </a:lnTo>
                    <a:lnTo>
                      <a:pt x="959" y="31"/>
                    </a:lnTo>
                    <a:lnTo>
                      <a:pt x="931" y="39"/>
                    </a:lnTo>
                    <a:lnTo>
                      <a:pt x="903" y="47"/>
                    </a:lnTo>
                    <a:lnTo>
                      <a:pt x="874" y="56"/>
                    </a:lnTo>
                    <a:lnTo>
                      <a:pt x="847" y="65"/>
                    </a:lnTo>
                    <a:lnTo>
                      <a:pt x="820" y="76"/>
                    </a:lnTo>
                    <a:lnTo>
                      <a:pt x="793" y="87"/>
                    </a:lnTo>
                    <a:lnTo>
                      <a:pt x="766" y="98"/>
                    </a:lnTo>
                    <a:lnTo>
                      <a:pt x="740" y="109"/>
                    </a:lnTo>
                    <a:lnTo>
                      <a:pt x="713" y="122"/>
                    </a:lnTo>
                    <a:lnTo>
                      <a:pt x="688" y="135"/>
                    </a:lnTo>
                    <a:lnTo>
                      <a:pt x="663" y="148"/>
                    </a:lnTo>
                    <a:lnTo>
                      <a:pt x="638" y="162"/>
                    </a:lnTo>
                    <a:lnTo>
                      <a:pt x="613" y="177"/>
                    </a:lnTo>
                    <a:lnTo>
                      <a:pt x="589" y="192"/>
                    </a:lnTo>
                    <a:lnTo>
                      <a:pt x="565" y="207"/>
                    </a:lnTo>
                    <a:lnTo>
                      <a:pt x="541" y="223"/>
                    </a:lnTo>
                    <a:lnTo>
                      <a:pt x="518" y="241"/>
                    </a:lnTo>
                    <a:lnTo>
                      <a:pt x="495" y="258"/>
                    </a:lnTo>
                    <a:lnTo>
                      <a:pt x="473" y="276"/>
                    </a:lnTo>
                    <a:lnTo>
                      <a:pt x="451" y="294"/>
                    </a:lnTo>
                    <a:lnTo>
                      <a:pt x="430" y="312"/>
                    </a:lnTo>
                    <a:lnTo>
                      <a:pt x="409" y="331"/>
                    </a:lnTo>
                    <a:lnTo>
                      <a:pt x="387" y="351"/>
                    </a:lnTo>
                    <a:lnTo>
                      <a:pt x="367" y="371"/>
                    </a:lnTo>
                    <a:lnTo>
                      <a:pt x="347" y="392"/>
                    </a:lnTo>
                    <a:lnTo>
                      <a:pt x="328" y="413"/>
                    </a:lnTo>
                    <a:lnTo>
                      <a:pt x="309" y="434"/>
                    </a:lnTo>
                    <a:lnTo>
                      <a:pt x="291" y="456"/>
                    </a:lnTo>
                    <a:lnTo>
                      <a:pt x="273" y="478"/>
                    </a:lnTo>
                    <a:lnTo>
                      <a:pt x="256" y="500"/>
                    </a:lnTo>
                    <a:lnTo>
                      <a:pt x="238" y="523"/>
                    </a:lnTo>
                    <a:lnTo>
                      <a:pt x="222" y="546"/>
                    </a:lnTo>
                    <a:lnTo>
                      <a:pt x="206" y="571"/>
                    </a:lnTo>
                    <a:lnTo>
                      <a:pt x="191" y="595"/>
                    </a:lnTo>
                    <a:lnTo>
                      <a:pt x="176" y="619"/>
                    </a:lnTo>
                    <a:lnTo>
                      <a:pt x="162" y="644"/>
                    </a:lnTo>
                    <a:lnTo>
                      <a:pt x="148" y="669"/>
                    </a:lnTo>
                    <a:lnTo>
                      <a:pt x="135" y="695"/>
                    </a:lnTo>
                    <a:lnTo>
                      <a:pt x="122" y="721"/>
                    </a:lnTo>
                    <a:lnTo>
                      <a:pt x="110" y="747"/>
                    </a:lnTo>
                    <a:lnTo>
                      <a:pt x="99" y="774"/>
                    </a:lnTo>
                    <a:lnTo>
                      <a:pt x="88" y="800"/>
                    </a:lnTo>
                    <a:lnTo>
                      <a:pt x="77" y="827"/>
                    </a:lnTo>
                    <a:lnTo>
                      <a:pt x="67" y="855"/>
                    </a:lnTo>
                    <a:lnTo>
                      <a:pt x="58" y="883"/>
                    </a:lnTo>
                    <a:lnTo>
                      <a:pt x="50" y="911"/>
                    </a:lnTo>
                    <a:lnTo>
                      <a:pt x="42" y="939"/>
                    </a:lnTo>
                    <a:lnTo>
                      <a:pt x="35" y="968"/>
                    </a:lnTo>
                    <a:lnTo>
                      <a:pt x="28" y="996"/>
                    </a:lnTo>
                    <a:lnTo>
                      <a:pt x="23" y="1025"/>
                    </a:lnTo>
                    <a:lnTo>
                      <a:pt x="17" y="1055"/>
                    </a:lnTo>
                    <a:lnTo>
                      <a:pt x="13" y="1084"/>
                    </a:lnTo>
                    <a:lnTo>
                      <a:pt x="9" y="1114"/>
                    </a:lnTo>
                    <a:lnTo>
                      <a:pt x="6" y="1144"/>
                    </a:lnTo>
                    <a:lnTo>
                      <a:pt x="3" y="1174"/>
                    </a:lnTo>
                    <a:lnTo>
                      <a:pt x="2" y="1205"/>
                    </a:lnTo>
                    <a:lnTo>
                      <a:pt x="0" y="1235"/>
                    </a:lnTo>
                    <a:lnTo>
                      <a:pt x="0" y="1266"/>
                    </a:lnTo>
                    <a:lnTo>
                      <a:pt x="1" y="1298"/>
                    </a:lnTo>
                    <a:lnTo>
                      <a:pt x="2" y="1331"/>
                    </a:lnTo>
                    <a:lnTo>
                      <a:pt x="4" y="1364"/>
                    </a:lnTo>
                    <a:lnTo>
                      <a:pt x="7" y="1396"/>
                    </a:lnTo>
                    <a:lnTo>
                      <a:pt x="10" y="1428"/>
                    </a:lnTo>
                    <a:lnTo>
                      <a:pt x="15" y="1459"/>
                    </a:lnTo>
                    <a:lnTo>
                      <a:pt x="20" y="1491"/>
                    </a:lnTo>
                    <a:lnTo>
                      <a:pt x="26" y="1523"/>
                    </a:lnTo>
                    <a:lnTo>
                      <a:pt x="33" y="1553"/>
                    </a:lnTo>
                    <a:lnTo>
                      <a:pt x="40" y="1584"/>
                    </a:lnTo>
                    <a:lnTo>
                      <a:pt x="48" y="1614"/>
                    </a:lnTo>
                    <a:lnTo>
                      <a:pt x="57" y="1644"/>
                    </a:lnTo>
                    <a:lnTo>
                      <a:pt x="67" y="1674"/>
                    </a:lnTo>
                    <a:lnTo>
                      <a:pt x="77" y="1704"/>
                    </a:lnTo>
                    <a:lnTo>
                      <a:pt x="89" y="1733"/>
                    </a:lnTo>
                    <a:lnTo>
                      <a:pt x="101" y="1761"/>
                    </a:lnTo>
                    <a:lnTo>
                      <a:pt x="113" y="1789"/>
                    </a:lnTo>
                    <a:lnTo>
                      <a:pt x="126" y="1817"/>
                    </a:lnTo>
                    <a:lnTo>
                      <a:pt x="140" y="1846"/>
                    </a:lnTo>
                    <a:lnTo>
                      <a:pt x="154" y="1873"/>
                    </a:lnTo>
                    <a:lnTo>
                      <a:pt x="169" y="1900"/>
                    </a:lnTo>
                    <a:lnTo>
                      <a:pt x="185" y="1926"/>
                    </a:lnTo>
                    <a:lnTo>
                      <a:pt x="201" y="1952"/>
                    </a:lnTo>
                    <a:lnTo>
                      <a:pt x="218" y="1977"/>
                    </a:lnTo>
                    <a:lnTo>
                      <a:pt x="235" y="2003"/>
                    </a:lnTo>
                    <a:lnTo>
                      <a:pt x="254" y="2028"/>
                    </a:lnTo>
                    <a:lnTo>
                      <a:pt x="273" y="2052"/>
                    </a:lnTo>
                    <a:lnTo>
                      <a:pt x="292" y="2076"/>
                    </a:lnTo>
                    <a:lnTo>
                      <a:pt x="311" y="2099"/>
                    </a:lnTo>
                    <a:lnTo>
                      <a:pt x="332" y="2122"/>
                    </a:lnTo>
                    <a:lnTo>
                      <a:pt x="352" y="2145"/>
                    </a:lnTo>
                    <a:lnTo>
                      <a:pt x="374" y="2167"/>
                    </a:lnTo>
                    <a:lnTo>
                      <a:pt x="395" y="2188"/>
                    </a:lnTo>
                    <a:lnTo>
                      <a:pt x="419" y="2209"/>
                    </a:lnTo>
                    <a:lnTo>
                      <a:pt x="441" y="2229"/>
                    </a:lnTo>
                    <a:lnTo>
                      <a:pt x="464" y="2249"/>
                    </a:lnTo>
                    <a:lnTo>
                      <a:pt x="488" y="2268"/>
                    </a:lnTo>
                    <a:lnTo>
                      <a:pt x="512" y="2287"/>
                    </a:lnTo>
                    <a:lnTo>
                      <a:pt x="537" y="2306"/>
                    </a:lnTo>
                    <a:lnTo>
                      <a:pt x="563" y="2323"/>
                    </a:lnTo>
                    <a:lnTo>
                      <a:pt x="588" y="2340"/>
                    </a:lnTo>
                    <a:lnTo>
                      <a:pt x="614" y="2356"/>
                    </a:lnTo>
                    <a:lnTo>
                      <a:pt x="641" y="2372"/>
                    </a:lnTo>
                    <a:lnTo>
                      <a:pt x="667" y="2387"/>
                    </a:lnTo>
                    <a:lnTo>
                      <a:pt x="694" y="2401"/>
                    </a:lnTo>
                    <a:lnTo>
                      <a:pt x="723" y="2415"/>
                    </a:lnTo>
                    <a:lnTo>
                      <a:pt x="751" y="2428"/>
                    </a:lnTo>
                    <a:lnTo>
                      <a:pt x="779" y="2441"/>
                    </a:lnTo>
                    <a:lnTo>
                      <a:pt x="808" y="2452"/>
                    </a:lnTo>
                    <a:lnTo>
                      <a:pt x="836" y="2465"/>
                    </a:lnTo>
                    <a:lnTo>
                      <a:pt x="866" y="2475"/>
                    </a:lnTo>
                    <a:lnTo>
                      <a:pt x="896" y="2485"/>
                    </a:lnTo>
                    <a:lnTo>
                      <a:pt x="926" y="2494"/>
                    </a:lnTo>
                    <a:lnTo>
                      <a:pt x="956" y="2502"/>
                    </a:lnTo>
                    <a:lnTo>
                      <a:pt x="987" y="2510"/>
                    </a:lnTo>
                    <a:lnTo>
                      <a:pt x="1017" y="2516"/>
                    </a:lnTo>
                    <a:lnTo>
                      <a:pt x="1049" y="2522"/>
                    </a:lnTo>
                    <a:lnTo>
                      <a:pt x="1081" y="2528"/>
                    </a:lnTo>
                    <a:lnTo>
                      <a:pt x="1112" y="2532"/>
                    </a:lnTo>
                    <a:lnTo>
                      <a:pt x="1144" y="2536"/>
                    </a:lnTo>
                    <a:lnTo>
                      <a:pt x="1176" y="2539"/>
                    </a:lnTo>
                    <a:lnTo>
                      <a:pt x="1209" y="2541"/>
                    </a:lnTo>
                    <a:lnTo>
                      <a:pt x="1241" y="2543"/>
                    </a:lnTo>
                    <a:lnTo>
                      <a:pt x="1274" y="2543"/>
                    </a:lnTo>
                    <a:lnTo>
                      <a:pt x="1039" y="2206"/>
                    </a:lnTo>
                    <a:lnTo>
                      <a:pt x="1266" y="19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" name="Oval 8"/>
            <p:cNvSpPr/>
            <p:nvPr/>
          </p:nvSpPr>
          <p:spPr>
            <a:xfrm>
              <a:off x="2167086" y="1948359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ung 4"/>
          <p:cNvGrpSpPr/>
          <p:nvPr/>
        </p:nvGrpSpPr>
        <p:grpSpPr>
          <a:xfrm>
            <a:off x="6014591" y="1340768"/>
            <a:ext cx="2015999" cy="2016000"/>
            <a:chOff x="6014591" y="1340768"/>
            <a:chExt cx="2015999" cy="2016000"/>
          </a:xfrm>
        </p:grpSpPr>
        <p:grpSp>
          <p:nvGrpSpPr>
            <p:cNvPr id="54" name="Group 9"/>
            <p:cNvGrpSpPr>
              <a:grpSpLocks/>
            </p:cNvGrpSpPr>
            <p:nvPr/>
          </p:nvGrpSpPr>
          <p:grpSpPr bwMode="auto">
            <a:xfrm>
              <a:off x="6014591" y="1340768"/>
              <a:ext cx="2015999" cy="2016000"/>
              <a:chOff x="1840" y="1448"/>
              <a:chExt cx="2562" cy="2561"/>
            </a:xfrm>
            <a:solidFill>
              <a:srgbClr val="2F52A0"/>
            </a:solidFill>
          </p:grpSpPr>
          <p:sp>
            <p:nvSpPr>
              <p:cNvPr id="55" name="Freeform 10"/>
              <p:cNvSpPr>
                <a:spLocks noChangeAspect="1"/>
              </p:cNvSpPr>
              <p:nvPr/>
            </p:nvSpPr>
            <p:spPr bwMode="auto">
              <a:xfrm>
                <a:off x="3142" y="1448"/>
                <a:ext cx="1260" cy="1451"/>
              </a:xfrm>
              <a:custGeom>
                <a:avLst/>
                <a:gdLst>
                  <a:gd name="T0" fmla="*/ 35 w 1260"/>
                  <a:gd name="T1" fmla="*/ 1 h 1451"/>
                  <a:gd name="T2" fmla="*/ 100 w 1260"/>
                  <a:gd name="T3" fmla="*/ 6 h 1451"/>
                  <a:gd name="T4" fmla="*/ 162 w 1260"/>
                  <a:gd name="T5" fmla="*/ 13 h 1451"/>
                  <a:gd name="T6" fmla="*/ 225 w 1260"/>
                  <a:gd name="T7" fmla="*/ 23 h 1451"/>
                  <a:gd name="T8" fmla="*/ 285 w 1260"/>
                  <a:gd name="T9" fmla="*/ 37 h 1451"/>
                  <a:gd name="T10" fmla="*/ 345 w 1260"/>
                  <a:gd name="T11" fmla="*/ 53 h 1451"/>
                  <a:gd name="T12" fmla="*/ 404 w 1260"/>
                  <a:gd name="T13" fmla="*/ 72 h 1451"/>
                  <a:gd name="T14" fmla="*/ 461 w 1260"/>
                  <a:gd name="T15" fmla="*/ 94 h 1451"/>
                  <a:gd name="T16" fmla="*/ 517 w 1260"/>
                  <a:gd name="T17" fmla="*/ 119 h 1451"/>
                  <a:gd name="T18" fmla="*/ 572 w 1260"/>
                  <a:gd name="T19" fmla="*/ 145 h 1451"/>
                  <a:gd name="T20" fmla="*/ 625 w 1260"/>
                  <a:gd name="T21" fmla="*/ 175 h 1451"/>
                  <a:gd name="T22" fmla="*/ 676 w 1260"/>
                  <a:gd name="T23" fmla="*/ 206 h 1451"/>
                  <a:gd name="T24" fmla="*/ 726 w 1260"/>
                  <a:gd name="T25" fmla="*/ 240 h 1451"/>
                  <a:gd name="T26" fmla="*/ 774 w 1260"/>
                  <a:gd name="T27" fmla="*/ 277 h 1451"/>
                  <a:gd name="T28" fmla="*/ 820 w 1260"/>
                  <a:gd name="T29" fmla="*/ 316 h 1451"/>
                  <a:gd name="T30" fmla="*/ 866 w 1260"/>
                  <a:gd name="T31" fmla="*/ 356 h 1451"/>
                  <a:gd name="T32" fmla="*/ 908 w 1260"/>
                  <a:gd name="T33" fmla="*/ 398 h 1451"/>
                  <a:gd name="T34" fmla="*/ 948 w 1260"/>
                  <a:gd name="T35" fmla="*/ 444 h 1451"/>
                  <a:gd name="T36" fmla="*/ 986 w 1260"/>
                  <a:gd name="T37" fmla="*/ 490 h 1451"/>
                  <a:gd name="T38" fmla="*/ 1023 w 1260"/>
                  <a:gd name="T39" fmla="*/ 538 h 1451"/>
                  <a:gd name="T40" fmla="*/ 1057 w 1260"/>
                  <a:gd name="T41" fmla="*/ 589 h 1451"/>
                  <a:gd name="T42" fmla="*/ 1088 w 1260"/>
                  <a:gd name="T43" fmla="*/ 640 h 1451"/>
                  <a:gd name="T44" fmla="*/ 1117 w 1260"/>
                  <a:gd name="T45" fmla="*/ 693 h 1451"/>
                  <a:gd name="T46" fmla="*/ 1144 w 1260"/>
                  <a:gd name="T47" fmla="*/ 748 h 1451"/>
                  <a:gd name="T48" fmla="*/ 1168 w 1260"/>
                  <a:gd name="T49" fmla="*/ 804 h 1451"/>
                  <a:gd name="T50" fmla="*/ 1190 w 1260"/>
                  <a:gd name="T51" fmla="*/ 861 h 1451"/>
                  <a:gd name="T52" fmla="*/ 1209 w 1260"/>
                  <a:gd name="T53" fmla="*/ 921 h 1451"/>
                  <a:gd name="T54" fmla="*/ 1224 w 1260"/>
                  <a:gd name="T55" fmla="*/ 980 h 1451"/>
                  <a:gd name="T56" fmla="*/ 1237 w 1260"/>
                  <a:gd name="T57" fmla="*/ 1042 h 1451"/>
                  <a:gd name="T58" fmla="*/ 1248 w 1260"/>
                  <a:gd name="T59" fmla="*/ 1104 h 1451"/>
                  <a:gd name="T60" fmla="*/ 1255 w 1260"/>
                  <a:gd name="T61" fmla="*/ 1166 h 1451"/>
                  <a:gd name="T62" fmla="*/ 1259 w 1260"/>
                  <a:gd name="T63" fmla="*/ 1231 h 1451"/>
                  <a:gd name="T64" fmla="*/ 921 w 1260"/>
                  <a:gd name="T65" fmla="*/ 1451 h 1451"/>
                  <a:gd name="T66" fmla="*/ 622 w 1260"/>
                  <a:gd name="T67" fmla="*/ 1231 h 1451"/>
                  <a:gd name="T68" fmla="*/ 616 w 1260"/>
                  <a:gd name="T69" fmla="*/ 1184 h 1451"/>
                  <a:gd name="T70" fmla="*/ 608 w 1260"/>
                  <a:gd name="T71" fmla="*/ 1139 h 1451"/>
                  <a:gd name="T72" fmla="*/ 597 w 1260"/>
                  <a:gd name="T73" fmla="*/ 1096 h 1451"/>
                  <a:gd name="T74" fmla="*/ 588 w 1260"/>
                  <a:gd name="T75" fmla="*/ 1067 h 1451"/>
                  <a:gd name="T76" fmla="*/ 572 w 1260"/>
                  <a:gd name="T77" fmla="*/ 1025 h 1451"/>
                  <a:gd name="T78" fmla="*/ 559 w 1260"/>
                  <a:gd name="T79" fmla="*/ 998 h 1451"/>
                  <a:gd name="T80" fmla="*/ 539 w 1260"/>
                  <a:gd name="T81" fmla="*/ 959 h 1451"/>
                  <a:gd name="T82" fmla="*/ 523 w 1260"/>
                  <a:gd name="T83" fmla="*/ 934 h 1451"/>
                  <a:gd name="T84" fmla="*/ 498 w 1260"/>
                  <a:gd name="T85" fmla="*/ 898 h 1451"/>
                  <a:gd name="T86" fmla="*/ 480 w 1260"/>
                  <a:gd name="T87" fmla="*/ 874 h 1451"/>
                  <a:gd name="T88" fmla="*/ 461 w 1260"/>
                  <a:gd name="T89" fmla="*/ 852 h 1451"/>
                  <a:gd name="T90" fmla="*/ 431 w 1260"/>
                  <a:gd name="T91" fmla="*/ 821 h 1451"/>
                  <a:gd name="T92" fmla="*/ 399 w 1260"/>
                  <a:gd name="T93" fmla="*/ 791 h 1451"/>
                  <a:gd name="T94" fmla="*/ 375 w 1260"/>
                  <a:gd name="T95" fmla="*/ 773 h 1451"/>
                  <a:gd name="T96" fmla="*/ 352 w 1260"/>
                  <a:gd name="T97" fmla="*/ 755 h 1451"/>
                  <a:gd name="T98" fmla="*/ 328 w 1260"/>
                  <a:gd name="T99" fmla="*/ 739 h 1451"/>
                  <a:gd name="T100" fmla="*/ 290 w 1260"/>
                  <a:gd name="T101" fmla="*/ 716 h 1451"/>
                  <a:gd name="T102" fmla="*/ 264 w 1260"/>
                  <a:gd name="T103" fmla="*/ 702 h 1451"/>
                  <a:gd name="T104" fmla="*/ 223 w 1260"/>
                  <a:gd name="T105" fmla="*/ 684 h 1451"/>
                  <a:gd name="T106" fmla="*/ 181 w 1260"/>
                  <a:gd name="T107" fmla="*/ 669 h 1451"/>
                  <a:gd name="T108" fmla="*/ 137 w 1260"/>
                  <a:gd name="T109" fmla="*/ 656 h 1451"/>
                  <a:gd name="T110" fmla="*/ 108 w 1260"/>
                  <a:gd name="T111" fmla="*/ 649 h 1451"/>
                  <a:gd name="T112" fmla="*/ 63 w 1260"/>
                  <a:gd name="T113" fmla="*/ 642 h 1451"/>
                  <a:gd name="T114" fmla="*/ 31 w 1260"/>
                  <a:gd name="T115" fmla="*/ 639 h 1451"/>
                  <a:gd name="T116" fmla="*/ 0 w 1260"/>
                  <a:gd name="T117" fmla="*/ 637 h 1451"/>
                  <a:gd name="T118" fmla="*/ 3 w 1260"/>
                  <a:gd name="T119" fmla="*/ 0 h 14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60"/>
                  <a:gd name="T181" fmla="*/ 0 h 1451"/>
                  <a:gd name="T182" fmla="*/ 1260 w 1260"/>
                  <a:gd name="T183" fmla="*/ 1451 h 14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60" h="1451">
                    <a:moveTo>
                      <a:pt x="3" y="0"/>
                    </a:moveTo>
                    <a:lnTo>
                      <a:pt x="35" y="1"/>
                    </a:lnTo>
                    <a:lnTo>
                      <a:pt x="68" y="3"/>
                    </a:lnTo>
                    <a:lnTo>
                      <a:pt x="100" y="6"/>
                    </a:lnTo>
                    <a:lnTo>
                      <a:pt x="131" y="9"/>
                    </a:lnTo>
                    <a:lnTo>
                      <a:pt x="162" y="13"/>
                    </a:lnTo>
                    <a:lnTo>
                      <a:pt x="193" y="18"/>
                    </a:lnTo>
                    <a:lnTo>
                      <a:pt x="225" y="23"/>
                    </a:lnTo>
                    <a:lnTo>
                      <a:pt x="255" y="30"/>
                    </a:lnTo>
                    <a:lnTo>
                      <a:pt x="285" y="37"/>
                    </a:lnTo>
                    <a:lnTo>
                      <a:pt x="315" y="44"/>
                    </a:lnTo>
                    <a:lnTo>
                      <a:pt x="345" y="53"/>
                    </a:lnTo>
                    <a:lnTo>
                      <a:pt x="374" y="62"/>
                    </a:lnTo>
                    <a:lnTo>
                      <a:pt x="404" y="72"/>
                    </a:lnTo>
                    <a:lnTo>
                      <a:pt x="433" y="83"/>
                    </a:lnTo>
                    <a:lnTo>
                      <a:pt x="461" y="94"/>
                    </a:lnTo>
                    <a:lnTo>
                      <a:pt x="489" y="106"/>
                    </a:lnTo>
                    <a:lnTo>
                      <a:pt x="517" y="119"/>
                    </a:lnTo>
                    <a:lnTo>
                      <a:pt x="545" y="132"/>
                    </a:lnTo>
                    <a:lnTo>
                      <a:pt x="572" y="145"/>
                    </a:lnTo>
                    <a:lnTo>
                      <a:pt x="599" y="160"/>
                    </a:lnTo>
                    <a:lnTo>
                      <a:pt x="625" y="175"/>
                    </a:lnTo>
                    <a:lnTo>
                      <a:pt x="651" y="190"/>
                    </a:lnTo>
                    <a:lnTo>
                      <a:pt x="676" y="206"/>
                    </a:lnTo>
                    <a:lnTo>
                      <a:pt x="702" y="223"/>
                    </a:lnTo>
                    <a:lnTo>
                      <a:pt x="726" y="240"/>
                    </a:lnTo>
                    <a:lnTo>
                      <a:pt x="751" y="259"/>
                    </a:lnTo>
                    <a:lnTo>
                      <a:pt x="774" y="277"/>
                    </a:lnTo>
                    <a:lnTo>
                      <a:pt x="798" y="296"/>
                    </a:lnTo>
                    <a:lnTo>
                      <a:pt x="820" y="316"/>
                    </a:lnTo>
                    <a:lnTo>
                      <a:pt x="843" y="336"/>
                    </a:lnTo>
                    <a:lnTo>
                      <a:pt x="866" y="356"/>
                    </a:lnTo>
                    <a:lnTo>
                      <a:pt x="887" y="377"/>
                    </a:lnTo>
                    <a:lnTo>
                      <a:pt x="908" y="398"/>
                    </a:lnTo>
                    <a:lnTo>
                      <a:pt x="928" y="421"/>
                    </a:lnTo>
                    <a:lnTo>
                      <a:pt x="948" y="444"/>
                    </a:lnTo>
                    <a:lnTo>
                      <a:pt x="967" y="467"/>
                    </a:lnTo>
                    <a:lnTo>
                      <a:pt x="986" y="490"/>
                    </a:lnTo>
                    <a:lnTo>
                      <a:pt x="1004" y="514"/>
                    </a:lnTo>
                    <a:lnTo>
                      <a:pt x="1023" y="538"/>
                    </a:lnTo>
                    <a:lnTo>
                      <a:pt x="1040" y="564"/>
                    </a:lnTo>
                    <a:lnTo>
                      <a:pt x="1057" y="589"/>
                    </a:lnTo>
                    <a:lnTo>
                      <a:pt x="1073" y="614"/>
                    </a:lnTo>
                    <a:lnTo>
                      <a:pt x="1088" y="640"/>
                    </a:lnTo>
                    <a:lnTo>
                      <a:pt x="1103" y="666"/>
                    </a:lnTo>
                    <a:lnTo>
                      <a:pt x="1117" y="693"/>
                    </a:lnTo>
                    <a:lnTo>
                      <a:pt x="1131" y="720"/>
                    </a:lnTo>
                    <a:lnTo>
                      <a:pt x="1144" y="748"/>
                    </a:lnTo>
                    <a:lnTo>
                      <a:pt x="1156" y="776"/>
                    </a:lnTo>
                    <a:lnTo>
                      <a:pt x="1168" y="804"/>
                    </a:lnTo>
                    <a:lnTo>
                      <a:pt x="1180" y="833"/>
                    </a:lnTo>
                    <a:lnTo>
                      <a:pt x="1190" y="861"/>
                    </a:lnTo>
                    <a:lnTo>
                      <a:pt x="1200" y="891"/>
                    </a:lnTo>
                    <a:lnTo>
                      <a:pt x="1209" y="921"/>
                    </a:lnTo>
                    <a:lnTo>
                      <a:pt x="1217" y="950"/>
                    </a:lnTo>
                    <a:lnTo>
                      <a:pt x="1224" y="980"/>
                    </a:lnTo>
                    <a:lnTo>
                      <a:pt x="1231" y="1010"/>
                    </a:lnTo>
                    <a:lnTo>
                      <a:pt x="1237" y="1042"/>
                    </a:lnTo>
                    <a:lnTo>
                      <a:pt x="1243" y="1073"/>
                    </a:lnTo>
                    <a:lnTo>
                      <a:pt x="1248" y="1104"/>
                    </a:lnTo>
                    <a:lnTo>
                      <a:pt x="1252" y="1135"/>
                    </a:lnTo>
                    <a:lnTo>
                      <a:pt x="1255" y="1166"/>
                    </a:lnTo>
                    <a:lnTo>
                      <a:pt x="1257" y="1198"/>
                    </a:lnTo>
                    <a:lnTo>
                      <a:pt x="1259" y="1231"/>
                    </a:lnTo>
                    <a:lnTo>
                      <a:pt x="1260" y="1263"/>
                    </a:lnTo>
                    <a:lnTo>
                      <a:pt x="921" y="1451"/>
                    </a:lnTo>
                    <a:lnTo>
                      <a:pt x="622" y="1246"/>
                    </a:lnTo>
                    <a:lnTo>
                      <a:pt x="622" y="1231"/>
                    </a:lnTo>
                    <a:lnTo>
                      <a:pt x="620" y="1215"/>
                    </a:lnTo>
                    <a:lnTo>
                      <a:pt x="616" y="1184"/>
                    </a:lnTo>
                    <a:lnTo>
                      <a:pt x="611" y="1154"/>
                    </a:lnTo>
                    <a:lnTo>
                      <a:pt x="608" y="1139"/>
                    </a:lnTo>
                    <a:lnTo>
                      <a:pt x="605" y="1125"/>
                    </a:lnTo>
                    <a:lnTo>
                      <a:pt x="597" y="1096"/>
                    </a:lnTo>
                    <a:lnTo>
                      <a:pt x="593" y="1082"/>
                    </a:lnTo>
                    <a:lnTo>
                      <a:pt x="588" y="1067"/>
                    </a:lnTo>
                    <a:lnTo>
                      <a:pt x="577" y="1039"/>
                    </a:lnTo>
                    <a:lnTo>
                      <a:pt x="572" y="1025"/>
                    </a:lnTo>
                    <a:lnTo>
                      <a:pt x="566" y="1012"/>
                    </a:lnTo>
                    <a:lnTo>
                      <a:pt x="559" y="998"/>
                    </a:lnTo>
                    <a:lnTo>
                      <a:pt x="553" y="985"/>
                    </a:lnTo>
                    <a:lnTo>
                      <a:pt x="539" y="959"/>
                    </a:lnTo>
                    <a:lnTo>
                      <a:pt x="530" y="947"/>
                    </a:lnTo>
                    <a:lnTo>
                      <a:pt x="523" y="934"/>
                    </a:lnTo>
                    <a:lnTo>
                      <a:pt x="506" y="910"/>
                    </a:lnTo>
                    <a:lnTo>
                      <a:pt x="498" y="898"/>
                    </a:lnTo>
                    <a:lnTo>
                      <a:pt x="489" y="887"/>
                    </a:lnTo>
                    <a:lnTo>
                      <a:pt x="480" y="874"/>
                    </a:lnTo>
                    <a:lnTo>
                      <a:pt x="471" y="863"/>
                    </a:lnTo>
                    <a:lnTo>
                      <a:pt x="461" y="852"/>
                    </a:lnTo>
                    <a:lnTo>
                      <a:pt x="451" y="841"/>
                    </a:lnTo>
                    <a:lnTo>
                      <a:pt x="431" y="821"/>
                    </a:lnTo>
                    <a:lnTo>
                      <a:pt x="410" y="801"/>
                    </a:lnTo>
                    <a:lnTo>
                      <a:pt x="399" y="791"/>
                    </a:lnTo>
                    <a:lnTo>
                      <a:pt x="388" y="782"/>
                    </a:lnTo>
                    <a:lnTo>
                      <a:pt x="375" y="773"/>
                    </a:lnTo>
                    <a:lnTo>
                      <a:pt x="364" y="764"/>
                    </a:lnTo>
                    <a:lnTo>
                      <a:pt x="352" y="755"/>
                    </a:lnTo>
                    <a:lnTo>
                      <a:pt x="340" y="747"/>
                    </a:lnTo>
                    <a:lnTo>
                      <a:pt x="328" y="739"/>
                    </a:lnTo>
                    <a:lnTo>
                      <a:pt x="315" y="731"/>
                    </a:lnTo>
                    <a:lnTo>
                      <a:pt x="290" y="716"/>
                    </a:lnTo>
                    <a:lnTo>
                      <a:pt x="277" y="709"/>
                    </a:lnTo>
                    <a:lnTo>
                      <a:pt x="264" y="702"/>
                    </a:lnTo>
                    <a:lnTo>
                      <a:pt x="237" y="690"/>
                    </a:lnTo>
                    <a:lnTo>
                      <a:pt x="223" y="684"/>
                    </a:lnTo>
                    <a:lnTo>
                      <a:pt x="209" y="678"/>
                    </a:lnTo>
                    <a:lnTo>
                      <a:pt x="181" y="669"/>
                    </a:lnTo>
                    <a:lnTo>
                      <a:pt x="152" y="660"/>
                    </a:lnTo>
                    <a:lnTo>
                      <a:pt x="137" y="656"/>
                    </a:lnTo>
                    <a:lnTo>
                      <a:pt x="123" y="653"/>
                    </a:lnTo>
                    <a:lnTo>
                      <a:pt x="108" y="649"/>
                    </a:lnTo>
                    <a:lnTo>
                      <a:pt x="93" y="647"/>
                    </a:lnTo>
                    <a:lnTo>
                      <a:pt x="63" y="642"/>
                    </a:lnTo>
                    <a:lnTo>
                      <a:pt x="47" y="640"/>
                    </a:lnTo>
                    <a:lnTo>
                      <a:pt x="31" y="639"/>
                    </a:lnTo>
                    <a:lnTo>
                      <a:pt x="16" y="638"/>
                    </a:lnTo>
                    <a:lnTo>
                      <a:pt x="0" y="637"/>
                    </a:lnTo>
                    <a:lnTo>
                      <a:pt x="197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6" name="Freeform 11"/>
              <p:cNvSpPr>
                <a:spLocks noChangeAspect="1"/>
              </p:cNvSpPr>
              <p:nvPr/>
            </p:nvSpPr>
            <p:spPr bwMode="auto">
              <a:xfrm>
                <a:off x="1840" y="1449"/>
                <a:ext cx="1431" cy="1325"/>
              </a:xfrm>
              <a:custGeom>
                <a:avLst/>
                <a:gdLst>
                  <a:gd name="T0" fmla="*/ 637 w 1431"/>
                  <a:gd name="T1" fmla="*/ 1302 h 1325"/>
                  <a:gd name="T2" fmla="*/ 637 w 1431"/>
                  <a:gd name="T3" fmla="*/ 1248 h 1325"/>
                  <a:gd name="T4" fmla="*/ 640 w 1431"/>
                  <a:gd name="T5" fmla="*/ 1217 h 1325"/>
                  <a:gd name="T6" fmla="*/ 646 w 1431"/>
                  <a:gd name="T7" fmla="*/ 1170 h 1325"/>
                  <a:gd name="T8" fmla="*/ 655 w 1431"/>
                  <a:gd name="T9" fmla="*/ 1125 h 1325"/>
                  <a:gd name="T10" fmla="*/ 663 w 1431"/>
                  <a:gd name="T11" fmla="*/ 1095 h 1325"/>
                  <a:gd name="T12" fmla="*/ 678 w 1431"/>
                  <a:gd name="T13" fmla="*/ 1052 h 1325"/>
                  <a:gd name="T14" fmla="*/ 689 w 1431"/>
                  <a:gd name="T15" fmla="*/ 1024 h 1325"/>
                  <a:gd name="T16" fmla="*/ 708 w 1431"/>
                  <a:gd name="T17" fmla="*/ 983 h 1325"/>
                  <a:gd name="T18" fmla="*/ 724 w 1431"/>
                  <a:gd name="T19" fmla="*/ 957 h 1325"/>
                  <a:gd name="T20" fmla="*/ 739 w 1431"/>
                  <a:gd name="T21" fmla="*/ 932 h 1325"/>
                  <a:gd name="T22" fmla="*/ 756 w 1431"/>
                  <a:gd name="T23" fmla="*/ 907 h 1325"/>
                  <a:gd name="T24" fmla="*/ 773 w 1431"/>
                  <a:gd name="T25" fmla="*/ 884 h 1325"/>
                  <a:gd name="T26" fmla="*/ 792 w 1431"/>
                  <a:gd name="T27" fmla="*/ 860 h 1325"/>
                  <a:gd name="T28" fmla="*/ 822 w 1431"/>
                  <a:gd name="T29" fmla="*/ 827 h 1325"/>
                  <a:gd name="T30" fmla="*/ 843 w 1431"/>
                  <a:gd name="T31" fmla="*/ 807 h 1325"/>
                  <a:gd name="T32" fmla="*/ 877 w 1431"/>
                  <a:gd name="T33" fmla="*/ 778 h 1325"/>
                  <a:gd name="T34" fmla="*/ 901 w 1431"/>
                  <a:gd name="T35" fmla="*/ 760 h 1325"/>
                  <a:gd name="T36" fmla="*/ 938 w 1431"/>
                  <a:gd name="T37" fmla="*/ 735 h 1325"/>
                  <a:gd name="T38" fmla="*/ 976 w 1431"/>
                  <a:gd name="T39" fmla="*/ 711 h 1325"/>
                  <a:gd name="T40" fmla="*/ 1003 w 1431"/>
                  <a:gd name="T41" fmla="*/ 698 h 1325"/>
                  <a:gd name="T42" fmla="*/ 1030 w 1431"/>
                  <a:gd name="T43" fmla="*/ 686 h 1325"/>
                  <a:gd name="T44" fmla="*/ 1059 w 1431"/>
                  <a:gd name="T45" fmla="*/ 675 h 1325"/>
                  <a:gd name="T46" fmla="*/ 1117 w 1431"/>
                  <a:gd name="T47" fmla="*/ 657 h 1325"/>
                  <a:gd name="T48" fmla="*/ 1147 w 1431"/>
                  <a:gd name="T49" fmla="*/ 649 h 1325"/>
                  <a:gd name="T50" fmla="*/ 1192 w 1431"/>
                  <a:gd name="T51" fmla="*/ 642 h 1325"/>
                  <a:gd name="T52" fmla="*/ 1224 w 1431"/>
                  <a:gd name="T53" fmla="*/ 638 h 1325"/>
                  <a:gd name="T54" fmla="*/ 1431 w 1431"/>
                  <a:gd name="T55" fmla="*/ 334 h 1325"/>
                  <a:gd name="T56" fmla="*/ 1207 w 1431"/>
                  <a:gd name="T57" fmla="*/ 1 h 1325"/>
                  <a:gd name="T58" fmla="*/ 1142 w 1431"/>
                  <a:gd name="T59" fmla="*/ 6 h 1325"/>
                  <a:gd name="T60" fmla="*/ 1080 w 1431"/>
                  <a:gd name="T61" fmla="*/ 15 h 1325"/>
                  <a:gd name="T62" fmla="*/ 1018 w 1431"/>
                  <a:gd name="T63" fmla="*/ 26 h 1325"/>
                  <a:gd name="T64" fmla="*/ 957 w 1431"/>
                  <a:gd name="T65" fmla="*/ 40 h 1325"/>
                  <a:gd name="T66" fmla="*/ 898 w 1431"/>
                  <a:gd name="T67" fmla="*/ 57 h 1325"/>
                  <a:gd name="T68" fmla="*/ 839 w 1431"/>
                  <a:gd name="T69" fmla="*/ 76 h 1325"/>
                  <a:gd name="T70" fmla="*/ 783 w 1431"/>
                  <a:gd name="T71" fmla="*/ 100 h 1325"/>
                  <a:gd name="T72" fmla="*/ 728 w 1431"/>
                  <a:gd name="T73" fmla="*/ 125 h 1325"/>
                  <a:gd name="T74" fmla="*/ 673 w 1431"/>
                  <a:gd name="T75" fmla="*/ 152 h 1325"/>
                  <a:gd name="T76" fmla="*/ 620 w 1431"/>
                  <a:gd name="T77" fmla="*/ 182 h 1325"/>
                  <a:gd name="T78" fmla="*/ 570 w 1431"/>
                  <a:gd name="T79" fmla="*/ 214 h 1325"/>
                  <a:gd name="T80" fmla="*/ 520 w 1431"/>
                  <a:gd name="T81" fmla="*/ 250 h 1325"/>
                  <a:gd name="T82" fmla="*/ 472 w 1431"/>
                  <a:gd name="T83" fmla="*/ 287 h 1325"/>
                  <a:gd name="T84" fmla="*/ 427 w 1431"/>
                  <a:gd name="T85" fmla="*/ 325 h 1325"/>
                  <a:gd name="T86" fmla="*/ 382 w 1431"/>
                  <a:gd name="T87" fmla="*/ 366 h 1325"/>
                  <a:gd name="T88" fmla="*/ 341 w 1431"/>
                  <a:gd name="T89" fmla="*/ 410 h 1325"/>
                  <a:gd name="T90" fmla="*/ 301 w 1431"/>
                  <a:gd name="T91" fmla="*/ 455 h 1325"/>
                  <a:gd name="T92" fmla="*/ 263 w 1431"/>
                  <a:gd name="T93" fmla="*/ 502 h 1325"/>
                  <a:gd name="T94" fmla="*/ 227 w 1431"/>
                  <a:gd name="T95" fmla="*/ 550 h 1325"/>
                  <a:gd name="T96" fmla="*/ 194 w 1431"/>
                  <a:gd name="T97" fmla="*/ 602 h 1325"/>
                  <a:gd name="T98" fmla="*/ 163 w 1431"/>
                  <a:gd name="T99" fmla="*/ 653 h 1325"/>
                  <a:gd name="T100" fmla="*/ 135 w 1431"/>
                  <a:gd name="T101" fmla="*/ 707 h 1325"/>
                  <a:gd name="T102" fmla="*/ 109 w 1431"/>
                  <a:gd name="T103" fmla="*/ 762 h 1325"/>
                  <a:gd name="T104" fmla="*/ 86 w 1431"/>
                  <a:gd name="T105" fmla="*/ 819 h 1325"/>
                  <a:gd name="T106" fmla="*/ 64 w 1431"/>
                  <a:gd name="T107" fmla="*/ 876 h 1325"/>
                  <a:gd name="T108" fmla="*/ 47 w 1431"/>
                  <a:gd name="T109" fmla="*/ 936 h 1325"/>
                  <a:gd name="T110" fmla="*/ 31 w 1431"/>
                  <a:gd name="T111" fmla="*/ 996 h 1325"/>
                  <a:gd name="T112" fmla="*/ 19 w 1431"/>
                  <a:gd name="T113" fmla="*/ 1058 h 1325"/>
                  <a:gd name="T114" fmla="*/ 10 w 1431"/>
                  <a:gd name="T115" fmla="*/ 1120 h 1325"/>
                  <a:gd name="T116" fmla="*/ 4 w 1431"/>
                  <a:gd name="T117" fmla="*/ 1183 h 1325"/>
                  <a:gd name="T118" fmla="*/ 1 w 1431"/>
                  <a:gd name="T119" fmla="*/ 1247 h 1325"/>
                  <a:gd name="T120" fmla="*/ 1 w 1431"/>
                  <a:gd name="T121" fmla="*/ 1302 h 1325"/>
                  <a:gd name="T122" fmla="*/ 335 w 1431"/>
                  <a:gd name="T123" fmla="*/ 1129 h 132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31"/>
                  <a:gd name="T187" fmla="*/ 0 h 1325"/>
                  <a:gd name="T188" fmla="*/ 1431 w 1431"/>
                  <a:gd name="T189" fmla="*/ 1325 h 132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31" h="1325">
                    <a:moveTo>
                      <a:pt x="638" y="1324"/>
                    </a:moveTo>
                    <a:lnTo>
                      <a:pt x="637" y="1302"/>
                    </a:lnTo>
                    <a:lnTo>
                      <a:pt x="637" y="1280"/>
                    </a:lnTo>
                    <a:lnTo>
                      <a:pt x="637" y="1248"/>
                    </a:lnTo>
                    <a:lnTo>
                      <a:pt x="638" y="1232"/>
                    </a:lnTo>
                    <a:lnTo>
                      <a:pt x="640" y="1217"/>
                    </a:lnTo>
                    <a:lnTo>
                      <a:pt x="644" y="1185"/>
                    </a:lnTo>
                    <a:lnTo>
                      <a:pt x="646" y="1170"/>
                    </a:lnTo>
                    <a:lnTo>
                      <a:pt x="649" y="1154"/>
                    </a:lnTo>
                    <a:lnTo>
                      <a:pt x="655" y="1125"/>
                    </a:lnTo>
                    <a:lnTo>
                      <a:pt x="659" y="1110"/>
                    </a:lnTo>
                    <a:lnTo>
                      <a:pt x="663" y="1095"/>
                    </a:lnTo>
                    <a:lnTo>
                      <a:pt x="673" y="1067"/>
                    </a:lnTo>
                    <a:lnTo>
                      <a:pt x="678" y="1052"/>
                    </a:lnTo>
                    <a:lnTo>
                      <a:pt x="683" y="1038"/>
                    </a:lnTo>
                    <a:lnTo>
                      <a:pt x="689" y="1024"/>
                    </a:lnTo>
                    <a:lnTo>
                      <a:pt x="695" y="1010"/>
                    </a:lnTo>
                    <a:lnTo>
                      <a:pt x="708" y="983"/>
                    </a:lnTo>
                    <a:lnTo>
                      <a:pt x="715" y="970"/>
                    </a:lnTo>
                    <a:lnTo>
                      <a:pt x="724" y="957"/>
                    </a:lnTo>
                    <a:lnTo>
                      <a:pt x="731" y="944"/>
                    </a:lnTo>
                    <a:lnTo>
                      <a:pt x="739" y="932"/>
                    </a:lnTo>
                    <a:lnTo>
                      <a:pt x="747" y="920"/>
                    </a:lnTo>
                    <a:lnTo>
                      <a:pt x="756" y="907"/>
                    </a:lnTo>
                    <a:lnTo>
                      <a:pt x="764" y="895"/>
                    </a:lnTo>
                    <a:lnTo>
                      <a:pt x="773" y="884"/>
                    </a:lnTo>
                    <a:lnTo>
                      <a:pt x="783" y="871"/>
                    </a:lnTo>
                    <a:lnTo>
                      <a:pt x="792" y="860"/>
                    </a:lnTo>
                    <a:lnTo>
                      <a:pt x="812" y="838"/>
                    </a:lnTo>
                    <a:lnTo>
                      <a:pt x="822" y="827"/>
                    </a:lnTo>
                    <a:lnTo>
                      <a:pt x="832" y="817"/>
                    </a:lnTo>
                    <a:lnTo>
                      <a:pt x="843" y="807"/>
                    </a:lnTo>
                    <a:lnTo>
                      <a:pt x="854" y="797"/>
                    </a:lnTo>
                    <a:lnTo>
                      <a:pt x="877" y="778"/>
                    </a:lnTo>
                    <a:lnTo>
                      <a:pt x="889" y="769"/>
                    </a:lnTo>
                    <a:lnTo>
                      <a:pt x="901" y="760"/>
                    </a:lnTo>
                    <a:lnTo>
                      <a:pt x="925" y="743"/>
                    </a:lnTo>
                    <a:lnTo>
                      <a:pt x="938" y="735"/>
                    </a:lnTo>
                    <a:lnTo>
                      <a:pt x="951" y="727"/>
                    </a:lnTo>
                    <a:lnTo>
                      <a:pt x="976" y="711"/>
                    </a:lnTo>
                    <a:lnTo>
                      <a:pt x="990" y="705"/>
                    </a:lnTo>
                    <a:lnTo>
                      <a:pt x="1003" y="698"/>
                    </a:lnTo>
                    <a:lnTo>
                      <a:pt x="1017" y="692"/>
                    </a:lnTo>
                    <a:lnTo>
                      <a:pt x="1030" y="686"/>
                    </a:lnTo>
                    <a:lnTo>
                      <a:pt x="1045" y="680"/>
                    </a:lnTo>
                    <a:lnTo>
                      <a:pt x="1059" y="675"/>
                    </a:lnTo>
                    <a:lnTo>
                      <a:pt x="1088" y="665"/>
                    </a:lnTo>
                    <a:lnTo>
                      <a:pt x="1117" y="657"/>
                    </a:lnTo>
                    <a:lnTo>
                      <a:pt x="1132" y="653"/>
                    </a:lnTo>
                    <a:lnTo>
                      <a:pt x="1147" y="649"/>
                    </a:lnTo>
                    <a:lnTo>
                      <a:pt x="1177" y="644"/>
                    </a:lnTo>
                    <a:lnTo>
                      <a:pt x="1192" y="642"/>
                    </a:lnTo>
                    <a:lnTo>
                      <a:pt x="1209" y="640"/>
                    </a:lnTo>
                    <a:lnTo>
                      <a:pt x="1224" y="638"/>
                    </a:lnTo>
                    <a:lnTo>
                      <a:pt x="1240" y="637"/>
                    </a:lnTo>
                    <a:lnTo>
                      <a:pt x="1431" y="334"/>
                    </a:lnTo>
                    <a:lnTo>
                      <a:pt x="1239" y="0"/>
                    </a:lnTo>
                    <a:lnTo>
                      <a:pt x="1207" y="1"/>
                    </a:lnTo>
                    <a:lnTo>
                      <a:pt x="1174" y="3"/>
                    </a:lnTo>
                    <a:lnTo>
                      <a:pt x="1142" y="6"/>
                    </a:lnTo>
                    <a:lnTo>
                      <a:pt x="1111" y="10"/>
                    </a:lnTo>
                    <a:lnTo>
                      <a:pt x="1080" y="15"/>
                    </a:lnTo>
                    <a:lnTo>
                      <a:pt x="1049" y="20"/>
                    </a:lnTo>
                    <a:lnTo>
                      <a:pt x="1018" y="26"/>
                    </a:lnTo>
                    <a:lnTo>
                      <a:pt x="987" y="32"/>
                    </a:lnTo>
                    <a:lnTo>
                      <a:pt x="957" y="40"/>
                    </a:lnTo>
                    <a:lnTo>
                      <a:pt x="928" y="48"/>
                    </a:lnTo>
                    <a:lnTo>
                      <a:pt x="898" y="57"/>
                    </a:lnTo>
                    <a:lnTo>
                      <a:pt x="868" y="66"/>
                    </a:lnTo>
                    <a:lnTo>
                      <a:pt x="839" y="76"/>
                    </a:lnTo>
                    <a:lnTo>
                      <a:pt x="811" y="88"/>
                    </a:lnTo>
                    <a:lnTo>
                      <a:pt x="783" y="100"/>
                    </a:lnTo>
                    <a:lnTo>
                      <a:pt x="755" y="112"/>
                    </a:lnTo>
                    <a:lnTo>
                      <a:pt x="728" y="125"/>
                    </a:lnTo>
                    <a:lnTo>
                      <a:pt x="699" y="138"/>
                    </a:lnTo>
                    <a:lnTo>
                      <a:pt x="673" y="152"/>
                    </a:lnTo>
                    <a:lnTo>
                      <a:pt x="646" y="167"/>
                    </a:lnTo>
                    <a:lnTo>
                      <a:pt x="620" y="182"/>
                    </a:lnTo>
                    <a:lnTo>
                      <a:pt x="595" y="198"/>
                    </a:lnTo>
                    <a:lnTo>
                      <a:pt x="570" y="214"/>
                    </a:lnTo>
                    <a:lnTo>
                      <a:pt x="544" y="231"/>
                    </a:lnTo>
                    <a:lnTo>
                      <a:pt x="520" y="250"/>
                    </a:lnTo>
                    <a:lnTo>
                      <a:pt x="496" y="268"/>
                    </a:lnTo>
                    <a:lnTo>
                      <a:pt x="472" y="287"/>
                    </a:lnTo>
                    <a:lnTo>
                      <a:pt x="449" y="306"/>
                    </a:lnTo>
                    <a:lnTo>
                      <a:pt x="427" y="325"/>
                    </a:lnTo>
                    <a:lnTo>
                      <a:pt x="405" y="346"/>
                    </a:lnTo>
                    <a:lnTo>
                      <a:pt x="382" y="366"/>
                    </a:lnTo>
                    <a:lnTo>
                      <a:pt x="361" y="388"/>
                    </a:lnTo>
                    <a:lnTo>
                      <a:pt x="341" y="410"/>
                    </a:lnTo>
                    <a:lnTo>
                      <a:pt x="320" y="433"/>
                    </a:lnTo>
                    <a:lnTo>
                      <a:pt x="301" y="455"/>
                    </a:lnTo>
                    <a:lnTo>
                      <a:pt x="282" y="478"/>
                    </a:lnTo>
                    <a:lnTo>
                      <a:pt x="263" y="502"/>
                    </a:lnTo>
                    <a:lnTo>
                      <a:pt x="245" y="526"/>
                    </a:lnTo>
                    <a:lnTo>
                      <a:pt x="227" y="550"/>
                    </a:lnTo>
                    <a:lnTo>
                      <a:pt x="210" y="576"/>
                    </a:lnTo>
                    <a:lnTo>
                      <a:pt x="194" y="602"/>
                    </a:lnTo>
                    <a:lnTo>
                      <a:pt x="178" y="627"/>
                    </a:lnTo>
                    <a:lnTo>
                      <a:pt x="163" y="653"/>
                    </a:lnTo>
                    <a:lnTo>
                      <a:pt x="149" y="680"/>
                    </a:lnTo>
                    <a:lnTo>
                      <a:pt x="135" y="707"/>
                    </a:lnTo>
                    <a:lnTo>
                      <a:pt x="122" y="735"/>
                    </a:lnTo>
                    <a:lnTo>
                      <a:pt x="109" y="762"/>
                    </a:lnTo>
                    <a:lnTo>
                      <a:pt x="97" y="790"/>
                    </a:lnTo>
                    <a:lnTo>
                      <a:pt x="86" y="819"/>
                    </a:lnTo>
                    <a:lnTo>
                      <a:pt x="74" y="847"/>
                    </a:lnTo>
                    <a:lnTo>
                      <a:pt x="64" y="876"/>
                    </a:lnTo>
                    <a:lnTo>
                      <a:pt x="55" y="906"/>
                    </a:lnTo>
                    <a:lnTo>
                      <a:pt x="47" y="936"/>
                    </a:lnTo>
                    <a:lnTo>
                      <a:pt x="39" y="966"/>
                    </a:lnTo>
                    <a:lnTo>
                      <a:pt x="31" y="996"/>
                    </a:lnTo>
                    <a:lnTo>
                      <a:pt x="25" y="1026"/>
                    </a:lnTo>
                    <a:lnTo>
                      <a:pt x="19" y="1058"/>
                    </a:lnTo>
                    <a:lnTo>
                      <a:pt x="14" y="1089"/>
                    </a:lnTo>
                    <a:lnTo>
                      <a:pt x="10" y="1120"/>
                    </a:lnTo>
                    <a:lnTo>
                      <a:pt x="6" y="1151"/>
                    </a:lnTo>
                    <a:lnTo>
                      <a:pt x="4" y="1183"/>
                    </a:lnTo>
                    <a:lnTo>
                      <a:pt x="2" y="1215"/>
                    </a:lnTo>
                    <a:lnTo>
                      <a:pt x="1" y="1247"/>
                    </a:lnTo>
                    <a:lnTo>
                      <a:pt x="0" y="1280"/>
                    </a:lnTo>
                    <a:lnTo>
                      <a:pt x="1" y="1302"/>
                    </a:lnTo>
                    <a:lnTo>
                      <a:pt x="2" y="1325"/>
                    </a:lnTo>
                    <a:lnTo>
                      <a:pt x="335" y="1129"/>
                    </a:lnTo>
                    <a:lnTo>
                      <a:pt x="638" y="1324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7" name="Freeform 12"/>
              <p:cNvSpPr>
                <a:spLocks noChangeAspect="1"/>
              </p:cNvSpPr>
              <p:nvPr/>
            </p:nvSpPr>
            <p:spPr bwMode="auto">
              <a:xfrm>
                <a:off x="1845" y="2645"/>
                <a:ext cx="1295" cy="1364"/>
              </a:xfrm>
              <a:custGeom>
                <a:avLst/>
                <a:gdLst>
                  <a:gd name="T0" fmla="*/ 1096 w 1295"/>
                  <a:gd name="T1" fmla="*/ 1023 h 1364"/>
                  <a:gd name="T2" fmla="*/ 1276 w 1295"/>
                  <a:gd name="T3" fmla="*/ 728 h 1364"/>
                  <a:gd name="T4" fmla="*/ 1232 w 1295"/>
                  <a:gd name="T5" fmla="*/ 726 h 1364"/>
                  <a:gd name="T6" fmla="*/ 1187 w 1295"/>
                  <a:gd name="T7" fmla="*/ 722 h 1364"/>
                  <a:gd name="T8" fmla="*/ 1131 w 1295"/>
                  <a:gd name="T9" fmla="*/ 711 h 1364"/>
                  <a:gd name="T10" fmla="*/ 1103 w 1295"/>
                  <a:gd name="T11" fmla="*/ 704 h 1364"/>
                  <a:gd name="T12" fmla="*/ 1050 w 1295"/>
                  <a:gd name="T13" fmla="*/ 687 h 1364"/>
                  <a:gd name="T14" fmla="*/ 1023 w 1295"/>
                  <a:gd name="T15" fmla="*/ 677 h 1364"/>
                  <a:gd name="T16" fmla="*/ 973 w 1295"/>
                  <a:gd name="T17" fmla="*/ 653 h 1364"/>
                  <a:gd name="T18" fmla="*/ 949 w 1295"/>
                  <a:gd name="T19" fmla="*/ 638 h 1364"/>
                  <a:gd name="T20" fmla="*/ 902 w 1295"/>
                  <a:gd name="T21" fmla="*/ 608 h 1364"/>
                  <a:gd name="T22" fmla="*/ 880 w 1295"/>
                  <a:gd name="T23" fmla="*/ 591 h 1364"/>
                  <a:gd name="T24" fmla="*/ 837 w 1295"/>
                  <a:gd name="T25" fmla="*/ 556 h 1364"/>
                  <a:gd name="T26" fmla="*/ 799 w 1295"/>
                  <a:gd name="T27" fmla="*/ 517 h 1364"/>
                  <a:gd name="T28" fmla="*/ 781 w 1295"/>
                  <a:gd name="T29" fmla="*/ 496 h 1364"/>
                  <a:gd name="T30" fmla="*/ 747 w 1295"/>
                  <a:gd name="T31" fmla="*/ 451 h 1364"/>
                  <a:gd name="T32" fmla="*/ 725 w 1295"/>
                  <a:gd name="T33" fmla="*/ 417 h 1364"/>
                  <a:gd name="T34" fmla="*/ 703 w 1295"/>
                  <a:gd name="T35" fmla="*/ 380 h 1364"/>
                  <a:gd name="T36" fmla="*/ 680 w 1295"/>
                  <a:gd name="T37" fmla="*/ 330 h 1364"/>
                  <a:gd name="T38" fmla="*/ 670 w 1295"/>
                  <a:gd name="T39" fmla="*/ 303 h 1364"/>
                  <a:gd name="T40" fmla="*/ 657 w 1295"/>
                  <a:gd name="T41" fmla="*/ 263 h 1364"/>
                  <a:gd name="T42" fmla="*/ 646 w 1295"/>
                  <a:gd name="T43" fmla="*/ 221 h 1364"/>
                  <a:gd name="T44" fmla="*/ 322 w 1295"/>
                  <a:gd name="T45" fmla="*/ 0 h 1364"/>
                  <a:gd name="T46" fmla="*/ 2 w 1295"/>
                  <a:gd name="T47" fmla="*/ 222 h 1364"/>
                  <a:gd name="T48" fmla="*/ 10 w 1295"/>
                  <a:gd name="T49" fmla="*/ 282 h 1364"/>
                  <a:gd name="T50" fmla="*/ 21 w 1295"/>
                  <a:gd name="T51" fmla="*/ 343 h 1364"/>
                  <a:gd name="T52" fmla="*/ 35 w 1295"/>
                  <a:gd name="T53" fmla="*/ 401 h 1364"/>
                  <a:gd name="T54" fmla="*/ 51 w 1295"/>
                  <a:gd name="T55" fmla="*/ 458 h 1364"/>
                  <a:gd name="T56" fmla="*/ 69 w 1295"/>
                  <a:gd name="T57" fmla="*/ 516 h 1364"/>
                  <a:gd name="T58" fmla="*/ 91 w 1295"/>
                  <a:gd name="T59" fmla="*/ 571 h 1364"/>
                  <a:gd name="T60" fmla="*/ 115 w 1295"/>
                  <a:gd name="T61" fmla="*/ 624 h 1364"/>
                  <a:gd name="T62" fmla="*/ 141 w 1295"/>
                  <a:gd name="T63" fmla="*/ 678 h 1364"/>
                  <a:gd name="T64" fmla="*/ 169 w 1295"/>
                  <a:gd name="T65" fmla="*/ 729 h 1364"/>
                  <a:gd name="T66" fmla="*/ 200 w 1295"/>
                  <a:gd name="T67" fmla="*/ 779 h 1364"/>
                  <a:gd name="T68" fmla="*/ 233 w 1295"/>
                  <a:gd name="T69" fmla="*/ 828 h 1364"/>
                  <a:gd name="T70" fmla="*/ 268 w 1295"/>
                  <a:gd name="T71" fmla="*/ 874 h 1364"/>
                  <a:gd name="T72" fmla="*/ 305 w 1295"/>
                  <a:gd name="T73" fmla="*/ 919 h 1364"/>
                  <a:gd name="T74" fmla="*/ 344 w 1295"/>
                  <a:gd name="T75" fmla="*/ 962 h 1364"/>
                  <a:gd name="T76" fmla="*/ 385 w 1295"/>
                  <a:gd name="T77" fmla="*/ 1004 h 1364"/>
                  <a:gd name="T78" fmla="*/ 428 w 1295"/>
                  <a:gd name="T79" fmla="*/ 1043 h 1364"/>
                  <a:gd name="T80" fmla="*/ 473 w 1295"/>
                  <a:gd name="T81" fmla="*/ 1081 h 1364"/>
                  <a:gd name="T82" fmla="*/ 519 w 1295"/>
                  <a:gd name="T83" fmla="*/ 1116 h 1364"/>
                  <a:gd name="T84" fmla="*/ 567 w 1295"/>
                  <a:gd name="T85" fmla="*/ 1151 h 1364"/>
                  <a:gd name="T86" fmla="*/ 616 w 1295"/>
                  <a:gd name="T87" fmla="*/ 1182 h 1364"/>
                  <a:gd name="T88" fmla="*/ 667 w 1295"/>
                  <a:gd name="T89" fmla="*/ 1211 h 1364"/>
                  <a:gd name="T90" fmla="*/ 720 w 1295"/>
                  <a:gd name="T91" fmla="*/ 1237 h 1364"/>
                  <a:gd name="T92" fmla="*/ 774 w 1295"/>
                  <a:gd name="T93" fmla="*/ 1262 h 1364"/>
                  <a:gd name="T94" fmla="*/ 828 w 1295"/>
                  <a:gd name="T95" fmla="*/ 1283 h 1364"/>
                  <a:gd name="T96" fmla="*/ 885 w 1295"/>
                  <a:gd name="T97" fmla="*/ 1304 h 1364"/>
                  <a:gd name="T98" fmla="*/ 942 w 1295"/>
                  <a:gd name="T99" fmla="*/ 1321 h 1364"/>
                  <a:gd name="T100" fmla="*/ 1001 w 1295"/>
                  <a:gd name="T101" fmla="*/ 1335 h 1364"/>
                  <a:gd name="T102" fmla="*/ 1061 w 1295"/>
                  <a:gd name="T103" fmla="*/ 1346 h 1364"/>
                  <a:gd name="T104" fmla="*/ 1121 w 1295"/>
                  <a:gd name="T105" fmla="*/ 1355 h 1364"/>
                  <a:gd name="T106" fmla="*/ 1182 w 1295"/>
                  <a:gd name="T107" fmla="*/ 1361 h 1364"/>
                  <a:gd name="T108" fmla="*/ 1245 w 1295"/>
                  <a:gd name="T109" fmla="*/ 1364 h 1364"/>
                  <a:gd name="T110" fmla="*/ 1281 w 1295"/>
                  <a:gd name="T111" fmla="*/ 1364 h 1364"/>
                  <a:gd name="T112" fmla="*/ 1290 w 1295"/>
                  <a:gd name="T113" fmla="*/ 1362 h 13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295"/>
                  <a:gd name="T172" fmla="*/ 0 h 1364"/>
                  <a:gd name="T173" fmla="*/ 1295 w 1295"/>
                  <a:gd name="T174" fmla="*/ 1364 h 136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295" h="1364">
                    <a:moveTo>
                      <a:pt x="1295" y="1362"/>
                    </a:moveTo>
                    <a:lnTo>
                      <a:pt x="1096" y="1023"/>
                    </a:lnTo>
                    <a:lnTo>
                      <a:pt x="1295" y="727"/>
                    </a:lnTo>
                    <a:lnTo>
                      <a:pt x="1276" y="728"/>
                    </a:lnTo>
                    <a:lnTo>
                      <a:pt x="1246" y="727"/>
                    </a:lnTo>
                    <a:lnTo>
                      <a:pt x="1232" y="726"/>
                    </a:lnTo>
                    <a:lnTo>
                      <a:pt x="1217" y="725"/>
                    </a:lnTo>
                    <a:lnTo>
                      <a:pt x="1187" y="722"/>
                    </a:lnTo>
                    <a:lnTo>
                      <a:pt x="1159" y="717"/>
                    </a:lnTo>
                    <a:lnTo>
                      <a:pt x="1131" y="711"/>
                    </a:lnTo>
                    <a:lnTo>
                      <a:pt x="1117" y="708"/>
                    </a:lnTo>
                    <a:lnTo>
                      <a:pt x="1103" y="704"/>
                    </a:lnTo>
                    <a:lnTo>
                      <a:pt x="1076" y="696"/>
                    </a:lnTo>
                    <a:lnTo>
                      <a:pt x="1050" y="687"/>
                    </a:lnTo>
                    <a:lnTo>
                      <a:pt x="1037" y="682"/>
                    </a:lnTo>
                    <a:lnTo>
                      <a:pt x="1023" y="677"/>
                    </a:lnTo>
                    <a:lnTo>
                      <a:pt x="998" y="665"/>
                    </a:lnTo>
                    <a:lnTo>
                      <a:pt x="973" y="653"/>
                    </a:lnTo>
                    <a:lnTo>
                      <a:pt x="961" y="646"/>
                    </a:lnTo>
                    <a:lnTo>
                      <a:pt x="949" y="638"/>
                    </a:lnTo>
                    <a:lnTo>
                      <a:pt x="925" y="623"/>
                    </a:lnTo>
                    <a:lnTo>
                      <a:pt x="902" y="608"/>
                    </a:lnTo>
                    <a:lnTo>
                      <a:pt x="891" y="600"/>
                    </a:lnTo>
                    <a:lnTo>
                      <a:pt x="880" y="591"/>
                    </a:lnTo>
                    <a:lnTo>
                      <a:pt x="858" y="574"/>
                    </a:lnTo>
                    <a:lnTo>
                      <a:pt x="837" y="556"/>
                    </a:lnTo>
                    <a:lnTo>
                      <a:pt x="818" y="537"/>
                    </a:lnTo>
                    <a:lnTo>
                      <a:pt x="799" y="517"/>
                    </a:lnTo>
                    <a:lnTo>
                      <a:pt x="790" y="506"/>
                    </a:lnTo>
                    <a:lnTo>
                      <a:pt x="781" y="496"/>
                    </a:lnTo>
                    <a:lnTo>
                      <a:pt x="764" y="473"/>
                    </a:lnTo>
                    <a:lnTo>
                      <a:pt x="747" y="451"/>
                    </a:lnTo>
                    <a:lnTo>
                      <a:pt x="732" y="428"/>
                    </a:lnTo>
                    <a:lnTo>
                      <a:pt x="725" y="417"/>
                    </a:lnTo>
                    <a:lnTo>
                      <a:pt x="718" y="405"/>
                    </a:lnTo>
                    <a:lnTo>
                      <a:pt x="703" y="380"/>
                    </a:lnTo>
                    <a:lnTo>
                      <a:pt x="691" y="355"/>
                    </a:lnTo>
                    <a:lnTo>
                      <a:pt x="680" y="330"/>
                    </a:lnTo>
                    <a:lnTo>
                      <a:pt x="675" y="316"/>
                    </a:lnTo>
                    <a:lnTo>
                      <a:pt x="670" y="303"/>
                    </a:lnTo>
                    <a:lnTo>
                      <a:pt x="661" y="276"/>
                    </a:lnTo>
                    <a:lnTo>
                      <a:pt x="657" y="263"/>
                    </a:lnTo>
                    <a:lnTo>
                      <a:pt x="653" y="249"/>
                    </a:lnTo>
                    <a:lnTo>
                      <a:pt x="646" y="221"/>
                    </a:lnTo>
                    <a:lnTo>
                      <a:pt x="641" y="193"/>
                    </a:lnTo>
                    <a:lnTo>
                      <a:pt x="322" y="0"/>
                    </a:lnTo>
                    <a:lnTo>
                      <a:pt x="0" y="191"/>
                    </a:lnTo>
                    <a:lnTo>
                      <a:pt x="2" y="222"/>
                    </a:lnTo>
                    <a:lnTo>
                      <a:pt x="6" y="252"/>
                    </a:lnTo>
                    <a:lnTo>
                      <a:pt x="10" y="282"/>
                    </a:lnTo>
                    <a:lnTo>
                      <a:pt x="15" y="312"/>
                    </a:lnTo>
                    <a:lnTo>
                      <a:pt x="21" y="343"/>
                    </a:lnTo>
                    <a:lnTo>
                      <a:pt x="27" y="372"/>
                    </a:lnTo>
                    <a:lnTo>
                      <a:pt x="35" y="401"/>
                    </a:lnTo>
                    <a:lnTo>
                      <a:pt x="42" y="430"/>
                    </a:lnTo>
                    <a:lnTo>
                      <a:pt x="51" y="458"/>
                    </a:lnTo>
                    <a:lnTo>
                      <a:pt x="60" y="488"/>
                    </a:lnTo>
                    <a:lnTo>
                      <a:pt x="69" y="516"/>
                    </a:lnTo>
                    <a:lnTo>
                      <a:pt x="81" y="543"/>
                    </a:lnTo>
                    <a:lnTo>
                      <a:pt x="91" y="571"/>
                    </a:lnTo>
                    <a:lnTo>
                      <a:pt x="103" y="598"/>
                    </a:lnTo>
                    <a:lnTo>
                      <a:pt x="115" y="624"/>
                    </a:lnTo>
                    <a:lnTo>
                      <a:pt x="128" y="652"/>
                    </a:lnTo>
                    <a:lnTo>
                      <a:pt x="141" y="678"/>
                    </a:lnTo>
                    <a:lnTo>
                      <a:pt x="155" y="704"/>
                    </a:lnTo>
                    <a:lnTo>
                      <a:pt x="169" y="729"/>
                    </a:lnTo>
                    <a:lnTo>
                      <a:pt x="184" y="754"/>
                    </a:lnTo>
                    <a:lnTo>
                      <a:pt x="200" y="779"/>
                    </a:lnTo>
                    <a:lnTo>
                      <a:pt x="216" y="803"/>
                    </a:lnTo>
                    <a:lnTo>
                      <a:pt x="233" y="828"/>
                    </a:lnTo>
                    <a:lnTo>
                      <a:pt x="251" y="851"/>
                    </a:lnTo>
                    <a:lnTo>
                      <a:pt x="268" y="874"/>
                    </a:lnTo>
                    <a:lnTo>
                      <a:pt x="287" y="897"/>
                    </a:lnTo>
                    <a:lnTo>
                      <a:pt x="305" y="919"/>
                    </a:lnTo>
                    <a:lnTo>
                      <a:pt x="324" y="941"/>
                    </a:lnTo>
                    <a:lnTo>
                      <a:pt x="344" y="962"/>
                    </a:lnTo>
                    <a:lnTo>
                      <a:pt x="364" y="984"/>
                    </a:lnTo>
                    <a:lnTo>
                      <a:pt x="385" y="1004"/>
                    </a:lnTo>
                    <a:lnTo>
                      <a:pt x="407" y="1024"/>
                    </a:lnTo>
                    <a:lnTo>
                      <a:pt x="428" y="1043"/>
                    </a:lnTo>
                    <a:lnTo>
                      <a:pt x="450" y="1062"/>
                    </a:lnTo>
                    <a:lnTo>
                      <a:pt x="473" y="1081"/>
                    </a:lnTo>
                    <a:lnTo>
                      <a:pt x="495" y="1099"/>
                    </a:lnTo>
                    <a:lnTo>
                      <a:pt x="519" y="1116"/>
                    </a:lnTo>
                    <a:lnTo>
                      <a:pt x="542" y="1134"/>
                    </a:lnTo>
                    <a:lnTo>
                      <a:pt x="567" y="1151"/>
                    </a:lnTo>
                    <a:lnTo>
                      <a:pt x="592" y="1166"/>
                    </a:lnTo>
                    <a:lnTo>
                      <a:pt x="616" y="1182"/>
                    </a:lnTo>
                    <a:lnTo>
                      <a:pt x="642" y="1196"/>
                    </a:lnTo>
                    <a:lnTo>
                      <a:pt x="667" y="1211"/>
                    </a:lnTo>
                    <a:lnTo>
                      <a:pt x="693" y="1224"/>
                    </a:lnTo>
                    <a:lnTo>
                      <a:pt x="720" y="1237"/>
                    </a:lnTo>
                    <a:lnTo>
                      <a:pt x="747" y="1250"/>
                    </a:lnTo>
                    <a:lnTo>
                      <a:pt x="774" y="1262"/>
                    </a:lnTo>
                    <a:lnTo>
                      <a:pt x="801" y="1273"/>
                    </a:lnTo>
                    <a:lnTo>
                      <a:pt x="828" y="1283"/>
                    </a:lnTo>
                    <a:lnTo>
                      <a:pt x="856" y="1294"/>
                    </a:lnTo>
                    <a:lnTo>
                      <a:pt x="885" y="1304"/>
                    </a:lnTo>
                    <a:lnTo>
                      <a:pt x="914" y="1312"/>
                    </a:lnTo>
                    <a:lnTo>
                      <a:pt x="942" y="1321"/>
                    </a:lnTo>
                    <a:lnTo>
                      <a:pt x="971" y="1328"/>
                    </a:lnTo>
                    <a:lnTo>
                      <a:pt x="1001" y="1335"/>
                    </a:lnTo>
                    <a:lnTo>
                      <a:pt x="1030" y="1341"/>
                    </a:lnTo>
                    <a:lnTo>
                      <a:pt x="1061" y="1346"/>
                    </a:lnTo>
                    <a:lnTo>
                      <a:pt x="1091" y="1351"/>
                    </a:lnTo>
                    <a:lnTo>
                      <a:pt x="1121" y="1355"/>
                    </a:lnTo>
                    <a:lnTo>
                      <a:pt x="1151" y="1358"/>
                    </a:lnTo>
                    <a:lnTo>
                      <a:pt x="1182" y="1361"/>
                    </a:lnTo>
                    <a:lnTo>
                      <a:pt x="1214" y="1363"/>
                    </a:lnTo>
                    <a:lnTo>
                      <a:pt x="1245" y="1364"/>
                    </a:lnTo>
                    <a:lnTo>
                      <a:pt x="1276" y="1364"/>
                    </a:lnTo>
                    <a:lnTo>
                      <a:pt x="1281" y="1364"/>
                    </a:lnTo>
                    <a:lnTo>
                      <a:pt x="1285" y="1363"/>
                    </a:lnTo>
                    <a:lnTo>
                      <a:pt x="1290" y="1362"/>
                    </a:lnTo>
                    <a:lnTo>
                      <a:pt x="1295" y="13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58" name="Freeform 13"/>
              <p:cNvSpPr>
                <a:spLocks noChangeAspect="1"/>
              </p:cNvSpPr>
              <p:nvPr/>
            </p:nvSpPr>
            <p:spPr bwMode="auto">
              <a:xfrm>
                <a:off x="3015" y="2774"/>
                <a:ext cx="1385" cy="1233"/>
              </a:xfrm>
              <a:custGeom>
                <a:avLst/>
                <a:gdLst>
                  <a:gd name="T0" fmla="*/ 0 w 1385"/>
                  <a:gd name="T1" fmla="*/ 903 h 1233"/>
                  <a:gd name="T2" fmla="*/ 221 w 1385"/>
                  <a:gd name="T3" fmla="*/ 588 h 1233"/>
                  <a:gd name="T4" fmla="*/ 262 w 1385"/>
                  <a:gd name="T5" fmla="*/ 579 h 1233"/>
                  <a:gd name="T6" fmla="*/ 302 w 1385"/>
                  <a:gd name="T7" fmla="*/ 567 h 1233"/>
                  <a:gd name="T8" fmla="*/ 354 w 1385"/>
                  <a:gd name="T9" fmla="*/ 548 h 1233"/>
                  <a:gd name="T10" fmla="*/ 391 w 1385"/>
                  <a:gd name="T11" fmla="*/ 531 h 1233"/>
                  <a:gd name="T12" fmla="*/ 427 w 1385"/>
                  <a:gd name="T13" fmla="*/ 511 h 1233"/>
                  <a:gd name="T14" fmla="*/ 472 w 1385"/>
                  <a:gd name="T15" fmla="*/ 482 h 1233"/>
                  <a:gd name="T16" fmla="*/ 506 w 1385"/>
                  <a:gd name="T17" fmla="*/ 458 h 1233"/>
                  <a:gd name="T18" fmla="*/ 526 w 1385"/>
                  <a:gd name="T19" fmla="*/ 441 h 1233"/>
                  <a:gd name="T20" fmla="*/ 546 w 1385"/>
                  <a:gd name="T21" fmla="*/ 423 h 1233"/>
                  <a:gd name="T22" fmla="*/ 565 w 1385"/>
                  <a:gd name="T23" fmla="*/ 405 h 1233"/>
                  <a:gd name="T24" fmla="*/ 584 w 1385"/>
                  <a:gd name="T25" fmla="*/ 385 h 1233"/>
                  <a:gd name="T26" fmla="*/ 610 w 1385"/>
                  <a:gd name="T27" fmla="*/ 353 h 1233"/>
                  <a:gd name="T28" fmla="*/ 642 w 1385"/>
                  <a:gd name="T29" fmla="*/ 310 h 1233"/>
                  <a:gd name="T30" fmla="*/ 671 w 1385"/>
                  <a:gd name="T31" fmla="*/ 264 h 1233"/>
                  <a:gd name="T32" fmla="*/ 689 w 1385"/>
                  <a:gd name="T33" fmla="*/ 228 h 1233"/>
                  <a:gd name="T34" fmla="*/ 705 w 1385"/>
                  <a:gd name="T35" fmla="*/ 189 h 1233"/>
                  <a:gd name="T36" fmla="*/ 723 w 1385"/>
                  <a:gd name="T37" fmla="*/ 138 h 1233"/>
                  <a:gd name="T38" fmla="*/ 737 w 1385"/>
                  <a:gd name="T39" fmla="*/ 84 h 1233"/>
                  <a:gd name="T40" fmla="*/ 746 w 1385"/>
                  <a:gd name="T41" fmla="*/ 28 h 1233"/>
                  <a:gd name="T42" fmla="*/ 748 w 1385"/>
                  <a:gd name="T43" fmla="*/ 0 h 1233"/>
                  <a:gd name="T44" fmla="*/ 1385 w 1385"/>
                  <a:gd name="T45" fmla="*/ 4 h 1233"/>
                  <a:gd name="T46" fmla="*/ 1382 w 1385"/>
                  <a:gd name="T47" fmla="*/ 66 h 1233"/>
                  <a:gd name="T48" fmla="*/ 1375 w 1385"/>
                  <a:gd name="T49" fmla="*/ 126 h 1233"/>
                  <a:gd name="T50" fmla="*/ 1366 w 1385"/>
                  <a:gd name="T51" fmla="*/ 185 h 1233"/>
                  <a:gd name="T52" fmla="*/ 1354 w 1385"/>
                  <a:gd name="T53" fmla="*/ 245 h 1233"/>
                  <a:gd name="T54" fmla="*/ 1339 w 1385"/>
                  <a:gd name="T55" fmla="*/ 302 h 1233"/>
                  <a:gd name="T56" fmla="*/ 1322 w 1385"/>
                  <a:gd name="T57" fmla="*/ 359 h 1233"/>
                  <a:gd name="T58" fmla="*/ 1301 w 1385"/>
                  <a:gd name="T59" fmla="*/ 414 h 1233"/>
                  <a:gd name="T60" fmla="*/ 1279 w 1385"/>
                  <a:gd name="T61" fmla="*/ 468 h 1233"/>
                  <a:gd name="T62" fmla="*/ 1255 w 1385"/>
                  <a:gd name="T63" fmla="*/ 522 h 1233"/>
                  <a:gd name="T64" fmla="*/ 1228 w 1385"/>
                  <a:gd name="T65" fmla="*/ 573 h 1233"/>
                  <a:gd name="T66" fmla="*/ 1200 w 1385"/>
                  <a:gd name="T67" fmla="*/ 623 h 1233"/>
                  <a:gd name="T68" fmla="*/ 1169 w 1385"/>
                  <a:gd name="T69" fmla="*/ 671 h 1233"/>
                  <a:gd name="T70" fmla="*/ 1135 w 1385"/>
                  <a:gd name="T71" fmla="*/ 719 h 1233"/>
                  <a:gd name="T72" fmla="*/ 1099 w 1385"/>
                  <a:gd name="T73" fmla="*/ 764 h 1233"/>
                  <a:gd name="T74" fmla="*/ 1062 w 1385"/>
                  <a:gd name="T75" fmla="*/ 808 h 1233"/>
                  <a:gd name="T76" fmla="*/ 1023 w 1385"/>
                  <a:gd name="T77" fmla="*/ 851 h 1233"/>
                  <a:gd name="T78" fmla="*/ 982 w 1385"/>
                  <a:gd name="T79" fmla="*/ 891 h 1233"/>
                  <a:gd name="T80" fmla="*/ 939 w 1385"/>
                  <a:gd name="T81" fmla="*/ 929 h 1233"/>
                  <a:gd name="T82" fmla="*/ 895 w 1385"/>
                  <a:gd name="T83" fmla="*/ 965 h 1233"/>
                  <a:gd name="T84" fmla="*/ 849 w 1385"/>
                  <a:gd name="T85" fmla="*/ 1000 h 1233"/>
                  <a:gd name="T86" fmla="*/ 801 w 1385"/>
                  <a:gd name="T87" fmla="*/ 1032 h 1233"/>
                  <a:gd name="T88" fmla="*/ 752 w 1385"/>
                  <a:gd name="T89" fmla="*/ 1063 h 1233"/>
                  <a:gd name="T90" fmla="*/ 701 w 1385"/>
                  <a:gd name="T91" fmla="*/ 1090 h 1233"/>
                  <a:gd name="T92" fmla="*/ 649 w 1385"/>
                  <a:gd name="T93" fmla="*/ 1116 h 1233"/>
                  <a:gd name="T94" fmla="*/ 595 w 1385"/>
                  <a:gd name="T95" fmla="*/ 1139 h 1233"/>
                  <a:gd name="T96" fmla="*/ 541 w 1385"/>
                  <a:gd name="T97" fmla="*/ 1161 h 1233"/>
                  <a:gd name="T98" fmla="*/ 485 w 1385"/>
                  <a:gd name="T99" fmla="*/ 1180 h 1233"/>
                  <a:gd name="T100" fmla="*/ 428 w 1385"/>
                  <a:gd name="T101" fmla="*/ 1196 h 1233"/>
                  <a:gd name="T102" fmla="*/ 370 w 1385"/>
                  <a:gd name="T103" fmla="*/ 1209 h 1233"/>
                  <a:gd name="T104" fmla="*/ 311 w 1385"/>
                  <a:gd name="T105" fmla="*/ 1220 h 1233"/>
                  <a:gd name="T106" fmla="*/ 251 w 1385"/>
                  <a:gd name="T107" fmla="*/ 1228 h 1233"/>
                  <a:gd name="T108" fmla="*/ 191 w 1385"/>
                  <a:gd name="T109" fmla="*/ 1233 h 12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385"/>
                  <a:gd name="T166" fmla="*/ 0 h 1233"/>
                  <a:gd name="T167" fmla="*/ 1385 w 1385"/>
                  <a:gd name="T168" fmla="*/ 1233 h 12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385" h="1233">
                    <a:moveTo>
                      <a:pt x="191" y="1233"/>
                    </a:moveTo>
                    <a:lnTo>
                      <a:pt x="0" y="903"/>
                    </a:lnTo>
                    <a:lnTo>
                      <a:pt x="194" y="592"/>
                    </a:lnTo>
                    <a:lnTo>
                      <a:pt x="221" y="588"/>
                    </a:lnTo>
                    <a:lnTo>
                      <a:pt x="248" y="582"/>
                    </a:lnTo>
                    <a:lnTo>
                      <a:pt x="262" y="579"/>
                    </a:lnTo>
                    <a:lnTo>
                      <a:pt x="275" y="575"/>
                    </a:lnTo>
                    <a:lnTo>
                      <a:pt x="302" y="567"/>
                    </a:lnTo>
                    <a:lnTo>
                      <a:pt x="327" y="558"/>
                    </a:lnTo>
                    <a:lnTo>
                      <a:pt x="354" y="548"/>
                    </a:lnTo>
                    <a:lnTo>
                      <a:pt x="379" y="537"/>
                    </a:lnTo>
                    <a:lnTo>
                      <a:pt x="391" y="531"/>
                    </a:lnTo>
                    <a:lnTo>
                      <a:pt x="403" y="525"/>
                    </a:lnTo>
                    <a:lnTo>
                      <a:pt x="427" y="511"/>
                    </a:lnTo>
                    <a:lnTo>
                      <a:pt x="450" y="497"/>
                    </a:lnTo>
                    <a:lnTo>
                      <a:pt x="472" y="482"/>
                    </a:lnTo>
                    <a:lnTo>
                      <a:pt x="494" y="467"/>
                    </a:lnTo>
                    <a:lnTo>
                      <a:pt x="506" y="458"/>
                    </a:lnTo>
                    <a:lnTo>
                      <a:pt x="516" y="450"/>
                    </a:lnTo>
                    <a:lnTo>
                      <a:pt x="526" y="441"/>
                    </a:lnTo>
                    <a:lnTo>
                      <a:pt x="536" y="432"/>
                    </a:lnTo>
                    <a:lnTo>
                      <a:pt x="546" y="423"/>
                    </a:lnTo>
                    <a:lnTo>
                      <a:pt x="556" y="414"/>
                    </a:lnTo>
                    <a:lnTo>
                      <a:pt x="565" y="405"/>
                    </a:lnTo>
                    <a:lnTo>
                      <a:pt x="575" y="395"/>
                    </a:lnTo>
                    <a:lnTo>
                      <a:pt x="584" y="385"/>
                    </a:lnTo>
                    <a:lnTo>
                      <a:pt x="593" y="375"/>
                    </a:lnTo>
                    <a:lnTo>
                      <a:pt x="610" y="353"/>
                    </a:lnTo>
                    <a:lnTo>
                      <a:pt x="626" y="332"/>
                    </a:lnTo>
                    <a:lnTo>
                      <a:pt x="642" y="310"/>
                    </a:lnTo>
                    <a:lnTo>
                      <a:pt x="656" y="287"/>
                    </a:lnTo>
                    <a:lnTo>
                      <a:pt x="671" y="264"/>
                    </a:lnTo>
                    <a:lnTo>
                      <a:pt x="683" y="240"/>
                    </a:lnTo>
                    <a:lnTo>
                      <a:pt x="689" y="228"/>
                    </a:lnTo>
                    <a:lnTo>
                      <a:pt x="695" y="215"/>
                    </a:lnTo>
                    <a:lnTo>
                      <a:pt x="705" y="189"/>
                    </a:lnTo>
                    <a:lnTo>
                      <a:pt x="715" y="164"/>
                    </a:lnTo>
                    <a:lnTo>
                      <a:pt x="723" y="138"/>
                    </a:lnTo>
                    <a:lnTo>
                      <a:pt x="731" y="111"/>
                    </a:lnTo>
                    <a:lnTo>
                      <a:pt x="737" y="84"/>
                    </a:lnTo>
                    <a:lnTo>
                      <a:pt x="742" y="57"/>
                    </a:lnTo>
                    <a:lnTo>
                      <a:pt x="746" y="28"/>
                    </a:lnTo>
                    <a:lnTo>
                      <a:pt x="747" y="14"/>
                    </a:lnTo>
                    <a:lnTo>
                      <a:pt x="748" y="0"/>
                    </a:lnTo>
                    <a:lnTo>
                      <a:pt x="1032" y="202"/>
                    </a:lnTo>
                    <a:lnTo>
                      <a:pt x="1385" y="4"/>
                    </a:lnTo>
                    <a:lnTo>
                      <a:pt x="1384" y="36"/>
                    </a:lnTo>
                    <a:lnTo>
                      <a:pt x="1382" y="66"/>
                    </a:lnTo>
                    <a:lnTo>
                      <a:pt x="1379" y="96"/>
                    </a:lnTo>
                    <a:lnTo>
                      <a:pt x="1375" y="126"/>
                    </a:lnTo>
                    <a:lnTo>
                      <a:pt x="1371" y="156"/>
                    </a:lnTo>
                    <a:lnTo>
                      <a:pt x="1366" y="185"/>
                    </a:lnTo>
                    <a:lnTo>
                      <a:pt x="1360" y="216"/>
                    </a:lnTo>
                    <a:lnTo>
                      <a:pt x="1354" y="245"/>
                    </a:lnTo>
                    <a:lnTo>
                      <a:pt x="1347" y="273"/>
                    </a:lnTo>
                    <a:lnTo>
                      <a:pt x="1339" y="302"/>
                    </a:lnTo>
                    <a:lnTo>
                      <a:pt x="1331" y="330"/>
                    </a:lnTo>
                    <a:lnTo>
                      <a:pt x="1322" y="359"/>
                    </a:lnTo>
                    <a:lnTo>
                      <a:pt x="1313" y="387"/>
                    </a:lnTo>
                    <a:lnTo>
                      <a:pt x="1301" y="414"/>
                    </a:lnTo>
                    <a:lnTo>
                      <a:pt x="1291" y="441"/>
                    </a:lnTo>
                    <a:lnTo>
                      <a:pt x="1279" y="468"/>
                    </a:lnTo>
                    <a:lnTo>
                      <a:pt x="1268" y="494"/>
                    </a:lnTo>
                    <a:lnTo>
                      <a:pt x="1255" y="522"/>
                    </a:lnTo>
                    <a:lnTo>
                      <a:pt x="1242" y="547"/>
                    </a:lnTo>
                    <a:lnTo>
                      <a:pt x="1228" y="573"/>
                    </a:lnTo>
                    <a:lnTo>
                      <a:pt x="1214" y="598"/>
                    </a:lnTo>
                    <a:lnTo>
                      <a:pt x="1200" y="623"/>
                    </a:lnTo>
                    <a:lnTo>
                      <a:pt x="1184" y="647"/>
                    </a:lnTo>
                    <a:lnTo>
                      <a:pt x="1169" y="671"/>
                    </a:lnTo>
                    <a:lnTo>
                      <a:pt x="1152" y="696"/>
                    </a:lnTo>
                    <a:lnTo>
                      <a:pt x="1135" y="719"/>
                    </a:lnTo>
                    <a:lnTo>
                      <a:pt x="1117" y="742"/>
                    </a:lnTo>
                    <a:lnTo>
                      <a:pt x="1099" y="764"/>
                    </a:lnTo>
                    <a:lnTo>
                      <a:pt x="1081" y="786"/>
                    </a:lnTo>
                    <a:lnTo>
                      <a:pt x="1062" y="808"/>
                    </a:lnTo>
                    <a:lnTo>
                      <a:pt x="1043" y="829"/>
                    </a:lnTo>
                    <a:lnTo>
                      <a:pt x="1023" y="851"/>
                    </a:lnTo>
                    <a:lnTo>
                      <a:pt x="1003" y="871"/>
                    </a:lnTo>
                    <a:lnTo>
                      <a:pt x="982" y="891"/>
                    </a:lnTo>
                    <a:lnTo>
                      <a:pt x="961" y="910"/>
                    </a:lnTo>
                    <a:lnTo>
                      <a:pt x="939" y="929"/>
                    </a:lnTo>
                    <a:lnTo>
                      <a:pt x="917" y="947"/>
                    </a:lnTo>
                    <a:lnTo>
                      <a:pt x="895" y="965"/>
                    </a:lnTo>
                    <a:lnTo>
                      <a:pt x="872" y="982"/>
                    </a:lnTo>
                    <a:lnTo>
                      <a:pt x="849" y="1000"/>
                    </a:lnTo>
                    <a:lnTo>
                      <a:pt x="826" y="1017"/>
                    </a:lnTo>
                    <a:lnTo>
                      <a:pt x="801" y="1032"/>
                    </a:lnTo>
                    <a:lnTo>
                      <a:pt x="776" y="1048"/>
                    </a:lnTo>
                    <a:lnTo>
                      <a:pt x="752" y="1063"/>
                    </a:lnTo>
                    <a:lnTo>
                      <a:pt x="727" y="1077"/>
                    </a:lnTo>
                    <a:lnTo>
                      <a:pt x="701" y="1090"/>
                    </a:lnTo>
                    <a:lnTo>
                      <a:pt x="676" y="1104"/>
                    </a:lnTo>
                    <a:lnTo>
                      <a:pt x="649" y="1116"/>
                    </a:lnTo>
                    <a:lnTo>
                      <a:pt x="622" y="1128"/>
                    </a:lnTo>
                    <a:lnTo>
                      <a:pt x="595" y="1139"/>
                    </a:lnTo>
                    <a:lnTo>
                      <a:pt x="568" y="1150"/>
                    </a:lnTo>
                    <a:lnTo>
                      <a:pt x="541" y="1161"/>
                    </a:lnTo>
                    <a:lnTo>
                      <a:pt x="514" y="1171"/>
                    </a:lnTo>
                    <a:lnTo>
                      <a:pt x="485" y="1180"/>
                    </a:lnTo>
                    <a:lnTo>
                      <a:pt x="456" y="1188"/>
                    </a:lnTo>
                    <a:lnTo>
                      <a:pt x="428" y="1196"/>
                    </a:lnTo>
                    <a:lnTo>
                      <a:pt x="399" y="1203"/>
                    </a:lnTo>
                    <a:lnTo>
                      <a:pt x="370" y="1209"/>
                    </a:lnTo>
                    <a:lnTo>
                      <a:pt x="340" y="1215"/>
                    </a:lnTo>
                    <a:lnTo>
                      <a:pt x="311" y="1220"/>
                    </a:lnTo>
                    <a:lnTo>
                      <a:pt x="281" y="1224"/>
                    </a:lnTo>
                    <a:lnTo>
                      <a:pt x="251" y="1228"/>
                    </a:lnTo>
                    <a:lnTo>
                      <a:pt x="221" y="1231"/>
                    </a:lnTo>
                    <a:lnTo>
                      <a:pt x="191" y="12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3" name="Oval 92"/>
            <p:cNvSpPr/>
            <p:nvPr/>
          </p:nvSpPr>
          <p:spPr>
            <a:xfrm>
              <a:off x="6636350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8210103" y="1340768"/>
            <a:ext cx="2015999" cy="2016000"/>
            <a:chOff x="8210103" y="1340768"/>
            <a:chExt cx="2015999" cy="2016000"/>
          </a:xfrm>
        </p:grpSpPr>
        <p:grpSp>
          <p:nvGrpSpPr>
            <p:cNvPr id="61" name="Group 14"/>
            <p:cNvGrpSpPr>
              <a:grpSpLocks/>
            </p:cNvGrpSpPr>
            <p:nvPr/>
          </p:nvGrpSpPr>
          <p:grpSpPr bwMode="auto">
            <a:xfrm>
              <a:off x="8210103" y="1340768"/>
              <a:ext cx="2015999" cy="2016000"/>
              <a:chOff x="1840" y="1426"/>
              <a:chExt cx="2561" cy="2560"/>
            </a:xfrm>
            <a:solidFill>
              <a:srgbClr val="2F52A0"/>
            </a:solidFill>
          </p:grpSpPr>
          <p:sp>
            <p:nvSpPr>
              <p:cNvPr id="62" name="Freeform 15"/>
              <p:cNvSpPr>
                <a:spLocks noChangeAspect="1"/>
              </p:cNvSpPr>
              <p:nvPr/>
            </p:nvSpPr>
            <p:spPr bwMode="auto">
              <a:xfrm>
                <a:off x="1890" y="1426"/>
                <a:ext cx="1381" cy="1119"/>
              </a:xfrm>
              <a:custGeom>
                <a:avLst/>
                <a:gdLst>
                  <a:gd name="T0" fmla="*/ 1165 w 1381"/>
                  <a:gd name="T1" fmla="*/ 639 h 1119"/>
                  <a:gd name="T2" fmla="*/ 1112 w 1381"/>
                  <a:gd name="T3" fmla="*/ 646 h 1119"/>
                  <a:gd name="T4" fmla="*/ 1062 w 1381"/>
                  <a:gd name="T5" fmla="*/ 658 h 1119"/>
                  <a:gd name="T6" fmla="*/ 1038 w 1381"/>
                  <a:gd name="T7" fmla="*/ 665 h 1119"/>
                  <a:gd name="T8" fmla="*/ 1002 w 1381"/>
                  <a:gd name="T9" fmla="*/ 677 h 1119"/>
                  <a:gd name="T10" fmla="*/ 966 w 1381"/>
                  <a:gd name="T11" fmla="*/ 692 h 1119"/>
                  <a:gd name="T12" fmla="*/ 921 w 1381"/>
                  <a:gd name="T13" fmla="*/ 714 h 1119"/>
                  <a:gd name="T14" fmla="*/ 879 w 1381"/>
                  <a:gd name="T15" fmla="*/ 741 h 1119"/>
                  <a:gd name="T16" fmla="*/ 838 w 1381"/>
                  <a:gd name="T17" fmla="*/ 770 h 1119"/>
                  <a:gd name="T18" fmla="*/ 799 w 1381"/>
                  <a:gd name="T19" fmla="*/ 801 h 1119"/>
                  <a:gd name="T20" fmla="*/ 781 w 1381"/>
                  <a:gd name="T21" fmla="*/ 818 h 1119"/>
                  <a:gd name="T22" fmla="*/ 747 w 1381"/>
                  <a:gd name="T23" fmla="*/ 854 h 1119"/>
                  <a:gd name="T24" fmla="*/ 716 w 1381"/>
                  <a:gd name="T25" fmla="*/ 894 h 1119"/>
                  <a:gd name="T26" fmla="*/ 701 w 1381"/>
                  <a:gd name="T27" fmla="*/ 914 h 1119"/>
                  <a:gd name="T28" fmla="*/ 674 w 1381"/>
                  <a:gd name="T29" fmla="*/ 956 h 1119"/>
                  <a:gd name="T30" fmla="*/ 656 w 1381"/>
                  <a:gd name="T31" fmla="*/ 989 h 1119"/>
                  <a:gd name="T32" fmla="*/ 640 w 1381"/>
                  <a:gd name="T33" fmla="*/ 1023 h 1119"/>
                  <a:gd name="T34" fmla="*/ 621 w 1381"/>
                  <a:gd name="T35" fmla="*/ 1071 h 1119"/>
                  <a:gd name="T36" fmla="*/ 610 w 1381"/>
                  <a:gd name="T37" fmla="*/ 1107 h 1119"/>
                  <a:gd name="T38" fmla="*/ 383 w 1381"/>
                  <a:gd name="T39" fmla="*/ 833 h 1119"/>
                  <a:gd name="T40" fmla="*/ 7 w 1381"/>
                  <a:gd name="T41" fmla="*/ 899 h 1119"/>
                  <a:gd name="T42" fmla="*/ 23 w 1381"/>
                  <a:gd name="T43" fmla="*/ 850 h 1119"/>
                  <a:gd name="T44" fmla="*/ 42 w 1381"/>
                  <a:gd name="T45" fmla="*/ 804 h 1119"/>
                  <a:gd name="T46" fmla="*/ 61 w 1381"/>
                  <a:gd name="T47" fmla="*/ 758 h 1119"/>
                  <a:gd name="T48" fmla="*/ 83 w 1381"/>
                  <a:gd name="T49" fmla="*/ 712 h 1119"/>
                  <a:gd name="T50" fmla="*/ 105 w 1381"/>
                  <a:gd name="T51" fmla="*/ 668 h 1119"/>
                  <a:gd name="T52" fmla="*/ 130 w 1381"/>
                  <a:gd name="T53" fmla="*/ 625 h 1119"/>
                  <a:gd name="T54" fmla="*/ 156 w 1381"/>
                  <a:gd name="T55" fmla="*/ 583 h 1119"/>
                  <a:gd name="T56" fmla="*/ 184 w 1381"/>
                  <a:gd name="T57" fmla="*/ 541 h 1119"/>
                  <a:gd name="T58" fmla="*/ 214 w 1381"/>
                  <a:gd name="T59" fmla="*/ 502 h 1119"/>
                  <a:gd name="T60" fmla="*/ 245 w 1381"/>
                  <a:gd name="T61" fmla="*/ 463 h 1119"/>
                  <a:gd name="T62" fmla="*/ 277 w 1381"/>
                  <a:gd name="T63" fmla="*/ 426 h 1119"/>
                  <a:gd name="T64" fmla="*/ 310 w 1381"/>
                  <a:gd name="T65" fmla="*/ 389 h 1119"/>
                  <a:gd name="T66" fmla="*/ 345 w 1381"/>
                  <a:gd name="T67" fmla="*/ 354 h 1119"/>
                  <a:gd name="T68" fmla="*/ 382 w 1381"/>
                  <a:gd name="T69" fmla="*/ 321 h 1119"/>
                  <a:gd name="T70" fmla="*/ 439 w 1381"/>
                  <a:gd name="T71" fmla="*/ 274 h 1119"/>
                  <a:gd name="T72" fmla="*/ 478 w 1381"/>
                  <a:gd name="T73" fmla="*/ 244 h 1119"/>
                  <a:gd name="T74" fmla="*/ 519 w 1381"/>
                  <a:gd name="T75" fmla="*/ 215 h 1119"/>
                  <a:gd name="T76" fmla="*/ 561 w 1381"/>
                  <a:gd name="T77" fmla="*/ 188 h 1119"/>
                  <a:gd name="T78" fmla="*/ 603 w 1381"/>
                  <a:gd name="T79" fmla="*/ 163 h 1119"/>
                  <a:gd name="T80" fmla="*/ 647 w 1381"/>
                  <a:gd name="T81" fmla="*/ 140 h 1119"/>
                  <a:gd name="T82" fmla="*/ 693 w 1381"/>
                  <a:gd name="T83" fmla="*/ 118 h 1119"/>
                  <a:gd name="T84" fmla="*/ 738 w 1381"/>
                  <a:gd name="T85" fmla="*/ 98 h 1119"/>
                  <a:gd name="T86" fmla="*/ 785 w 1381"/>
                  <a:gd name="T87" fmla="*/ 79 h 1119"/>
                  <a:gd name="T88" fmla="*/ 833 w 1381"/>
                  <a:gd name="T89" fmla="*/ 62 h 1119"/>
                  <a:gd name="T90" fmla="*/ 882 w 1381"/>
                  <a:gd name="T91" fmla="*/ 47 h 1119"/>
                  <a:gd name="T92" fmla="*/ 931 w 1381"/>
                  <a:gd name="T93" fmla="*/ 35 h 1119"/>
                  <a:gd name="T94" fmla="*/ 980 w 1381"/>
                  <a:gd name="T95" fmla="*/ 24 h 1119"/>
                  <a:gd name="T96" fmla="*/ 1032 w 1381"/>
                  <a:gd name="T97" fmla="*/ 15 h 1119"/>
                  <a:gd name="T98" fmla="*/ 1083 w 1381"/>
                  <a:gd name="T99" fmla="*/ 8 h 1119"/>
                  <a:gd name="T100" fmla="*/ 1135 w 1381"/>
                  <a:gd name="T101" fmla="*/ 3 h 1119"/>
                  <a:gd name="T102" fmla="*/ 1188 w 1381"/>
                  <a:gd name="T103" fmla="*/ 0 h 1119"/>
                  <a:gd name="T104" fmla="*/ 1190 w 1381"/>
                  <a:gd name="T105" fmla="*/ 637 h 11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81"/>
                  <a:gd name="T160" fmla="*/ 0 h 1119"/>
                  <a:gd name="T161" fmla="*/ 1381 w 1381"/>
                  <a:gd name="T162" fmla="*/ 1119 h 11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81" h="1119">
                    <a:moveTo>
                      <a:pt x="1191" y="637"/>
                    </a:moveTo>
                    <a:lnTo>
                      <a:pt x="1165" y="639"/>
                    </a:lnTo>
                    <a:lnTo>
                      <a:pt x="1138" y="642"/>
                    </a:lnTo>
                    <a:lnTo>
                      <a:pt x="1112" y="646"/>
                    </a:lnTo>
                    <a:lnTo>
                      <a:pt x="1087" y="652"/>
                    </a:lnTo>
                    <a:lnTo>
                      <a:pt x="1062" y="658"/>
                    </a:lnTo>
                    <a:lnTo>
                      <a:pt x="1050" y="661"/>
                    </a:lnTo>
                    <a:lnTo>
                      <a:pt x="1038" y="665"/>
                    </a:lnTo>
                    <a:lnTo>
                      <a:pt x="1014" y="673"/>
                    </a:lnTo>
                    <a:lnTo>
                      <a:pt x="1002" y="677"/>
                    </a:lnTo>
                    <a:lnTo>
                      <a:pt x="989" y="682"/>
                    </a:lnTo>
                    <a:lnTo>
                      <a:pt x="966" y="692"/>
                    </a:lnTo>
                    <a:lnTo>
                      <a:pt x="943" y="703"/>
                    </a:lnTo>
                    <a:lnTo>
                      <a:pt x="921" y="714"/>
                    </a:lnTo>
                    <a:lnTo>
                      <a:pt x="900" y="728"/>
                    </a:lnTo>
                    <a:lnTo>
                      <a:pt x="879" y="741"/>
                    </a:lnTo>
                    <a:lnTo>
                      <a:pt x="858" y="755"/>
                    </a:lnTo>
                    <a:lnTo>
                      <a:pt x="838" y="770"/>
                    </a:lnTo>
                    <a:lnTo>
                      <a:pt x="818" y="785"/>
                    </a:lnTo>
                    <a:lnTo>
                      <a:pt x="799" y="801"/>
                    </a:lnTo>
                    <a:lnTo>
                      <a:pt x="790" y="810"/>
                    </a:lnTo>
                    <a:lnTo>
                      <a:pt x="781" y="818"/>
                    </a:lnTo>
                    <a:lnTo>
                      <a:pt x="764" y="836"/>
                    </a:lnTo>
                    <a:lnTo>
                      <a:pt x="747" y="854"/>
                    </a:lnTo>
                    <a:lnTo>
                      <a:pt x="731" y="873"/>
                    </a:lnTo>
                    <a:lnTo>
                      <a:pt x="716" y="894"/>
                    </a:lnTo>
                    <a:lnTo>
                      <a:pt x="708" y="904"/>
                    </a:lnTo>
                    <a:lnTo>
                      <a:pt x="701" y="914"/>
                    </a:lnTo>
                    <a:lnTo>
                      <a:pt x="687" y="934"/>
                    </a:lnTo>
                    <a:lnTo>
                      <a:pt x="674" y="956"/>
                    </a:lnTo>
                    <a:lnTo>
                      <a:pt x="661" y="978"/>
                    </a:lnTo>
                    <a:lnTo>
                      <a:pt x="656" y="989"/>
                    </a:lnTo>
                    <a:lnTo>
                      <a:pt x="650" y="1000"/>
                    </a:lnTo>
                    <a:lnTo>
                      <a:pt x="640" y="1023"/>
                    </a:lnTo>
                    <a:lnTo>
                      <a:pt x="630" y="1047"/>
                    </a:lnTo>
                    <a:lnTo>
                      <a:pt x="621" y="1071"/>
                    </a:lnTo>
                    <a:lnTo>
                      <a:pt x="614" y="1095"/>
                    </a:lnTo>
                    <a:lnTo>
                      <a:pt x="610" y="1107"/>
                    </a:lnTo>
                    <a:lnTo>
                      <a:pt x="607" y="1119"/>
                    </a:lnTo>
                    <a:lnTo>
                      <a:pt x="383" y="833"/>
                    </a:lnTo>
                    <a:lnTo>
                      <a:pt x="0" y="923"/>
                    </a:lnTo>
                    <a:lnTo>
                      <a:pt x="7" y="899"/>
                    </a:lnTo>
                    <a:lnTo>
                      <a:pt x="15" y="874"/>
                    </a:lnTo>
                    <a:lnTo>
                      <a:pt x="23" y="850"/>
                    </a:lnTo>
                    <a:lnTo>
                      <a:pt x="33" y="827"/>
                    </a:lnTo>
                    <a:lnTo>
                      <a:pt x="42" y="804"/>
                    </a:lnTo>
                    <a:lnTo>
                      <a:pt x="51" y="781"/>
                    </a:lnTo>
                    <a:lnTo>
                      <a:pt x="61" y="758"/>
                    </a:lnTo>
                    <a:lnTo>
                      <a:pt x="72" y="735"/>
                    </a:lnTo>
                    <a:lnTo>
                      <a:pt x="83" y="712"/>
                    </a:lnTo>
                    <a:lnTo>
                      <a:pt x="94" y="690"/>
                    </a:lnTo>
                    <a:lnTo>
                      <a:pt x="105" y="668"/>
                    </a:lnTo>
                    <a:lnTo>
                      <a:pt x="117" y="646"/>
                    </a:lnTo>
                    <a:lnTo>
                      <a:pt x="130" y="625"/>
                    </a:lnTo>
                    <a:lnTo>
                      <a:pt x="143" y="604"/>
                    </a:lnTo>
                    <a:lnTo>
                      <a:pt x="156" y="583"/>
                    </a:lnTo>
                    <a:lnTo>
                      <a:pt x="170" y="562"/>
                    </a:lnTo>
                    <a:lnTo>
                      <a:pt x="184" y="541"/>
                    </a:lnTo>
                    <a:lnTo>
                      <a:pt x="199" y="521"/>
                    </a:lnTo>
                    <a:lnTo>
                      <a:pt x="214" y="502"/>
                    </a:lnTo>
                    <a:lnTo>
                      <a:pt x="229" y="482"/>
                    </a:lnTo>
                    <a:lnTo>
                      <a:pt x="245" y="463"/>
                    </a:lnTo>
                    <a:lnTo>
                      <a:pt x="260" y="444"/>
                    </a:lnTo>
                    <a:lnTo>
                      <a:pt x="277" y="426"/>
                    </a:lnTo>
                    <a:lnTo>
                      <a:pt x="293" y="408"/>
                    </a:lnTo>
                    <a:lnTo>
                      <a:pt x="310" y="389"/>
                    </a:lnTo>
                    <a:lnTo>
                      <a:pt x="327" y="371"/>
                    </a:lnTo>
                    <a:lnTo>
                      <a:pt x="345" y="354"/>
                    </a:lnTo>
                    <a:lnTo>
                      <a:pt x="364" y="337"/>
                    </a:lnTo>
                    <a:lnTo>
                      <a:pt x="382" y="321"/>
                    </a:lnTo>
                    <a:lnTo>
                      <a:pt x="401" y="305"/>
                    </a:lnTo>
                    <a:lnTo>
                      <a:pt x="439" y="274"/>
                    </a:lnTo>
                    <a:lnTo>
                      <a:pt x="458" y="259"/>
                    </a:lnTo>
                    <a:lnTo>
                      <a:pt x="478" y="244"/>
                    </a:lnTo>
                    <a:lnTo>
                      <a:pt x="498" y="229"/>
                    </a:lnTo>
                    <a:lnTo>
                      <a:pt x="519" y="215"/>
                    </a:lnTo>
                    <a:lnTo>
                      <a:pt x="540" y="201"/>
                    </a:lnTo>
                    <a:lnTo>
                      <a:pt x="561" y="188"/>
                    </a:lnTo>
                    <a:lnTo>
                      <a:pt x="582" y="175"/>
                    </a:lnTo>
                    <a:lnTo>
                      <a:pt x="603" y="163"/>
                    </a:lnTo>
                    <a:lnTo>
                      <a:pt x="625" y="151"/>
                    </a:lnTo>
                    <a:lnTo>
                      <a:pt x="647" y="140"/>
                    </a:lnTo>
                    <a:lnTo>
                      <a:pt x="669" y="129"/>
                    </a:lnTo>
                    <a:lnTo>
                      <a:pt x="693" y="118"/>
                    </a:lnTo>
                    <a:lnTo>
                      <a:pt x="715" y="108"/>
                    </a:lnTo>
                    <a:lnTo>
                      <a:pt x="738" y="98"/>
                    </a:lnTo>
                    <a:lnTo>
                      <a:pt x="762" y="88"/>
                    </a:lnTo>
                    <a:lnTo>
                      <a:pt x="785" y="79"/>
                    </a:lnTo>
                    <a:lnTo>
                      <a:pt x="808" y="70"/>
                    </a:lnTo>
                    <a:lnTo>
                      <a:pt x="833" y="62"/>
                    </a:lnTo>
                    <a:lnTo>
                      <a:pt x="857" y="54"/>
                    </a:lnTo>
                    <a:lnTo>
                      <a:pt x="882" y="47"/>
                    </a:lnTo>
                    <a:lnTo>
                      <a:pt x="906" y="41"/>
                    </a:lnTo>
                    <a:lnTo>
                      <a:pt x="931" y="35"/>
                    </a:lnTo>
                    <a:lnTo>
                      <a:pt x="955" y="29"/>
                    </a:lnTo>
                    <a:lnTo>
                      <a:pt x="980" y="24"/>
                    </a:lnTo>
                    <a:lnTo>
                      <a:pt x="1006" y="19"/>
                    </a:lnTo>
                    <a:lnTo>
                      <a:pt x="1032" y="15"/>
                    </a:lnTo>
                    <a:lnTo>
                      <a:pt x="1057" y="11"/>
                    </a:lnTo>
                    <a:lnTo>
                      <a:pt x="1083" y="8"/>
                    </a:lnTo>
                    <a:lnTo>
                      <a:pt x="1109" y="5"/>
                    </a:lnTo>
                    <a:lnTo>
                      <a:pt x="1135" y="3"/>
                    </a:lnTo>
                    <a:lnTo>
                      <a:pt x="1162" y="1"/>
                    </a:lnTo>
                    <a:lnTo>
                      <a:pt x="1188" y="0"/>
                    </a:lnTo>
                    <a:lnTo>
                      <a:pt x="1381" y="334"/>
                    </a:lnTo>
                    <a:lnTo>
                      <a:pt x="1190" y="637"/>
                    </a:lnTo>
                    <a:lnTo>
                      <a:pt x="1191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3" name="Freeform 16"/>
              <p:cNvSpPr>
                <a:spLocks noChangeAspect="1"/>
              </p:cNvSpPr>
              <p:nvPr/>
            </p:nvSpPr>
            <p:spPr bwMode="auto">
              <a:xfrm>
                <a:off x="3143" y="1426"/>
                <a:ext cx="1190" cy="1155"/>
              </a:xfrm>
              <a:custGeom>
                <a:avLst/>
                <a:gdLst>
                  <a:gd name="T0" fmla="*/ 25 w 1190"/>
                  <a:gd name="T1" fmla="*/ 637 h 1155"/>
                  <a:gd name="T2" fmla="*/ 49 w 1190"/>
                  <a:gd name="T3" fmla="*/ 639 h 1155"/>
                  <a:gd name="T4" fmla="*/ 98 w 1190"/>
                  <a:gd name="T5" fmla="*/ 647 h 1155"/>
                  <a:gd name="T6" fmla="*/ 121 w 1190"/>
                  <a:gd name="T7" fmla="*/ 652 h 1155"/>
                  <a:gd name="T8" fmla="*/ 167 w 1190"/>
                  <a:gd name="T9" fmla="*/ 664 h 1155"/>
                  <a:gd name="T10" fmla="*/ 201 w 1190"/>
                  <a:gd name="T11" fmla="*/ 675 h 1155"/>
                  <a:gd name="T12" fmla="*/ 235 w 1190"/>
                  <a:gd name="T13" fmla="*/ 688 h 1155"/>
                  <a:gd name="T14" fmla="*/ 256 w 1190"/>
                  <a:gd name="T15" fmla="*/ 698 h 1155"/>
                  <a:gd name="T16" fmla="*/ 277 w 1190"/>
                  <a:gd name="T17" fmla="*/ 708 h 1155"/>
                  <a:gd name="T18" fmla="*/ 297 w 1190"/>
                  <a:gd name="T19" fmla="*/ 721 h 1155"/>
                  <a:gd name="T20" fmla="*/ 317 w 1190"/>
                  <a:gd name="T21" fmla="*/ 733 h 1155"/>
                  <a:gd name="T22" fmla="*/ 356 w 1190"/>
                  <a:gd name="T23" fmla="*/ 758 h 1155"/>
                  <a:gd name="T24" fmla="*/ 393 w 1190"/>
                  <a:gd name="T25" fmla="*/ 787 h 1155"/>
                  <a:gd name="T26" fmla="*/ 427 w 1190"/>
                  <a:gd name="T27" fmla="*/ 818 h 1155"/>
                  <a:gd name="T28" fmla="*/ 443 w 1190"/>
                  <a:gd name="T29" fmla="*/ 834 h 1155"/>
                  <a:gd name="T30" fmla="*/ 467 w 1190"/>
                  <a:gd name="T31" fmla="*/ 860 h 1155"/>
                  <a:gd name="T32" fmla="*/ 489 w 1190"/>
                  <a:gd name="T33" fmla="*/ 888 h 1155"/>
                  <a:gd name="T34" fmla="*/ 515 w 1190"/>
                  <a:gd name="T35" fmla="*/ 926 h 1155"/>
                  <a:gd name="T36" fmla="*/ 541 w 1190"/>
                  <a:gd name="T37" fmla="*/ 965 h 1155"/>
                  <a:gd name="T38" fmla="*/ 562 w 1190"/>
                  <a:gd name="T39" fmla="*/ 1007 h 1155"/>
                  <a:gd name="T40" fmla="*/ 580 w 1190"/>
                  <a:gd name="T41" fmla="*/ 1051 h 1155"/>
                  <a:gd name="T42" fmla="*/ 1190 w 1190"/>
                  <a:gd name="T43" fmla="*/ 865 h 1155"/>
                  <a:gd name="T44" fmla="*/ 1173 w 1190"/>
                  <a:gd name="T45" fmla="*/ 819 h 1155"/>
                  <a:gd name="T46" fmla="*/ 1154 w 1190"/>
                  <a:gd name="T47" fmla="*/ 774 h 1155"/>
                  <a:gd name="T48" fmla="*/ 1134 w 1190"/>
                  <a:gd name="T49" fmla="*/ 730 h 1155"/>
                  <a:gd name="T50" fmla="*/ 1112 w 1190"/>
                  <a:gd name="T51" fmla="*/ 685 h 1155"/>
                  <a:gd name="T52" fmla="*/ 1089 w 1190"/>
                  <a:gd name="T53" fmla="*/ 643 h 1155"/>
                  <a:gd name="T54" fmla="*/ 1064 w 1190"/>
                  <a:gd name="T55" fmla="*/ 602 h 1155"/>
                  <a:gd name="T56" fmla="*/ 1038 w 1190"/>
                  <a:gd name="T57" fmla="*/ 561 h 1155"/>
                  <a:gd name="T58" fmla="*/ 1009 w 1190"/>
                  <a:gd name="T59" fmla="*/ 521 h 1155"/>
                  <a:gd name="T60" fmla="*/ 980 w 1190"/>
                  <a:gd name="T61" fmla="*/ 483 h 1155"/>
                  <a:gd name="T62" fmla="*/ 934 w 1190"/>
                  <a:gd name="T63" fmla="*/ 428 h 1155"/>
                  <a:gd name="T64" fmla="*/ 901 w 1190"/>
                  <a:gd name="T65" fmla="*/ 392 h 1155"/>
                  <a:gd name="T66" fmla="*/ 868 w 1190"/>
                  <a:gd name="T67" fmla="*/ 358 h 1155"/>
                  <a:gd name="T68" fmla="*/ 831 w 1190"/>
                  <a:gd name="T69" fmla="*/ 326 h 1155"/>
                  <a:gd name="T70" fmla="*/ 795 w 1190"/>
                  <a:gd name="T71" fmla="*/ 294 h 1155"/>
                  <a:gd name="T72" fmla="*/ 758 w 1190"/>
                  <a:gd name="T73" fmla="*/ 264 h 1155"/>
                  <a:gd name="T74" fmla="*/ 719 w 1190"/>
                  <a:gd name="T75" fmla="*/ 235 h 1155"/>
                  <a:gd name="T76" fmla="*/ 678 w 1190"/>
                  <a:gd name="T77" fmla="*/ 208 h 1155"/>
                  <a:gd name="T78" fmla="*/ 638 w 1190"/>
                  <a:gd name="T79" fmla="*/ 182 h 1155"/>
                  <a:gd name="T80" fmla="*/ 596 w 1190"/>
                  <a:gd name="T81" fmla="*/ 158 h 1155"/>
                  <a:gd name="T82" fmla="*/ 553 w 1190"/>
                  <a:gd name="T83" fmla="*/ 136 h 1155"/>
                  <a:gd name="T84" fmla="*/ 508 w 1190"/>
                  <a:gd name="T85" fmla="*/ 115 h 1155"/>
                  <a:gd name="T86" fmla="*/ 464 w 1190"/>
                  <a:gd name="T87" fmla="*/ 96 h 1155"/>
                  <a:gd name="T88" fmla="*/ 418 w 1190"/>
                  <a:gd name="T89" fmla="*/ 77 h 1155"/>
                  <a:gd name="T90" fmla="*/ 371 w 1190"/>
                  <a:gd name="T91" fmla="*/ 61 h 1155"/>
                  <a:gd name="T92" fmla="*/ 324 w 1190"/>
                  <a:gd name="T93" fmla="*/ 47 h 1155"/>
                  <a:gd name="T94" fmla="*/ 276 w 1190"/>
                  <a:gd name="T95" fmla="*/ 34 h 1155"/>
                  <a:gd name="T96" fmla="*/ 202 w 1190"/>
                  <a:gd name="T97" fmla="*/ 19 h 1155"/>
                  <a:gd name="T98" fmla="*/ 153 w 1190"/>
                  <a:gd name="T99" fmla="*/ 12 h 1155"/>
                  <a:gd name="T100" fmla="*/ 102 w 1190"/>
                  <a:gd name="T101" fmla="*/ 6 h 1155"/>
                  <a:gd name="T102" fmla="*/ 51 w 1190"/>
                  <a:gd name="T103" fmla="*/ 2 h 1155"/>
                  <a:gd name="T104" fmla="*/ 0 w 1190"/>
                  <a:gd name="T105" fmla="*/ 0 h 1155"/>
                  <a:gd name="T106" fmla="*/ 0 w 1190"/>
                  <a:gd name="T107" fmla="*/ 636 h 11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90"/>
                  <a:gd name="T163" fmla="*/ 0 h 1155"/>
                  <a:gd name="T164" fmla="*/ 1190 w 1190"/>
                  <a:gd name="T165" fmla="*/ 1155 h 115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90" h="1155">
                    <a:moveTo>
                      <a:pt x="0" y="636"/>
                    </a:moveTo>
                    <a:lnTo>
                      <a:pt x="25" y="637"/>
                    </a:lnTo>
                    <a:lnTo>
                      <a:pt x="37" y="638"/>
                    </a:lnTo>
                    <a:lnTo>
                      <a:pt x="49" y="639"/>
                    </a:lnTo>
                    <a:lnTo>
                      <a:pt x="74" y="643"/>
                    </a:lnTo>
                    <a:lnTo>
                      <a:pt x="98" y="647"/>
                    </a:lnTo>
                    <a:lnTo>
                      <a:pt x="110" y="649"/>
                    </a:lnTo>
                    <a:lnTo>
                      <a:pt x="121" y="652"/>
                    </a:lnTo>
                    <a:lnTo>
                      <a:pt x="145" y="657"/>
                    </a:lnTo>
                    <a:lnTo>
                      <a:pt x="167" y="664"/>
                    </a:lnTo>
                    <a:lnTo>
                      <a:pt x="190" y="671"/>
                    </a:lnTo>
                    <a:lnTo>
                      <a:pt x="201" y="675"/>
                    </a:lnTo>
                    <a:lnTo>
                      <a:pt x="212" y="679"/>
                    </a:lnTo>
                    <a:lnTo>
                      <a:pt x="235" y="688"/>
                    </a:lnTo>
                    <a:lnTo>
                      <a:pt x="245" y="693"/>
                    </a:lnTo>
                    <a:lnTo>
                      <a:pt x="256" y="698"/>
                    </a:lnTo>
                    <a:lnTo>
                      <a:pt x="266" y="703"/>
                    </a:lnTo>
                    <a:lnTo>
                      <a:pt x="277" y="708"/>
                    </a:lnTo>
                    <a:lnTo>
                      <a:pt x="287" y="714"/>
                    </a:lnTo>
                    <a:lnTo>
                      <a:pt x="297" y="721"/>
                    </a:lnTo>
                    <a:lnTo>
                      <a:pt x="307" y="727"/>
                    </a:lnTo>
                    <a:lnTo>
                      <a:pt x="317" y="733"/>
                    </a:lnTo>
                    <a:lnTo>
                      <a:pt x="337" y="745"/>
                    </a:lnTo>
                    <a:lnTo>
                      <a:pt x="356" y="758"/>
                    </a:lnTo>
                    <a:lnTo>
                      <a:pt x="374" y="772"/>
                    </a:lnTo>
                    <a:lnTo>
                      <a:pt x="393" y="787"/>
                    </a:lnTo>
                    <a:lnTo>
                      <a:pt x="410" y="802"/>
                    </a:lnTo>
                    <a:lnTo>
                      <a:pt x="427" y="818"/>
                    </a:lnTo>
                    <a:lnTo>
                      <a:pt x="435" y="826"/>
                    </a:lnTo>
                    <a:lnTo>
                      <a:pt x="443" y="834"/>
                    </a:lnTo>
                    <a:lnTo>
                      <a:pt x="459" y="851"/>
                    </a:lnTo>
                    <a:lnTo>
                      <a:pt x="467" y="860"/>
                    </a:lnTo>
                    <a:lnTo>
                      <a:pt x="474" y="869"/>
                    </a:lnTo>
                    <a:lnTo>
                      <a:pt x="489" y="888"/>
                    </a:lnTo>
                    <a:lnTo>
                      <a:pt x="502" y="907"/>
                    </a:lnTo>
                    <a:lnTo>
                      <a:pt x="515" y="926"/>
                    </a:lnTo>
                    <a:lnTo>
                      <a:pt x="528" y="945"/>
                    </a:lnTo>
                    <a:lnTo>
                      <a:pt x="541" y="965"/>
                    </a:lnTo>
                    <a:lnTo>
                      <a:pt x="552" y="986"/>
                    </a:lnTo>
                    <a:lnTo>
                      <a:pt x="562" y="1007"/>
                    </a:lnTo>
                    <a:lnTo>
                      <a:pt x="571" y="1028"/>
                    </a:lnTo>
                    <a:lnTo>
                      <a:pt x="580" y="1051"/>
                    </a:lnTo>
                    <a:lnTo>
                      <a:pt x="926" y="1155"/>
                    </a:lnTo>
                    <a:lnTo>
                      <a:pt x="1190" y="865"/>
                    </a:lnTo>
                    <a:lnTo>
                      <a:pt x="1182" y="842"/>
                    </a:lnTo>
                    <a:lnTo>
                      <a:pt x="1173" y="819"/>
                    </a:lnTo>
                    <a:lnTo>
                      <a:pt x="1164" y="796"/>
                    </a:lnTo>
                    <a:lnTo>
                      <a:pt x="1154" y="774"/>
                    </a:lnTo>
                    <a:lnTo>
                      <a:pt x="1144" y="752"/>
                    </a:lnTo>
                    <a:lnTo>
                      <a:pt x="1134" y="730"/>
                    </a:lnTo>
                    <a:lnTo>
                      <a:pt x="1123" y="707"/>
                    </a:lnTo>
                    <a:lnTo>
                      <a:pt x="1112" y="685"/>
                    </a:lnTo>
                    <a:lnTo>
                      <a:pt x="1101" y="664"/>
                    </a:lnTo>
                    <a:lnTo>
                      <a:pt x="1089" y="643"/>
                    </a:lnTo>
                    <a:lnTo>
                      <a:pt x="1077" y="622"/>
                    </a:lnTo>
                    <a:lnTo>
                      <a:pt x="1064" y="602"/>
                    </a:lnTo>
                    <a:lnTo>
                      <a:pt x="1051" y="581"/>
                    </a:lnTo>
                    <a:lnTo>
                      <a:pt x="1038" y="561"/>
                    </a:lnTo>
                    <a:lnTo>
                      <a:pt x="1024" y="541"/>
                    </a:lnTo>
                    <a:lnTo>
                      <a:pt x="1009" y="521"/>
                    </a:lnTo>
                    <a:lnTo>
                      <a:pt x="995" y="502"/>
                    </a:lnTo>
                    <a:lnTo>
                      <a:pt x="980" y="483"/>
                    </a:lnTo>
                    <a:lnTo>
                      <a:pt x="950" y="446"/>
                    </a:lnTo>
                    <a:lnTo>
                      <a:pt x="934" y="428"/>
                    </a:lnTo>
                    <a:lnTo>
                      <a:pt x="918" y="410"/>
                    </a:lnTo>
                    <a:lnTo>
                      <a:pt x="901" y="392"/>
                    </a:lnTo>
                    <a:lnTo>
                      <a:pt x="885" y="375"/>
                    </a:lnTo>
                    <a:lnTo>
                      <a:pt x="868" y="358"/>
                    </a:lnTo>
                    <a:lnTo>
                      <a:pt x="849" y="342"/>
                    </a:lnTo>
                    <a:lnTo>
                      <a:pt x="831" y="326"/>
                    </a:lnTo>
                    <a:lnTo>
                      <a:pt x="813" y="310"/>
                    </a:lnTo>
                    <a:lnTo>
                      <a:pt x="795" y="294"/>
                    </a:lnTo>
                    <a:lnTo>
                      <a:pt x="777" y="279"/>
                    </a:lnTo>
                    <a:lnTo>
                      <a:pt x="758" y="264"/>
                    </a:lnTo>
                    <a:lnTo>
                      <a:pt x="738" y="250"/>
                    </a:lnTo>
                    <a:lnTo>
                      <a:pt x="719" y="235"/>
                    </a:lnTo>
                    <a:lnTo>
                      <a:pt x="699" y="221"/>
                    </a:lnTo>
                    <a:lnTo>
                      <a:pt x="678" y="208"/>
                    </a:lnTo>
                    <a:lnTo>
                      <a:pt x="658" y="195"/>
                    </a:lnTo>
                    <a:lnTo>
                      <a:pt x="638" y="182"/>
                    </a:lnTo>
                    <a:lnTo>
                      <a:pt x="617" y="170"/>
                    </a:lnTo>
                    <a:lnTo>
                      <a:pt x="596" y="158"/>
                    </a:lnTo>
                    <a:lnTo>
                      <a:pt x="575" y="147"/>
                    </a:lnTo>
                    <a:lnTo>
                      <a:pt x="553" y="136"/>
                    </a:lnTo>
                    <a:lnTo>
                      <a:pt x="530" y="125"/>
                    </a:lnTo>
                    <a:lnTo>
                      <a:pt x="508" y="115"/>
                    </a:lnTo>
                    <a:lnTo>
                      <a:pt x="486" y="105"/>
                    </a:lnTo>
                    <a:lnTo>
                      <a:pt x="464" y="96"/>
                    </a:lnTo>
                    <a:lnTo>
                      <a:pt x="441" y="87"/>
                    </a:lnTo>
                    <a:lnTo>
                      <a:pt x="418" y="77"/>
                    </a:lnTo>
                    <a:lnTo>
                      <a:pt x="395" y="69"/>
                    </a:lnTo>
                    <a:lnTo>
                      <a:pt x="371" y="61"/>
                    </a:lnTo>
                    <a:lnTo>
                      <a:pt x="348" y="54"/>
                    </a:lnTo>
                    <a:lnTo>
                      <a:pt x="324" y="47"/>
                    </a:lnTo>
                    <a:lnTo>
                      <a:pt x="300" y="40"/>
                    </a:lnTo>
                    <a:lnTo>
                      <a:pt x="276" y="34"/>
                    </a:lnTo>
                    <a:lnTo>
                      <a:pt x="252" y="29"/>
                    </a:lnTo>
                    <a:lnTo>
                      <a:pt x="202" y="19"/>
                    </a:lnTo>
                    <a:lnTo>
                      <a:pt x="177" y="15"/>
                    </a:lnTo>
                    <a:lnTo>
                      <a:pt x="153" y="12"/>
                    </a:lnTo>
                    <a:lnTo>
                      <a:pt x="128" y="8"/>
                    </a:lnTo>
                    <a:lnTo>
                      <a:pt x="102" y="6"/>
                    </a:lnTo>
                    <a:lnTo>
                      <a:pt x="77" y="4"/>
                    </a:lnTo>
                    <a:lnTo>
                      <a:pt x="51" y="2"/>
                    </a:lnTo>
                    <a:lnTo>
                      <a:pt x="25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0" y="6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4" name="Freeform 17"/>
              <p:cNvSpPr>
                <a:spLocks noChangeAspect="1"/>
              </p:cNvSpPr>
              <p:nvPr/>
            </p:nvSpPr>
            <p:spPr bwMode="auto">
              <a:xfrm>
                <a:off x="3562" y="2361"/>
                <a:ext cx="839" cy="1334"/>
              </a:xfrm>
              <a:custGeom>
                <a:avLst/>
                <a:gdLst>
                  <a:gd name="T0" fmla="*/ 11 w 839"/>
                  <a:gd name="T1" fmla="*/ 803 h 1334"/>
                  <a:gd name="T2" fmla="*/ 44 w 839"/>
                  <a:gd name="T3" fmla="*/ 768 h 1334"/>
                  <a:gd name="T4" fmla="*/ 64 w 839"/>
                  <a:gd name="T5" fmla="*/ 743 h 1334"/>
                  <a:gd name="T6" fmla="*/ 93 w 839"/>
                  <a:gd name="T7" fmla="*/ 704 h 1334"/>
                  <a:gd name="T8" fmla="*/ 110 w 839"/>
                  <a:gd name="T9" fmla="*/ 677 h 1334"/>
                  <a:gd name="T10" fmla="*/ 127 w 839"/>
                  <a:gd name="T11" fmla="*/ 649 h 1334"/>
                  <a:gd name="T12" fmla="*/ 142 w 839"/>
                  <a:gd name="T13" fmla="*/ 620 h 1334"/>
                  <a:gd name="T14" fmla="*/ 161 w 839"/>
                  <a:gd name="T15" fmla="*/ 574 h 1334"/>
                  <a:gd name="T16" fmla="*/ 172 w 839"/>
                  <a:gd name="T17" fmla="*/ 543 h 1334"/>
                  <a:gd name="T18" fmla="*/ 181 w 839"/>
                  <a:gd name="T19" fmla="*/ 512 h 1334"/>
                  <a:gd name="T20" fmla="*/ 189 w 839"/>
                  <a:gd name="T21" fmla="*/ 480 h 1334"/>
                  <a:gd name="T22" fmla="*/ 195 w 839"/>
                  <a:gd name="T23" fmla="*/ 447 h 1334"/>
                  <a:gd name="T24" fmla="*/ 199 w 839"/>
                  <a:gd name="T25" fmla="*/ 413 h 1334"/>
                  <a:gd name="T26" fmla="*/ 202 w 839"/>
                  <a:gd name="T27" fmla="*/ 379 h 1334"/>
                  <a:gd name="T28" fmla="*/ 203 w 839"/>
                  <a:gd name="T29" fmla="*/ 345 h 1334"/>
                  <a:gd name="T30" fmla="*/ 202 w 839"/>
                  <a:gd name="T31" fmla="*/ 306 h 1334"/>
                  <a:gd name="T32" fmla="*/ 198 w 839"/>
                  <a:gd name="T33" fmla="*/ 268 h 1334"/>
                  <a:gd name="T34" fmla="*/ 193 w 839"/>
                  <a:gd name="T35" fmla="*/ 230 h 1334"/>
                  <a:gd name="T36" fmla="*/ 185 w 839"/>
                  <a:gd name="T37" fmla="*/ 194 h 1334"/>
                  <a:gd name="T38" fmla="*/ 793 w 839"/>
                  <a:gd name="T39" fmla="*/ 0 h 1334"/>
                  <a:gd name="T40" fmla="*/ 808 w 839"/>
                  <a:gd name="T41" fmla="*/ 62 h 1334"/>
                  <a:gd name="T42" fmla="*/ 817 w 839"/>
                  <a:gd name="T43" fmla="*/ 104 h 1334"/>
                  <a:gd name="T44" fmla="*/ 824 w 839"/>
                  <a:gd name="T45" fmla="*/ 147 h 1334"/>
                  <a:gd name="T46" fmla="*/ 833 w 839"/>
                  <a:gd name="T47" fmla="*/ 212 h 1334"/>
                  <a:gd name="T48" fmla="*/ 838 w 839"/>
                  <a:gd name="T49" fmla="*/ 278 h 1334"/>
                  <a:gd name="T50" fmla="*/ 839 w 839"/>
                  <a:gd name="T51" fmla="*/ 345 h 1334"/>
                  <a:gd name="T52" fmla="*/ 837 w 839"/>
                  <a:gd name="T53" fmla="*/ 418 h 1334"/>
                  <a:gd name="T54" fmla="*/ 835 w 839"/>
                  <a:gd name="T55" fmla="*/ 456 h 1334"/>
                  <a:gd name="T56" fmla="*/ 831 w 839"/>
                  <a:gd name="T57" fmla="*/ 492 h 1334"/>
                  <a:gd name="T58" fmla="*/ 823 w 839"/>
                  <a:gd name="T59" fmla="*/ 546 h 1334"/>
                  <a:gd name="T60" fmla="*/ 814 w 839"/>
                  <a:gd name="T61" fmla="*/ 600 h 1334"/>
                  <a:gd name="T62" fmla="*/ 798 w 839"/>
                  <a:gd name="T63" fmla="*/ 669 h 1334"/>
                  <a:gd name="T64" fmla="*/ 778 w 839"/>
                  <a:gd name="T65" fmla="*/ 737 h 1334"/>
                  <a:gd name="T66" fmla="*/ 753 w 839"/>
                  <a:gd name="T67" fmla="*/ 805 h 1334"/>
                  <a:gd name="T68" fmla="*/ 740 w 839"/>
                  <a:gd name="T69" fmla="*/ 837 h 1334"/>
                  <a:gd name="T70" fmla="*/ 711 w 839"/>
                  <a:gd name="T71" fmla="*/ 901 h 1334"/>
                  <a:gd name="T72" fmla="*/ 695 w 839"/>
                  <a:gd name="T73" fmla="*/ 933 h 1334"/>
                  <a:gd name="T74" fmla="*/ 679 w 839"/>
                  <a:gd name="T75" fmla="*/ 963 h 1334"/>
                  <a:gd name="T76" fmla="*/ 644 w 839"/>
                  <a:gd name="T77" fmla="*/ 1023 h 1334"/>
                  <a:gd name="T78" fmla="*/ 605 w 839"/>
                  <a:gd name="T79" fmla="*/ 1082 h 1334"/>
                  <a:gd name="T80" fmla="*/ 563 w 839"/>
                  <a:gd name="T81" fmla="*/ 1137 h 1334"/>
                  <a:gd name="T82" fmla="*/ 518 w 839"/>
                  <a:gd name="T83" fmla="*/ 1190 h 1334"/>
                  <a:gd name="T84" fmla="*/ 495 w 839"/>
                  <a:gd name="T85" fmla="*/ 1215 h 1334"/>
                  <a:gd name="T86" fmla="*/ 447 w 839"/>
                  <a:gd name="T87" fmla="*/ 1265 h 1334"/>
                  <a:gd name="T88" fmla="*/ 395 w 839"/>
                  <a:gd name="T89" fmla="*/ 1312 h 1334"/>
                  <a:gd name="T90" fmla="*/ 13 w 839"/>
                  <a:gd name="T91" fmla="*/ 1187 h 133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39"/>
                  <a:gd name="T139" fmla="*/ 0 h 1334"/>
                  <a:gd name="T140" fmla="*/ 839 w 839"/>
                  <a:gd name="T141" fmla="*/ 1334 h 133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39" h="1334">
                    <a:moveTo>
                      <a:pt x="0" y="814"/>
                    </a:moveTo>
                    <a:lnTo>
                      <a:pt x="11" y="803"/>
                    </a:lnTo>
                    <a:lnTo>
                      <a:pt x="22" y="792"/>
                    </a:lnTo>
                    <a:lnTo>
                      <a:pt x="44" y="768"/>
                    </a:lnTo>
                    <a:lnTo>
                      <a:pt x="54" y="756"/>
                    </a:lnTo>
                    <a:lnTo>
                      <a:pt x="64" y="743"/>
                    </a:lnTo>
                    <a:lnTo>
                      <a:pt x="84" y="717"/>
                    </a:lnTo>
                    <a:lnTo>
                      <a:pt x="93" y="704"/>
                    </a:lnTo>
                    <a:lnTo>
                      <a:pt x="102" y="690"/>
                    </a:lnTo>
                    <a:lnTo>
                      <a:pt x="110" y="677"/>
                    </a:lnTo>
                    <a:lnTo>
                      <a:pt x="119" y="663"/>
                    </a:lnTo>
                    <a:lnTo>
                      <a:pt x="127" y="649"/>
                    </a:lnTo>
                    <a:lnTo>
                      <a:pt x="134" y="634"/>
                    </a:lnTo>
                    <a:lnTo>
                      <a:pt x="142" y="620"/>
                    </a:lnTo>
                    <a:lnTo>
                      <a:pt x="148" y="605"/>
                    </a:lnTo>
                    <a:lnTo>
                      <a:pt x="161" y="574"/>
                    </a:lnTo>
                    <a:lnTo>
                      <a:pt x="166" y="559"/>
                    </a:lnTo>
                    <a:lnTo>
                      <a:pt x="172" y="543"/>
                    </a:lnTo>
                    <a:lnTo>
                      <a:pt x="176" y="528"/>
                    </a:lnTo>
                    <a:lnTo>
                      <a:pt x="181" y="512"/>
                    </a:lnTo>
                    <a:lnTo>
                      <a:pt x="185" y="496"/>
                    </a:lnTo>
                    <a:lnTo>
                      <a:pt x="189" y="480"/>
                    </a:lnTo>
                    <a:lnTo>
                      <a:pt x="192" y="463"/>
                    </a:lnTo>
                    <a:lnTo>
                      <a:pt x="195" y="447"/>
                    </a:lnTo>
                    <a:lnTo>
                      <a:pt x="197" y="430"/>
                    </a:lnTo>
                    <a:lnTo>
                      <a:pt x="199" y="413"/>
                    </a:lnTo>
                    <a:lnTo>
                      <a:pt x="201" y="396"/>
                    </a:lnTo>
                    <a:lnTo>
                      <a:pt x="202" y="379"/>
                    </a:lnTo>
                    <a:lnTo>
                      <a:pt x="202" y="362"/>
                    </a:lnTo>
                    <a:lnTo>
                      <a:pt x="203" y="345"/>
                    </a:lnTo>
                    <a:lnTo>
                      <a:pt x="202" y="325"/>
                    </a:lnTo>
                    <a:lnTo>
                      <a:pt x="202" y="306"/>
                    </a:lnTo>
                    <a:lnTo>
                      <a:pt x="200" y="287"/>
                    </a:lnTo>
                    <a:lnTo>
                      <a:pt x="198" y="268"/>
                    </a:lnTo>
                    <a:lnTo>
                      <a:pt x="196" y="249"/>
                    </a:lnTo>
                    <a:lnTo>
                      <a:pt x="193" y="230"/>
                    </a:lnTo>
                    <a:lnTo>
                      <a:pt x="189" y="212"/>
                    </a:lnTo>
                    <a:lnTo>
                      <a:pt x="185" y="194"/>
                    </a:lnTo>
                    <a:lnTo>
                      <a:pt x="513" y="300"/>
                    </a:lnTo>
                    <a:lnTo>
                      <a:pt x="793" y="0"/>
                    </a:lnTo>
                    <a:lnTo>
                      <a:pt x="803" y="41"/>
                    </a:lnTo>
                    <a:lnTo>
                      <a:pt x="808" y="62"/>
                    </a:lnTo>
                    <a:lnTo>
                      <a:pt x="813" y="83"/>
                    </a:lnTo>
                    <a:lnTo>
                      <a:pt x="817" y="104"/>
                    </a:lnTo>
                    <a:lnTo>
                      <a:pt x="821" y="126"/>
                    </a:lnTo>
                    <a:lnTo>
                      <a:pt x="824" y="147"/>
                    </a:lnTo>
                    <a:lnTo>
                      <a:pt x="827" y="169"/>
                    </a:lnTo>
                    <a:lnTo>
                      <a:pt x="833" y="212"/>
                    </a:lnTo>
                    <a:lnTo>
                      <a:pt x="836" y="255"/>
                    </a:lnTo>
                    <a:lnTo>
                      <a:pt x="838" y="278"/>
                    </a:lnTo>
                    <a:lnTo>
                      <a:pt x="839" y="300"/>
                    </a:lnTo>
                    <a:lnTo>
                      <a:pt x="839" y="345"/>
                    </a:lnTo>
                    <a:lnTo>
                      <a:pt x="839" y="382"/>
                    </a:lnTo>
                    <a:lnTo>
                      <a:pt x="837" y="418"/>
                    </a:lnTo>
                    <a:lnTo>
                      <a:pt x="836" y="438"/>
                    </a:lnTo>
                    <a:lnTo>
                      <a:pt x="835" y="456"/>
                    </a:lnTo>
                    <a:lnTo>
                      <a:pt x="833" y="474"/>
                    </a:lnTo>
                    <a:lnTo>
                      <a:pt x="831" y="492"/>
                    </a:lnTo>
                    <a:lnTo>
                      <a:pt x="826" y="528"/>
                    </a:lnTo>
                    <a:lnTo>
                      <a:pt x="823" y="546"/>
                    </a:lnTo>
                    <a:lnTo>
                      <a:pt x="821" y="564"/>
                    </a:lnTo>
                    <a:lnTo>
                      <a:pt x="814" y="600"/>
                    </a:lnTo>
                    <a:lnTo>
                      <a:pt x="806" y="635"/>
                    </a:lnTo>
                    <a:lnTo>
                      <a:pt x="798" y="669"/>
                    </a:lnTo>
                    <a:lnTo>
                      <a:pt x="788" y="704"/>
                    </a:lnTo>
                    <a:lnTo>
                      <a:pt x="778" y="737"/>
                    </a:lnTo>
                    <a:lnTo>
                      <a:pt x="766" y="772"/>
                    </a:lnTo>
                    <a:lnTo>
                      <a:pt x="753" y="805"/>
                    </a:lnTo>
                    <a:lnTo>
                      <a:pt x="747" y="821"/>
                    </a:lnTo>
                    <a:lnTo>
                      <a:pt x="740" y="837"/>
                    </a:lnTo>
                    <a:lnTo>
                      <a:pt x="726" y="869"/>
                    </a:lnTo>
                    <a:lnTo>
                      <a:pt x="711" y="901"/>
                    </a:lnTo>
                    <a:lnTo>
                      <a:pt x="703" y="917"/>
                    </a:lnTo>
                    <a:lnTo>
                      <a:pt x="695" y="933"/>
                    </a:lnTo>
                    <a:lnTo>
                      <a:pt x="687" y="948"/>
                    </a:lnTo>
                    <a:lnTo>
                      <a:pt x="679" y="963"/>
                    </a:lnTo>
                    <a:lnTo>
                      <a:pt x="662" y="993"/>
                    </a:lnTo>
                    <a:lnTo>
                      <a:pt x="644" y="1023"/>
                    </a:lnTo>
                    <a:lnTo>
                      <a:pt x="625" y="1052"/>
                    </a:lnTo>
                    <a:lnTo>
                      <a:pt x="605" y="1082"/>
                    </a:lnTo>
                    <a:lnTo>
                      <a:pt x="584" y="1109"/>
                    </a:lnTo>
                    <a:lnTo>
                      <a:pt x="563" y="1137"/>
                    </a:lnTo>
                    <a:lnTo>
                      <a:pt x="541" y="1164"/>
                    </a:lnTo>
                    <a:lnTo>
                      <a:pt x="518" y="1190"/>
                    </a:lnTo>
                    <a:lnTo>
                      <a:pt x="507" y="1203"/>
                    </a:lnTo>
                    <a:lnTo>
                      <a:pt x="495" y="1215"/>
                    </a:lnTo>
                    <a:lnTo>
                      <a:pt x="471" y="1241"/>
                    </a:lnTo>
                    <a:lnTo>
                      <a:pt x="447" y="1265"/>
                    </a:lnTo>
                    <a:lnTo>
                      <a:pt x="421" y="1289"/>
                    </a:lnTo>
                    <a:lnTo>
                      <a:pt x="395" y="1312"/>
                    </a:lnTo>
                    <a:lnTo>
                      <a:pt x="368" y="1334"/>
                    </a:lnTo>
                    <a:lnTo>
                      <a:pt x="13" y="1187"/>
                    </a:lnTo>
                    <a:lnTo>
                      <a:pt x="0" y="814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5" name="Freeform 18"/>
              <p:cNvSpPr>
                <a:spLocks noChangeAspect="1"/>
              </p:cNvSpPr>
              <p:nvPr/>
            </p:nvSpPr>
            <p:spPr bwMode="auto">
              <a:xfrm>
                <a:off x="2460" y="3232"/>
                <a:ext cx="1411" cy="754"/>
              </a:xfrm>
              <a:custGeom>
                <a:avLst/>
                <a:gdLst>
                  <a:gd name="T0" fmla="*/ 33 w 1411"/>
                  <a:gd name="T1" fmla="*/ 196 h 754"/>
                  <a:gd name="T2" fmla="*/ 406 w 1411"/>
                  <a:gd name="T3" fmla="*/ 64 h 754"/>
                  <a:gd name="T4" fmla="*/ 438 w 1411"/>
                  <a:gd name="T5" fmla="*/ 77 h 754"/>
                  <a:gd name="T6" fmla="*/ 470 w 1411"/>
                  <a:gd name="T7" fmla="*/ 88 h 754"/>
                  <a:gd name="T8" fmla="*/ 503 w 1411"/>
                  <a:gd name="T9" fmla="*/ 97 h 754"/>
                  <a:gd name="T10" fmla="*/ 537 w 1411"/>
                  <a:gd name="T11" fmla="*/ 105 h 754"/>
                  <a:gd name="T12" fmla="*/ 571 w 1411"/>
                  <a:gd name="T13" fmla="*/ 111 h 754"/>
                  <a:gd name="T14" fmla="*/ 607 w 1411"/>
                  <a:gd name="T15" fmla="*/ 115 h 754"/>
                  <a:gd name="T16" fmla="*/ 643 w 1411"/>
                  <a:gd name="T17" fmla="*/ 117 h 754"/>
                  <a:gd name="T18" fmla="*/ 686 w 1411"/>
                  <a:gd name="T19" fmla="*/ 117 h 754"/>
                  <a:gd name="T20" fmla="*/ 737 w 1411"/>
                  <a:gd name="T21" fmla="*/ 113 h 754"/>
                  <a:gd name="T22" fmla="*/ 787 w 1411"/>
                  <a:gd name="T23" fmla="*/ 105 h 754"/>
                  <a:gd name="T24" fmla="*/ 835 w 1411"/>
                  <a:gd name="T25" fmla="*/ 94 h 754"/>
                  <a:gd name="T26" fmla="*/ 882 w 1411"/>
                  <a:gd name="T27" fmla="*/ 79 h 754"/>
                  <a:gd name="T28" fmla="*/ 928 w 1411"/>
                  <a:gd name="T29" fmla="*/ 60 h 754"/>
                  <a:gd name="T30" fmla="*/ 960 w 1411"/>
                  <a:gd name="T31" fmla="*/ 44 h 754"/>
                  <a:gd name="T32" fmla="*/ 981 w 1411"/>
                  <a:gd name="T33" fmla="*/ 32 h 754"/>
                  <a:gd name="T34" fmla="*/ 1002 w 1411"/>
                  <a:gd name="T35" fmla="*/ 19 h 754"/>
                  <a:gd name="T36" fmla="*/ 1022 w 1411"/>
                  <a:gd name="T37" fmla="*/ 6 h 754"/>
                  <a:gd name="T38" fmla="*/ 1036 w 1411"/>
                  <a:gd name="T39" fmla="*/ 351 h 754"/>
                  <a:gd name="T40" fmla="*/ 1391 w 1411"/>
                  <a:gd name="T41" fmla="*/ 526 h 754"/>
                  <a:gd name="T42" fmla="*/ 1350 w 1411"/>
                  <a:gd name="T43" fmla="*/ 553 h 754"/>
                  <a:gd name="T44" fmla="*/ 1308 w 1411"/>
                  <a:gd name="T45" fmla="*/ 579 h 754"/>
                  <a:gd name="T46" fmla="*/ 1266 w 1411"/>
                  <a:gd name="T47" fmla="*/ 602 h 754"/>
                  <a:gd name="T48" fmla="*/ 1222 w 1411"/>
                  <a:gd name="T49" fmla="*/ 625 h 754"/>
                  <a:gd name="T50" fmla="*/ 1177 w 1411"/>
                  <a:gd name="T51" fmla="*/ 645 h 754"/>
                  <a:gd name="T52" fmla="*/ 1132 w 1411"/>
                  <a:gd name="T53" fmla="*/ 664 h 754"/>
                  <a:gd name="T54" fmla="*/ 1086 w 1411"/>
                  <a:gd name="T55" fmla="*/ 683 h 754"/>
                  <a:gd name="T56" fmla="*/ 1038 w 1411"/>
                  <a:gd name="T57" fmla="*/ 698 h 754"/>
                  <a:gd name="T58" fmla="*/ 990 w 1411"/>
                  <a:gd name="T59" fmla="*/ 712 h 754"/>
                  <a:gd name="T60" fmla="*/ 941 w 1411"/>
                  <a:gd name="T61" fmla="*/ 724 h 754"/>
                  <a:gd name="T62" fmla="*/ 866 w 1411"/>
                  <a:gd name="T63" fmla="*/ 738 h 754"/>
                  <a:gd name="T64" fmla="*/ 816 w 1411"/>
                  <a:gd name="T65" fmla="*/ 745 h 754"/>
                  <a:gd name="T66" fmla="*/ 765 w 1411"/>
                  <a:gd name="T67" fmla="*/ 750 h 754"/>
                  <a:gd name="T68" fmla="*/ 713 w 1411"/>
                  <a:gd name="T69" fmla="*/ 753 h 754"/>
                  <a:gd name="T70" fmla="*/ 661 w 1411"/>
                  <a:gd name="T71" fmla="*/ 754 h 754"/>
                  <a:gd name="T72" fmla="*/ 593 w 1411"/>
                  <a:gd name="T73" fmla="*/ 752 h 754"/>
                  <a:gd name="T74" fmla="*/ 548 w 1411"/>
                  <a:gd name="T75" fmla="*/ 749 h 754"/>
                  <a:gd name="T76" fmla="*/ 504 w 1411"/>
                  <a:gd name="T77" fmla="*/ 744 h 754"/>
                  <a:gd name="T78" fmla="*/ 461 w 1411"/>
                  <a:gd name="T79" fmla="*/ 738 h 754"/>
                  <a:gd name="T80" fmla="*/ 417 w 1411"/>
                  <a:gd name="T81" fmla="*/ 731 h 754"/>
                  <a:gd name="T82" fmla="*/ 374 w 1411"/>
                  <a:gd name="T83" fmla="*/ 722 h 754"/>
                  <a:gd name="T84" fmla="*/ 333 w 1411"/>
                  <a:gd name="T85" fmla="*/ 711 h 754"/>
                  <a:gd name="T86" fmla="*/ 271 w 1411"/>
                  <a:gd name="T87" fmla="*/ 693 h 754"/>
                  <a:gd name="T88" fmla="*/ 229 w 1411"/>
                  <a:gd name="T89" fmla="*/ 679 h 754"/>
                  <a:gd name="T90" fmla="*/ 190 w 1411"/>
                  <a:gd name="T91" fmla="*/ 663 h 754"/>
                  <a:gd name="T92" fmla="*/ 150 w 1411"/>
                  <a:gd name="T93" fmla="*/ 646 h 754"/>
                  <a:gd name="T94" fmla="*/ 112 w 1411"/>
                  <a:gd name="T95" fmla="*/ 628 h 754"/>
                  <a:gd name="T96" fmla="*/ 73 w 1411"/>
                  <a:gd name="T97" fmla="*/ 610 h 754"/>
                  <a:gd name="T98" fmla="*/ 0 w 1411"/>
                  <a:gd name="T99" fmla="*/ 568 h 75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411"/>
                  <a:gd name="T151" fmla="*/ 0 h 754"/>
                  <a:gd name="T152" fmla="*/ 1411 w 1411"/>
                  <a:gd name="T153" fmla="*/ 754 h 75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411" h="754">
                    <a:moveTo>
                      <a:pt x="0" y="568"/>
                    </a:moveTo>
                    <a:lnTo>
                      <a:pt x="33" y="196"/>
                    </a:lnTo>
                    <a:lnTo>
                      <a:pt x="390" y="57"/>
                    </a:lnTo>
                    <a:lnTo>
                      <a:pt x="406" y="64"/>
                    </a:lnTo>
                    <a:lnTo>
                      <a:pt x="422" y="71"/>
                    </a:lnTo>
                    <a:lnTo>
                      <a:pt x="438" y="77"/>
                    </a:lnTo>
                    <a:lnTo>
                      <a:pt x="454" y="83"/>
                    </a:lnTo>
                    <a:lnTo>
                      <a:pt x="470" y="88"/>
                    </a:lnTo>
                    <a:lnTo>
                      <a:pt x="487" y="93"/>
                    </a:lnTo>
                    <a:lnTo>
                      <a:pt x="503" y="97"/>
                    </a:lnTo>
                    <a:lnTo>
                      <a:pt x="520" y="102"/>
                    </a:lnTo>
                    <a:lnTo>
                      <a:pt x="537" y="105"/>
                    </a:lnTo>
                    <a:lnTo>
                      <a:pt x="554" y="108"/>
                    </a:lnTo>
                    <a:lnTo>
                      <a:pt x="571" y="111"/>
                    </a:lnTo>
                    <a:lnTo>
                      <a:pt x="590" y="113"/>
                    </a:lnTo>
                    <a:lnTo>
                      <a:pt x="607" y="115"/>
                    </a:lnTo>
                    <a:lnTo>
                      <a:pt x="625" y="117"/>
                    </a:lnTo>
                    <a:lnTo>
                      <a:pt x="643" y="117"/>
                    </a:lnTo>
                    <a:lnTo>
                      <a:pt x="661" y="118"/>
                    </a:lnTo>
                    <a:lnTo>
                      <a:pt x="686" y="117"/>
                    </a:lnTo>
                    <a:lnTo>
                      <a:pt x="712" y="116"/>
                    </a:lnTo>
                    <a:lnTo>
                      <a:pt x="737" y="113"/>
                    </a:lnTo>
                    <a:lnTo>
                      <a:pt x="763" y="110"/>
                    </a:lnTo>
                    <a:lnTo>
                      <a:pt x="787" y="105"/>
                    </a:lnTo>
                    <a:lnTo>
                      <a:pt x="811" y="100"/>
                    </a:lnTo>
                    <a:lnTo>
                      <a:pt x="835" y="94"/>
                    </a:lnTo>
                    <a:lnTo>
                      <a:pt x="859" y="87"/>
                    </a:lnTo>
                    <a:lnTo>
                      <a:pt x="882" y="79"/>
                    </a:lnTo>
                    <a:lnTo>
                      <a:pt x="905" y="70"/>
                    </a:lnTo>
                    <a:lnTo>
                      <a:pt x="928" y="60"/>
                    </a:lnTo>
                    <a:lnTo>
                      <a:pt x="949" y="50"/>
                    </a:lnTo>
                    <a:lnTo>
                      <a:pt x="960" y="44"/>
                    </a:lnTo>
                    <a:lnTo>
                      <a:pt x="971" y="39"/>
                    </a:lnTo>
                    <a:lnTo>
                      <a:pt x="981" y="32"/>
                    </a:lnTo>
                    <a:lnTo>
                      <a:pt x="991" y="26"/>
                    </a:lnTo>
                    <a:lnTo>
                      <a:pt x="1002" y="19"/>
                    </a:lnTo>
                    <a:lnTo>
                      <a:pt x="1012" y="13"/>
                    </a:lnTo>
                    <a:lnTo>
                      <a:pt x="1022" y="6"/>
                    </a:lnTo>
                    <a:lnTo>
                      <a:pt x="1032" y="0"/>
                    </a:lnTo>
                    <a:lnTo>
                      <a:pt x="1036" y="351"/>
                    </a:lnTo>
                    <a:lnTo>
                      <a:pt x="1411" y="511"/>
                    </a:lnTo>
                    <a:lnTo>
                      <a:pt x="1391" y="526"/>
                    </a:lnTo>
                    <a:lnTo>
                      <a:pt x="1370" y="540"/>
                    </a:lnTo>
                    <a:lnTo>
                      <a:pt x="1350" y="553"/>
                    </a:lnTo>
                    <a:lnTo>
                      <a:pt x="1329" y="566"/>
                    </a:lnTo>
                    <a:lnTo>
                      <a:pt x="1308" y="579"/>
                    </a:lnTo>
                    <a:lnTo>
                      <a:pt x="1287" y="591"/>
                    </a:lnTo>
                    <a:lnTo>
                      <a:pt x="1266" y="602"/>
                    </a:lnTo>
                    <a:lnTo>
                      <a:pt x="1244" y="614"/>
                    </a:lnTo>
                    <a:lnTo>
                      <a:pt x="1222" y="625"/>
                    </a:lnTo>
                    <a:lnTo>
                      <a:pt x="1199" y="635"/>
                    </a:lnTo>
                    <a:lnTo>
                      <a:pt x="1177" y="645"/>
                    </a:lnTo>
                    <a:lnTo>
                      <a:pt x="1154" y="655"/>
                    </a:lnTo>
                    <a:lnTo>
                      <a:pt x="1132" y="664"/>
                    </a:lnTo>
                    <a:lnTo>
                      <a:pt x="1109" y="673"/>
                    </a:lnTo>
                    <a:lnTo>
                      <a:pt x="1086" y="683"/>
                    </a:lnTo>
                    <a:lnTo>
                      <a:pt x="1062" y="691"/>
                    </a:lnTo>
                    <a:lnTo>
                      <a:pt x="1038" y="698"/>
                    </a:lnTo>
                    <a:lnTo>
                      <a:pt x="1014" y="705"/>
                    </a:lnTo>
                    <a:lnTo>
                      <a:pt x="990" y="712"/>
                    </a:lnTo>
                    <a:lnTo>
                      <a:pt x="966" y="718"/>
                    </a:lnTo>
                    <a:lnTo>
                      <a:pt x="941" y="724"/>
                    </a:lnTo>
                    <a:lnTo>
                      <a:pt x="917" y="729"/>
                    </a:lnTo>
                    <a:lnTo>
                      <a:pt x="866" y="738"/>
                    </a:lnTo>
                    <a:lnTo>
                      <a:pt x="841" y="742"/>
                    </a:lnTo>
                    <a:lnTo>
                      <a:pt x="816" y="745"/>
                    </a:lnTo>
                    <a:lnTo>
                      <a:pt x="791" y="748"/>
                    </a:lnTo>
                    <a:lnTo>
                      <a:pt x="765" y="750"/>
                    </a:lnTo>
                    <a:lnTo>
                      <a:pt x="738" y="752"/>
                    </a:lnTo>
                    <a:lnTo>
                      <a:pt x="713" y="753"/>
                    </a:lnTo>
                    <a:lnTo>
                      <a:pt x="687" y="754"/>
                    </a:lnTo>
                    <a:lnTo>
                      <a:pt x="661" y="754"/>
                    </a:lnTo>
                    <a:lnTo>
                      <a:pt x="616" y="753"/>
                    </a:lnTo>
                    <a:lnTo>
                      <a:pt x="593" y="752"/>
                    </a:lnTo>
                    <a:lnTo>
                      <a:pt x="570" y="751"/>
                    </a:lnTo>
                    <a:lnTo>
                      <a:pt x="548" y="749"/>
                    </a:lnTo>
                    <a:lnTo>
                      <a:pt x="526" y="747"/>
                    </a:lnTo>
                    <a:lnTo>
                      <a:pt x="504" y="744"/>
                    </a:lnTo>
                    <a:lnTo>
                      <a:pt x="482" y="742"/>
                    </a:lnTo>
                    <a:lnTo>
                      <a:pt x="461" y="738"/>
                    </a:lnTo>
                    <a:lnTo>
                      <a:pt x="439" y="735"/>
                    </a:lnTo>
                    <a:lnTo>
                      <a:pt x="417" y="731"/>
                    </a:lnTo>
                    <a:lnTo>
                      <a:pt x="396" y="726"/>
                    </a:lnTo>
                    <a:lnTo>
                      <a:pt x="374" y="722"/>
                    </a:lnTo>
                    <a:lnTo>
                      <a:pt x="353" y="716"/>
                    </a:lnTo>
                    <a:lnTo>
                      <a:pt x="333" y="711"/>
                    </a:lnTo>
                    <a:lnTo>
                      <a:pt x="312" y="705"/>
                    </a:lnTo>
                    <a:lnTo>
                      <a:pt x="271" y="693"/>
                    </a:lnTo>
                    <a:lnTo>
                      <a:pt x="250" y="686"/>
                    </a:lnTo>
                    <a:lnTo>
                      <a:pt x="229" y="679"/>
                    </a:lnTo>
                    <a:lnTo>
                      <a:pt x="209" y="670"/>
                    </a:lnTo>
                    <a:lnTo>
                      <a:pt x="190" y="663"/>
                    </a:lnTo>
                    <a:lnTo>
                      <a:pt x="170" y="655"/>
                    </a:lnTo>
                    <a:lnTo>
                      <a:pt x="150" y="646"/>
                    </a:lnTo>
                    <a:lnTo>
                      <a:pt x="131" y="637"/>
                    </a:lnTo>
                    <a:lnTo>
                      <a:pt x="112" y="628"/>
                    </a:lnTo>
                    <a:lnTo>
                      <a:pt x="92" y="619"/>
                    </a:lnTo>
                    <a:lnTo>
                      <a:pt x="73" y="610"/>
                    </a:lnTo>
                    <a:lnTo>
                      <a:pt x="36" y="590"/>
                    </a:lnTo>
                    <a:lnTo>
                      <a:pt x="0" y="5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6" name="Freeform 19"/>
              <p:cNvSpPr>
                <a:spLocks noChangeAspect="1"/>
              </p:cNvSpPr>
              <p:nvPr/>
            </p:nvSpPr>
            <p:spPr bwMode="auto">
              <a:xfrm>
                <a:off x="1840" y="2330"/>
                <a:ext cx="934" cy="1434"/>
              </a:xfrm>
              <a:custGeom>
                <a:avLst/>
                <a:gdLst>
                  <a:gd name="T0" fmla="*/ 917 w 934"/>
                  <a:gd name="T1" fmla="*/ 907 h 1434"/>
                  <a:gd name="T2" fmla="*/ 885 w 934"/>
                  <a:gd name="T3" fmla="*/ 883 h 1434"/>
                  <a:gd name="T4" fmla="*/ 854 w 934"/>
                  <a:gd name="T5" fmla="*/ 858 h 1434"/>
                  <a:gd name="T6" fmla="*/ 825 w 934"/>
                  <a:gd name="T7" fmla="*/ 831 h 1434"/>
                  <a:gd name="T8" fmla="*/ 798 w 934"/>
                  <a:gd name="T9" fmla="*/ 803 h 1434"/>
                  <a:gd name="T10" fmla="*/ 773 w 934"/>
                  <a:gd name="T11" fmla="*/ 771 h 1434"/>
                  <a:gd name="T12" fmla="*/ 750 w 934"/>
                  <a:gd name="T13" fmla="*/ 740 h 1434"/>
                  <a:gd name="T14" fmla="*/ 729 w 934"/>
                  <a:gd name="T15" fmla="*/ 706 h 1434"/>
                  <a:gd name="T16" fmla="*/ 708 w 934"/>
                  <a:gd name="T17" fmla="*/ 672 h 1434"/>
                  <a:gd name="T18" fmla="*/ 691 w 934"/>
                  <a:gd name="T19" fmla="*/ 636 h 1434"/>
                  <a:gd name="T20" fmla="*/ 676 w 934"/>
                  <a:gd name="T21" fmla="*/ 598 h 1434"/>
                  <a:gd name="T22" fmla="*/ 663 w 934"/>
                  <a:gd name="T23" fmla="*/ 560 h 1434"/>
                  <a:gd name="T24" fmla="*/ 653 w 934"/>
                  <a:gd name="T25" fmla="*/ 521 h 1434"/>
                  <a:gd name="T26" fmla="*/ 645 w 934"/>
                  <a:gd name="T27" fmla="*/ 480 h 1434"/>
                  <a:gd name="T28" fmla="*/ 640 w 934"/>
                  <a:gd name="T29" fmla="*/ 438 h 1434"/>
                  <a:gd name="T30" fmla="*/ 637 w 934"/>
                  <a:gd name="T31" fmla="*/ 397 h 1434"/>
                  <a:gd name="T32" fmla="*/ 637 w 934"/>
                  <a:gd name="T33" fmla="*/ 355 h 1434"/>
                  <a:gd name="T34" fmla="*/ 639 w 934"/>
                  <a:gd name="T35" fmla="*/ 315 h 1434"/>
                  <a:gd name="T36" fmla="*/ 401 w 934"/>
                  <a:gd name="T37" fmla="*/ 0 h 1434"/>
                  <a:gd name="T38" fmla="*/ 26 w 934"/>
                  <a:gd name="T39" fmla="*/ 115 h 1434"/>
                  <a:gd name="T40" fmla="*/ 14 w 934"/>
                  <a:gd name="T41" fmla="*/ 188 h 1434"/>
                  <a:gd name="T42" fmla="*/ 9 w 934"/>
                  <a:gd name="T43" fmla="*/ 225 h 1434"/>
                  <a:gd name="T44" fmla="*/ 5 w 934"/>
                  <a:gd name="T45" fmla="*/ 262 h 1434"/>
                  <a:gd name="T46" fmla="*/ 1 w 934"/>
                  <a:gd name="T47" fmla="*/ 338 h 1434"/>
                  <a:gd name="T48" fmla="*/ 0 w 934"/>
                  <a:gd name="T49" fmla="*/ 396 h 1434"/>
                  <a:gd name="T50" fmla="*/ 2 w 934"/>
                  <a:gd name="T51" fmla="*/ 437 h 1434"/>
                  <a:gd name="T52" fmla="*/ 4 w 934"/>
                  <a:gd name="T53" fmla="*/ 478 h 1434"/>
                  <a:gd name="T54" fmla="*/ 10 w 934"/>
                  <a:gd name="T55" fmla="*/ 538 h 1434"/>
                  <a:gd name="T56" fmla="*/ 16 w 934"/>
                  <a:gd name="T57" fmla="*/ 577 h 1434"/>
                  <a:gd name="T58" fmla="*/ 31 w 934"/>
                  <a:gd name="T59" fmla="*/ 656 h 1434"/>
                  <a:gd name="T60" fmla="*/ 40 w 934"/>
                  <a:gd name="T61" fmla="*/ 694 h 1434"/>
                  <a:gd name="T62" fmla="*/ 62 w 934"/>
                  <a:gd name="T63" fmla="*/ 769 h 1434"/>
                  <a:gd name="T64" fmla="*/ 82 w 934"/>
                  <a:gd name="T65" fmla="*/ 825 h 1434"/>
                  <a:gd name="T66" fmla="*/ 96 w 934"/>
                  <a:gd name="T67" fmla="*/ 861 h 1434"/>
                  <a:gd name="T68" fmla="*/ 119 w 934"/>
                  <a:gd name="T69" fmla="*/ 914 h 1434"/>
                  <a:gd name="T70" fmla="*/ 154 w 934"/>
                  <a:gd name="T71" fmla="*/ 983 h 1434"/>
                  <a:gd name="T72" fmla="*/ 173 w 934"/>
                  <a:gd name="T73" fmla="*/ 1016 h 1434"/>
                  <a:gd name="T74" fmla="*/ 203 w 934"/>
                  <a:gd name="T75" fmla="*/ 1065 h 1434"/>
                  <a:gd name="T76" fmla="*/ 235 w 934"/>
                  <a:gd name="T77" fmla="*/ 1114 h 1434"/>
                  <a:gd name="T78" fmla="*/ 281 w 934"/>
                  <a:gd name="T79" fmla="*/ 1175 h 1434"/>
                  <a:gd name="T80" fmla="*/ 306 w 934"/>
                  <a:gd name="T81" fmla="*/ 1204 h 1434"/>
                  <a:gd name="T82" fmla="*/ 331 w 934"/>
                  <a:gd name="T83" fmla="*/ 1232 h 1434"/>
                  <a:gd name="T84" fmla="*/ 357 w 934"/>
                  <a:gd name="T85" fmla="*/ 1261 h 1434"/>
                  <a:gd name="T86" fmla="*/ 383 w 934"/>
                  <a:gd name="T87" fmla="*/ 1288 h 1434"/>
                  <a:gd name="T88" fmla="*/ 412 w 934"/>
                  <a:gd name="T89" fmla="*/ 1315 h 1434"/>
                  <a:gd name="T90" fmla="*/ 469 w 934"/>
                  <a:gd name="T91" fmla="*/ 1364 h 1434"/>
                  <a:gd name="T92" fmla="*/ 529 w 934"/>
                  <a:gd name="T93" fmla="*/ 1411 h 1434"/>
                  <a:gd name="T94" fmla="*/ 601 w 934"/>
                  <a:gd name="T95" fmla="*/ 1030 h 143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934"/>
                  <a:gd name="T145" fmla="*/ 0 h 1434"/>
                  <a:gd name="T146" fmla="*/ 934 w 934"/>
                  <a:gd name="T147" fmla="*/ 1434 h 143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934" h="1434">
                    <a:moveTo>
                      <a:pt x="934" y="918"/>
                    </a:moveTo>
                    <a:lnTo>
                      <a:pt x="917" y="907"/>
                    </a:lnTo>
                    <a:lnTo>
                      <a:pt x="901" y="895"/>
                    </a:lnTo>
                    <a:lnTo>
                      <a:pt x="885" y="883"/>
                    </a:lnTo>
                    <a:lnTo>
                      <a:pt x="869" y="871"/>
                    </a:lnTo>
                    <a:lnTo>
                      <a:pt x="854" y="858"/>
                    </a:lnTo>
                    <a:lnTo>
                      <a:pt x="839" y="845"/>
                    </a:lnTo>
                    <a:lnTo>
                      <a:pt x="825" y="831"/>
                    </a:lnTo>
                    <a:lnTo>
                      <a:pt x="812" y="817"/>
                    </a:lnTo>
                    <a:lnTo>
                      <a:pt x="798" y="803"/>
                    </a:lnTo>
                    <a:lnTo>
                      <a:pt x="786" y="788"/>
                    </a:lnTo>
                    <a:lnTo>
                      <a:pt x="773" y="771"/>
                    </a:lnTo>
                    <a:lnTo>
                      <a:pt x="761" y="756"/>
                    </a:lnTo>
                    <a:lnTo>
                      <a:pt x="750" y="740"/>
                    </a:lnTo>
                    <a:lnTo>
                      <a:pt x="739" y="723"/>
                    </a:lnTo>
                    <a:lnTo>
                      <a:pt x="729" y="706"/>
                    </a:lnTo>
                    <a:lnTo>
                      <a:pt x="718" y="689"/>
                    </a:lnTo>
                    <a:lnTo>
                      <a:pt x="708" y="672"/>
                    </a:lnTo>
                    <a:lnTo>
                      <a:pt x="699" y="654"/>
                    </a:lnTo>
                    <a:lnTo>
                      <a:pt x="691" y="636"/>
                    </a:lnTo>
                    <a:lnTo>
                      <a:pt x="683" y="618"/>
                    </a:lnTo>
                    <a:lnTo>
                      <a:pt x="676" y="598"/>
                    </a:lnTo>
                    <a:lnTo>
                      <a:pt x="669" y="579"/>
                    </a:lnTo>
                    <a:lnTo>
                      <a:pt x="663" y="560"/>
                    </a:lnTo>
                    <a:lnTo>
                      <a:pt x="658" y="540"/>
                    </a:lnTo>
                    <a:lnTo>
                      <a:pt x="653" y="521"/>
                    </a:lnTo>
                    <a:lnTo>
                      <a:pt x="649" y="501"/>
                    </a:lnTo>
                    <a:lnTo>
                      <a:pt x="645" y="480"/>
                    </a:lnTo>
                    <a:lnTo>
                      <a:pt x="642" y="460"/>
                    </a:lnTo>
                    <a:lnTo>
                      <a:pt x="640" y="438"/>
                    </a:lnTo>
                    <a:lnTo>
                      <a:pt x="638" y="418"/>
                    </a:lnTo>
                    <a:lnTo>
                      <a:pt x="637" y="397"/>
                    </a:lnTo>
                    <a:lnTo>
                      <a:pt x="637" y="376"/>
                    </a:lnTo>
                    <a:lnTo>
                      <a:pt x="637" y="355"/>
                    </a:lnTo>
                    <a:lnTo>
                      <a:pt x="638" y="335"/>
                    </a:lnTo>
                    <a:lnTo>
                      <a:pt x="639" y="315"/>
                    </a:lnTo>
                    <a:lnTo>
                      <a:pt x="642" y="295"/>
                    </a:lnTo>
                    <a:lnTo>
                      <a:pt x="401" y="0"/>
                    </a:lnTo>
                    <a:lnTo>
                      <a:pt x="34" y="80"/>
                    </a:lnTo>
                    <a:lnTo>
                      <a:pt x="26" y="115"/>
                    </a:lnTo>
                    <a:lnTo>
                      <a:pt x="20" y="152"/>
                    </a:lnTo>
                    <a:lnTo>
                      <a:pt x="14" y="188"/>
                    </a:lnTo>
                    <a:lnTo>
                      <a:pt x="11" y="207"/>
                    </a:lnTo>
                    <a:lnTo>
                      <a:pt x="9" y="225"/>
                    </a:lnTo>
                    <a:lnTo>
                      <a:pt x="7" y="243"/>
                    </a:lnTo>
                    <a:lnTo>
                      <a:pt x="5" y="262"/>
                    </a:lnTo>
                    <a:lnTo>
                      <a:pt x="2" y="300"/>
                    </a:lnTo>
                    <a:lnTo>
                      <a:pt x="1" y="338"/>
                    </a:lnTo>
                    <a:lnTo>
                      <a:pt x="0" y="376"/>
                    </a:lnTo>
                    <a:lnTo>
                      <a:pt x="0" y="396"/>
                    </a:lnTo>
                    <a:lnTo>
                      <a:pt x="1" y="416"/>
                    </a:lnTo>
                    <a:lnTo>
                      <a:pt x="2" y="437"/>
                    </a:lnTo>
                    <a:lnTo>
                      <a:pt x="3" y="458"/>
                    </a:lnTo>
                    <a:lnTo>
                      <a:pt x="4" y="478"/>
                    </a:lnTo>
                    <a:lnTo>
                      <a:pt x="6" y="498"/>
                    </a:lnTo>
                    <a:lnTo>
                      <a:pt x="10" y="538"/>
                    </a:lnTo>
                    <a:lnTo>
                      <a:pt x="13" y="557"/>
                    </a:lnTo>
                    <a:lnTo>
                      <a:pt x="16" y="577"/>
                    </a:lnTo>
                    <a:lnTo>
                      <a:pt x="23" y="617"/>
                    </a:lnTo>
                    <a:lnTo>
                      <a:pt x="31" y="656"/>
                    </a:lnTo>
                    <a:lnTo>
                      <a:pt x="35" y="675"/>
                    </a:lnTo>
                    <a:lnTo>
                      <a:pt x="40" y="694"/>
                    </a:lnTo>
                    <a:lnTo>
                      <a:pt x="50" y="732"/>
                    </a:lnTo>
                    <a:lnTo>
                      <a:pt x="62" y="769"/>
                    </a:lnTo>
                    <a:lnTo>
                      <a:pt x="74" y="807"/>
                    </a:lnTo>
                    <a:lnTo>
                      <a:pt x="82" y="825"/>
                    </a:lnTo>
                    <a:lnTo>
                      <a:pt x="89" y="843"/>
                    </a:lnTo>
                    <a:lnTo>
                      <a:pt x="96" y="861"/>
                    </a:lnTo>
                    <a:lnTo>
                      <a:pt x="104" y="878"/>
                    </a:lnTo>
                    <a:lnTo>
                      <a:pt x="119" y="914"/>
                    </a:lnTo>
                    <a:lnTo>
                      <a:pt x="136" y="949"/>
                    </a:lnTo>
                    <a:lnTo>
                      <a:pt x="154" y="983"/>
                    </a:lnTo>
                    <a:lnTo>
                      <a:pt x="163" y="1000"/>
                    </a:lnTo>
                    <a:lnTo>
                      <a:pt x="173" y="1016"/>
                    </a:lnTo>
                    <a:lnTo>
                      <a:pt x="192" y="1049"/>
                    </a:lnTo>
                    <a:lnTo>
                      <a:pt x="203" y="1065"/>
                    </a:lnTo>
                    <a:lnTo>
                      <a:pt x="213" y="1081"/>
                    </a:lnTo>
                    <a:lnTo>
                      <a:pt x="235" y="1114"/>
                    </a:lnTo>
                    <a:lnTo>
                      <a:pt x="258" y="1145"/>
                    </a:lnTo>
                    <a:lnTo>
                      <a:pt x="281" y="1175"/>
                    </a:lnTo>
                    <a:lnTo>
                      <a:pt x="293" y="1189"/>
                    </a:lnTo>
                    <a:lnTo>
                      <a:pt x="306" y="1204"/>
                    </a:lnTo>
                    <a:lnTo>
                      <a:pt x="318" y="1218"/>
                    </a:lnTo>
                    <a:lnTo>
                      <a:pt x="331" y="1232"/>
                    </a:lnTo>
                    <a:lnTo>
                      <a:pt x="344" y="1246"/>
                    </a:lnTo>
                    <a:lnTo>
                      <a:pt x="357" y="1261"/>
                    </a:lnTo>
                    <a:lnTo>
                      <a:pt x="370" y="1275"/>
                    </a:lnTo>
                    <a:lnTo>
                      <a:pt x="383" y="1288"/>
                    </a:lnTo>
                    <a:lnTo>
                      <a:pt x="397" y="1301"/>
                    </a:lnTo>
                    <a:lnTo>
                      <a:pt x="412" y="1315"/>
                    </a:lnTo>
                    <a:lnTo>
                      <a:pt x="440" y="1340"/>
                    </a:lnTo>
                    <a:lnTo>
                      <a:pt x="469" y="1364"/>
                    </a:lnTo>
                    <a:lnTo>
                      <a:pt x="499" y="1388"/>
                    </a:lnTo>
                    <a:lnTo>
                      <a:pt x="529" y="1411"/>
                    </a:lnTo>
                    <a:lnTo>
                      <a:pt x="561" y="1434"/>
                    </a:lnTo>
                    <a:lnTo>
                      <a:pt x="601" y="1030"/>
                    </a:lnTo>
                    <a:lnTo>
                      <a:pt x="934" y="9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4" name="Oval 93"/>
            <p:cNvSpPr/>
            <p:nvPr/>
          </p:nvSpPr>
          <p:spPr>
            <a:xfrm>
              <a:off x="8831862" y="1962528"/>
              <a:ext cx="772480" cy="77248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" name="Gruppierung 7"/>
          <p:cNvGrpSpPr/>
          <p:nvPr/>
        </p:nvGrpSpPr>
        <p:grpSpPr>
          <a:xfrm>
            <a:off x="2567608" y="3661693"/>
            <a:ext cx="2015999" cy="2016000"/>
            <a:chOff x="2567608" y="3661693"/>
            <a:chExt cx="2015999" cy="2016000"/>
          </a:xfrm>
        </p:grpSpPr>
        <p:grpSp>
          <p:nvGrpSpPr>
            <p:cNvPr id="67" name="Group 20"/>
            <p:cNvGrpSpPr>
              <a:grpSpLocks/>
            </p:cNvGrpSpPr>
            <p:nvPr/>
          </p:nvGrpSpPr>
          <p:grpSpPr bwMode="auto">
            <a:xfrm>
              <a:off x="2567608" y="3661693"/>
              <a:ext cx="2015999" cy="2016000"/>
              <a:chOff x="1840" y="1360"/>
              <a:chExt cx="2561" cy="2560"/>
            </a:xfrm>
            <a:solidFill>
              <a:srgbClr val="2F52A0"/>
            </a:solidFill>
          </p:grpSpPr>
          <p:sp>
            <p:nvSpPr>
              <p:cNvPr id="68" name="Freeform 21"/>
              <p:cNvSpPr>
                <a:spLocks noChangeAspect="1"/>
              </p:cNvSpPr>
              <p:nvPr/>
            </p:nvSpPr>
            <p:spPr bwMode="auto">
              <a:xfrm>
                <a:off x="1840" y="2078"/>
                <a:ext cx="750" cy="1243"/>
              </a:xfrm>
              <a:custGeom>
                <a:avLst/>
                <a:gdLst>
                  <a:gd name="T0" fmla="*/ 384 w 750"/>
                  <a:gd name="T1" fmla="*/ 899 h 1243"/>
                  <a:gd name="T2" fmla="*/ 185 w 750"/>
                  <a:gd name="T3" fmla="*/ 1225 h 1243"/>
                  <a:gd name="T4" fmla="*/ 163 w 750"/>
                  <a:gd name="T5" fmla="*/ 1187 h 1243"/>
                  <a:gd name="T6" fmla="*/ 142 w 750"/>
                  <a:gd name="T7" fmla="*/ 1149 h 1243"/>
                  <a:gd name="T8" fmla="*/ 123 w 750"/>
                  <a:gd name="T9" fmla="*/ 1108 h 1243"/>
                  <a:gd name="T10" fmla="*/ 96 w 750"/>
                  <a:gd name="T11" fmla="*/ 1048 h 1243"/>
                  <a:gd name="T12" fmla="*/ 79 w 750"/>
                  <a:gd name="T13" fmla="*/ 1007 h 1243"/>
                  <a:gd name="T14" fmla="*/ 58 w 750"/>
                  <a:gd name="T15" fmla="*/ 943 h 1243"/>
                  <a:gd name="T16" fmla="*/ 45 w 750"/>
                  <a:gd name="T17" fmla="*/ 901 h 1243"/>
                  <a:gd name="T18" fmla="*/ 34 w 750"/>
                  <a:gd name="T19" fmla="*/ 858 h 1243"/>
                  <a:gd name="T20" fmla="*/ 25 w 750"/>
                  <a:gd name="T21" fmla="*/ 814 h 1243"/>
                  <a:gd name="T22" fmla="*/ 17 w 750"/>
                  <a:gd name="T23" fmla="*/ 768 h 1243"/>
                  <a:gd name="T24" fmla="*/ 10 w 750"/>
                  <a:gd name="T25" fmla="*/ 723 h 1243"/>
                  <a:gd name="T26" fmla="*/ 5 w 750"/>
                  <a:gd name="T27" fmla="*/ 678 h 1243"/>
                  <a:gd name="T28" fmla="*/ 2 w 750"/>
                  <a:gd name="T29" fmla="*/ 631 h 1243"/>
                  <a:gd name="T30" fmla="*/ 0 w 750"/>
                  <a:gd name="T31" fmla="*/ 562 h 1243"/>
                  <a:gd name="T32" fmla="*/ 1 w 750"/>
                  <a:gd name="T33" fmla="*/ 507 h 1243"/>
                  <a:gd name="T34" fmla="*/ 5 w 750"/>
                  <a:gd name="T35" fmla="*/ 452 h 1243"/>
                  <a:gd name="T36" fmla="*/ 13 w 750"/>
                  <a:gd name="T37" fmla="*/ 381 h 1243"/>
                  <a:gd name="T38" fmla="*/ 21 w 750"/>
                  <a:gd name="T39" fmla="*/ 328 h 1243"/>
                  <a:gd name="T40" fmla="*/ 32 w 750"/>
                  <a:gd name="T41" fmla="*/ 275 h 1243"/>
                  <a:gd name="T42" fmla="*/ 40 w 750"/>
                  <a:gd name="T43" fmla="*/ 241 h 1243"/>
                  <a:gd name="T44" fmla="*/ 60 w 750"/>
                  <a:gd name="T45" fmla="*/ 174 h 1243"/>
                  <a:gd name="T46" fmla="*/ 83 w 750"/>
                  <a:gd name="T47" fmla="*/ 108 h 1243"/>
                  <a:gd name="T48" fmla="*/ 103 w 750"/>
                  <a:gd name="T49" fmla="*/ 60 h 1243"/>
                  <a:gd name="T50" fmla="*/ 124 w 750"/>
                  <a:gd name="T51" fmla="*/ 13 h 1243"/>
                  <a:gd name="T52" fmla="*/ 680 w 750"/>
                  <a:gd name="T53" fmla="*/ 330 h 1243"/>
                  <a:gd name="T54" fmla="*/ 670 w 750"/>
                  <a:gd name="T55" fmla="*/ 357 h 1243"/>
                  <a:gd name="T56" fmla="*/ 661 w 750"/>
                  <a:gd name="T57" fmla="*/ 384 h 1243"/>
                  <a:gd name="T58" fmla="*/ 654 w 750"/>
                  <a:gd name="T59" fmla="*/ 413 h 1243"/>
                  <a:gd name="T60" fmla="*/ 648 w 750"/>
                  <a:gd name="T61" fmla="*/ 441 h 1243"/>
                  <a:gd name="T62" fmla="*/ 643 w 750"/>
                  <a:gd name="T63" fmla="*/ 471 h 1243"/>
                  <a:gd name="T64" fmla="*/ 640 w 750"/>
                  <a:gd name="T65" fmla="*/ 501 h 1243"/>
                  <a:gd name="T66" fmla="*/ 637 w 750"/>
                  <a:gd name="T67" fmla="*/ 531 h 1243"/>
                  <a:gd name="T68" fmla="*/ 637 w 750"/>
                  <a:gd name="T69" fmla="*/ 587 h 1243"/>
                  <a:gd name="T70" fmla="*/ 641 w 750"/>
                  <a:gd name="T71" fmla="*/ 636 h 1243"/>
                  <a:gd name="T72" fmla="*/ 649 w 750"/>
                  <a:gd name="T73" fmla="*/ 685 h 1243"/>
                  <a:gd name="T74" fmla="*/ 654 w 750"/>
                  <a:gd name="T75" fmla="*/ 709 h 1243"/>
                  <a:gd name="T76" fmla="*/ 660 w 750"/>
                  <a:gd name="T77" fmla="*/ 733 h 1243"/>
                  <a:gd name="T78" fmla="*/ 674 w 750"/>
                  <a:gd name="T79" fmla="*/ 779 h 1243"/>
                  <a:gd name="T80" fmla="*/ 692 w 750"/>
                  <a:gd name="T81" fmla="*/ 824 h 1243"/>
                  <a:gd name="T82" fmla="*/ 713 w 750"/>
                  <a:gd name="T83" fmla="*/ 867 h 1243"/>
                  <a:gd name="T84" fmla="*/ 737 w 750"/>
                  <a:gd name="T85" fmla="*/ 907 h 124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50"/>
                  <a:gd name="T130" fmla="*/ 0 h 1243"/>
                  <a:gd name="T131" fmla="*/ 750 w 750"/>
                  <a:gd name="T132" fmla="*/ 1243 h 124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50" h="1243">
                    <a:moveTo>
                      <a:pt x="750" y="927"/>
                    </a:moveTo>
                    <a:lnTo>
                      <a:pt x="384" y="899"/>
                    </a:lnTo>
                    <a:lnTo>
                      <a:pt x="196" y="1243"/>
                    </a:lnTo>
                    <a:lnTo>
                      <a:pt x="185" y="1225"/>
                    </a:lnTo>
                    <a:lnTo>
                      <a:pt x="174" y="1206"/>
                    </a:lnTo>
                    <a:lnTo>
                      <a:pt x="163" y="1187"/>
                    </a:lnTo>
                    <a:lnTo>
                      <a:pt x="152" y="1168"/>
                    </a:lnTo>
                    <a:lnTo>
                      <a:pt x="142" y="1149"/>
                    </a:lnTo>
                    <a:lnTo>
                      <a:pt x="132" y="1129"/>
                    </a:lnTo>
                    <a:lnTo>
                      <a:pt x="123" y="1108"/>
                    </a:lnTo>
                    <a:lnTo>
                      <a:pt x="114" y="1089"/>
                    </a:lnTo>
                    <a:lnTo>
                      <a:pt x="96" y="1048"/>
                    </a:lnTo>
                    <a:lnTo>
                      <a:pt x="88" y="1028"/>
                    </a:lnTo>
                    <a:lnTo>
                      <a:pt x="79" y="1007"/>
                    </a:lnTo>
                    <a:lnTo>
                      <a:pt x="65" y="966"/>
                    </a:lnTo>
                    <a:lnTo>
                      <a:pt x="58" y="943"/>
                    </a:lnTo>
                    <a:lnTo>
                      <a:pt x="51" y="922"/>
                    </a:lnTo>
                    <a:lnTo>
                      <a:pt x="45" y="901"/>
                    </a:lnTo>
                    <a:lnTo>
                      <a:pt x="40" y="879"/>
                    </a:lnTo>
                    <a:lnTo>
                      <a:pt x="34" y="858"/>
                    </a:lnTo>
                    <a:lnTo>
                      <a:pt x="29" y="836"/>
                    </a:lnTo>
                    <a:lnTo>
                      <a:pt x="25" y="814"/>
                    </a:lnTo>
                    <a:lnTo>
                      <a:pt x="20" y="791"/>
                    </a:lnTo>
                    <a:lnTo>
                      <a:pt x="17" y="768"/>
                    </a:lnTo>
                    <a:lnTo>
                      <a:pt x="13" y="746"/>
                    </a:lnTo>
                    <a:lnTo>
                      <a:pt x="10" y="723"/>
                    </a:lnTo>
                    <a:lnTo>
                      <a:pt x="8" y="701"/>
                    </a:lnTo>
                    <a:lnTo>
                      <a:pt x="5" y="678"/>
                    </a:lnTo>
                    <a:lnTo>
                      <a:pt x="3" y="655"/>
                    </a:lnTo>
                    <a:lnTo>
                      <a:pt x="2" y="631"/>
                    </a:lnTo>
                    <a:lnTo>
                      <a:pt x="1" y="608"/>
                    </a:lnTo>
                    <a:lnTo>
                      <a:pt x="0" y="562"/>
                    </a:lnTo>
                    <a:lnTo>
                      <a:pt x="1" y="525"/>
                    </a:lnTo>
                    <a:lnTo>
                      <a:pt x="1" y="507"/>
                    </a:lnTo>
                    <a:lnTo>
                      <a:pt x="2" y="489"/>
                    </a:lnTo>
                    <a:lnTo>
                      <a:pt x="5" y="452"/>
                    </a:lnTo>
                    <a:lnTo>
                      <a:pt x="8" y="416"/>
                    </a:lnTo>
                    <a:lnTo>
                      <a:pt x="13" y="381"/>
                    </a:lnTo>
                    <a:lnTo>
                      <a:pt x="18" y="346"/>
                    </a:lnTo>
                    <a:lnTo>
                      <a:pt x="21" y="328"/>
                    </a:lnTo>
                    <a:lnTo>
                      <a:pt x="25" y="310"/>
                    </a:lnTo>
                    <a:lnTo>
                      <a:pt x="32" y="275"/>
                    </a:lnTo>
                    <a:lnTo>
                      <a:pt x="36" y="258"/>
                    </a:lnTo>
                    <a:lnTo>
                      <a:pt x="40" y="241"/>
                    </a:lnTo>
                    <a:lnTo>
                      <a:pt x="49" y="208"/>
                    </a:lnTo>
                    <a:lnTo>
                      <a:pt x="60" y="174"/>
                    </a:lnTo>
                    <a:lnTo>
                      <a:pt x="70" y="140"/>
                    </a:lnTo>
                    <a:lnTo>
                      <a:pt x="83" y="108"/>
                    </a:lnTo>
                    <a:lnTo>
                      <a:pt x="96" y="76"/>
                    </a:lnTo>
                    <a:lnTo>
                      <a:pt x="103" y="60"/>
                    </a:lnTo>
                    <a:lnTo>
                      <a:pt x="109" y="44"/>
                    </a:lnTo>
                    <a:lnTo>
                      <a:pt x="124" y="13"/>
                    </a:lnTo>
                    <a:lnTo>
                      <a:pt x="506" y="0"/>
                    </a:lnTo>
                    <a:lnTo>
                      <a:pt x="680" y="330"/>
                    </a:lnTo>
                    <a:lnTo>
                      <a:pt x="675" y="343"/>
                    </a:lnTo>
                    <a:lnTo>
                      <a:pt x="670" y="357"/>
                    </a:lnTo>
                    <a:lnTo>
                      <a:pt x="665" y="370"/>
                    </a:lnTo>
                    <a:lnTo>
                      <a:pt x="661" y="384"/>
                    </a:lnTo>
                    <a:lnTo>
                      <a:pt x="657" y="398"/>
                    </a:lnTo>
                    <a:lnTo>
                      <a:pt x="654" y="413"/>
                    </a:lnTo>
                    <a:lnTo>
                      <a:pt x="651" y="427"/>
                    </a:lnTo>
                    <a:lnTo>
                      <a:pt x="648" y="441"/>
                    </a:lnTo>
                    <a:lnTo>
                      <a:pt x="645" y="456"/>
                    </a:lnTo>
                    <a:lnTo>
                      <a:pt x="643" y="471"/>
                    </a:lnTo>
                    <a:lnTo>
                      <a:pt x="641" y="486"/>
                    </a:lnTo>
                    <a:lnTo>
                      <a:pt x="640" y="501"/>
                    </a:lnTo>
                    <a:lnTo>
                      <a:pt x="638" y="516"/>
                    </a:lnTo>
                    <a:lnTo>
                      <a:pt x="637" y="531"/>
                    </a:lnTo>
                    <a:lnTo>
                      <a:pt x="637" y="562"/>
                    </a:lnTo>
                    <a:lnTo>
                      <a:pt x="637" y="587"/>
                    </a:lnTo>
                    <a:lnTo>
                      <a:pt x="639" y="611"/>
                    </a:lnTo>
                    <a:lnTo>
                      <a:pt x="641" y="636"/>
                    </a:lnTo>
                    <a:lnTo>
                      <a:pt x="644" y="661"/>
                    </a:lnTo>
                    <a:lnTo>
                      <a:pt x="649" y="685"/>
                    </a:lnTo>
                    <a:lnTo>
                      <a:pt x="651" y="697"/>
                    </a:lnTo>
                    <a:lnTo>
                      <a:pt x="654" y="709"/>
                    </a:lnTo>
                    <a:lnTo>
                      <a:pt x="657" y="721"/>
                    </a:lnTo>
                    <a:lnTo>
                      <a:pt x="660" y="733"/>
                    </a:lnTo>
                    <a:lnTo>
                      <a:pt x="667" y="756"/>
                    </a:lnTo>
                    <a:lnTo>
                      <a:pt x="674" y="779"/>
                    </a:lnTo>
                    <a:lnTo>
                      <a:pt x="683" y="801"/>
                    </a:lnTo>
                    <a:lnTo>
                      <a:pt x="692" y="824"/>
                    </a:lnTo>
                    <a:lnTo>
                      <a:pt x="702" y="846"/>
                    </a:lnTo>
                    <a:lnTo>
                      <a:pt x="713" y="867"/>
                    </a:lnTo>
                    <a:lnTo>
                      <a:pt x="725" y="887"/>
                    </a:lnTo>
                    <a:lnTo>
                      <a:pt x="737" y="907"/>
                    </a:lnTo>
                    <a:lnTo>
                      <a:pt x="750" y="927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69" name="Freeform 22"/>
              <p:cNvSpPr>
                <a:spLocks noChangeAspect="1"/>
              </p:cNvSpPr>
              <p:nvPr/>
            </p:nvSpPr>
            <p:spPr bwMode="auto">
              <a:xfrm>
                <a:off x="1997" y="1360"/>
                <a:ext cx="1274" cy="984"/>
              </a:xfrm>
              <a:custGeom>
                <a:avLst/>
                <a:gdLst>
                  <a:gd name="T0" fmla="*/ 1064 w 1274"/>
                  <a:gd name="T1" fmla="*/ 638 h 984"/>
                  <a:gd name="T2" fmla="*/ 1021 w 1274"/>
                  <a:gd name="T3" fmla="*/ 644 h 984"/>
                  <a:gd name="T4" fmla="*/ 979 w 1274"/>
                  <a:gd name="T5" fmla="*/ 652 h 984"/>
                  <a:gd name="T6" fmla="*/ 938 w 1274"/>
                  <a:gd name="T7" fmla="*/ 662 h 984"/>
                  <a:gd name="T8" fmla="*/ 899 w 1274"/>
                  <a:gd name="T9" fmla="*/ 676 h 984"/>
                  <a:gd name="T10" fmla="*/ 859 w 1274"/>
                  <a:gd name="T11" fmla="*/ 692 h 984"/>
                  <a:gd name="T12" fmla="*/ 822 w 1274"/>
                  <a:gd name="T13" fmla="*/ 710 h 984"/>
                  <a:gd name="T14" fmla="*/ 787 w 1274"/>
                  <a:gd name="T15" fmla="*/ 731 h 984"/>
                  <a:gd name="T16" fmla="*/ 753 w 1274"/>
                  <a:gd name="T17" fmla="*/ 754 h 984"/>
                  <a:gd name="T18" fmla="*/ 719 w 1274"/>
                  <a:gd name="T19" fmla="*/ 778 h 984"/>
                  <a:gd name="T20" fmla="*/ 688 w 1274"/>
                  <a:gd name="T21" fmla="*/ 805 h 984"/>
                  <a:gd name="T22" fmla="*/ 666 w 1274"/>
                  <a:gd name="T23" fmla="*/ 826 h 984"/>
                  <a:gd name="T24" fmla="*/ 645 w 1274"/>
                  <a:gd name="T25" fmla="*/ 848 h 984"/>
                  <a:gd name="T26" fmla="*/ 619 w 1274"/>
                  <a:gd name="T27" fmla="*/ 881 h 984"/>
                  <a:gd name="T28" fmla="*/ 594 w 1274"/>
                  <a:gd name="T29" fmla="*/ 914 h 984"/>
                  <a:gd name="T30" fmla="*/ 572 w 1274"/>
                  <a:gd name="T31" fmla="*/ 948 h 984"/>
                  <a:gd name="T32" fmla="*/ 551 w 1274"/>
                  <a:gd name="T33" fmla="*/ 984 h 984"/>
                  <a:gd name="T34" fmla="*/ 0 w 1274"/>
                  <a:gd name="T35" fmla="*/ 665 h 984"/>
                  <a:gd name="T36" fmla="*/ 20 w 1274"/>
                  <a:gd name="T37" fmla="*/ 630 h 984"/>
                  <a:gd name="T38" fmla="*/ 52 w 1274"/>
                  <a:gd name="T39" fmla="*/ 578 h 984"/>
                  <a:gd name="T40" fmla="*/ 88 w 1274"/>
                  <a:gd name="T41" fmla="*/ 526 h 984"/>
                  <a:gd name="T42" fmla="*/ 125 w 1274"/>
                  <a:gd name="T43" fmla="*/ 478 h 984"/>
                  <a:gd name="T44" fmla="*/ 151 w 1274"/>
                  <a:gd name="T45" fmla="*/ 447 h 984"/>
                  <a:gd name="T46" fmla="*/ 178 w 1274"/>
                  <a:gd name="T47" fmla="*/ 416 h 984"/>
                  <a:gd name="T48" fmla="*/ 220 w 1274"/>
                  <a:gd name="T49" fmla="*/ 371 h 984"/>
                  <a:gd name="T50" fmla="*/ 250 w 1274"/>
                  <a:gd name="T51" fmla="*/ 343 h 984"/>
                  <a:gd name="T52" fmla="*/ 296 w 1274"/>
                  <a:gd name="T53" fmla="*/ 303 h 984"/>
                  <a:gd name="T54" fmla="*/ 343 w 1274"/>
                  <a:gd name="T55" fmla="*/ 264 h 984"/>
                  <a:gd name="T56" fmla="*/ 392 w 1274"/>
                  <a:gd name="T57" fmla="*/ 227 h 984"/>
                  <a:gd name="T58" fmla="*/ 444 w 1274"/>
                  <a:gd name="T59" fmla="*/ 194 h 984"/>
                  <a:gd name="T60" fmla="*/ 479 w 1274"/>
                  <a:gd name="T61" fmla="*/ 172 h 984"/>
                  <a:gd name="T62" fmla="*/ 551 w 1274"/>
                  <a:gd name="T63" fmla="*/ 133 h 984"/>
                  <a:gd name="T64" fmla="*/ 608 w 1274"/>
                  <a:gd name="T65" fmla="*/ 107 h 984"/>
                  <a:gd name="T66" fmla="*/ 646 w 1274"/>
                  <a:gd name="T67" fmla="*/ 91 h 984"/>
                  <a:gd name="T68" fmla="*/ 685 w 1274"/>
                  <a:gd name="T69" fmla="*/ 76 h 984"/>
                  <a:gd name="T70" fmla="*/ 745 w 1274"/>
                  <a:gd name="T71" fmla="*/ 56 h 984"/>
                  <a:gd name="T72" fmla="*/ 805 w 1274"/>
                  <a:gd name="T73" fmla="*/ 39 h 984"/>
                  <a:gd name="T74" fmla="*/ 846 w 1274"/>
                  <a:gd name="T75" fmla="*/ 29 h 984"/>
                  <a:gd name="T76" fmla="*/ 909 w 1274"/>
                  <a:gd name="T77" fmla="*/ 17 h 984"/>
                  <a:gd name="T78" fmla="*/ 951 w 1274"/>
                  <a:gd name="T79" fmla="*/ 11 h 984"/>
                  <a:gd name="T80" fmla="*/ 994 w 1274"/>
                  <a:gd name="T81" fmla="*/ 6 h 984"/>
                  <a:gd name="T82" fmla="*/ 1037 w 1274"/>
                  <a:gd name="T83" fmla="*/ 2 h 984"/>
                  <a:gd name="T84" fmla="*/ 1081 w 1274"/>
                  <a:gd name="T85" fmla="*/ 0 h 984"/>
                  <a:gd name="T86" fmla="*/ 1086 w 1274"/>
                  <a:gd name="T87" fmla="*/ 637 h 98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74"/>
                  <a:gd name="T133" fmla="*/ 0 h 984"/>
                  <a:gd name="T134" fmla="*/ 1274 w 1274"/>
                  <a:gd name="T135" fmla="*/ 984 h 98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74" h="984">
                    <a:moveTo>
                      <a:pt x="1086" y="637"/>
                    </a:moveTo>
                    <a:lnTo>
                      <a:pt x="1064" y="638"/>
                    </a:lnTo>
                    <a:lnTo>
                      <a:pt x="1042" y="641"/>
                    </a:lnTo>
                    <a:lnTo>
                      <a:pt x="1021" y="644"/>
                    </a:lnTo>
                    <a:lnTo>
                      <a:pt x="1000" y="647"/>
                    </a:lnTo>
                    <a:lnTo>
                      <a:pt x="979" y="652"/>
                    </a:lnTo>
                    <a:lnTo>
                      <a:pt x="959" y="657"/>
                    </a:lnTo>
                    <a:lnTo>
                      <a:pt x="938" y="662"/>
                    </a:lnTo>
                    <a:lnTo>
                      <a:pt x="918" y="669"/>
                    </a:lnTo>
                    <a:lnTo>
                      <a:pt x="899" y="676"/>
                    </a:lnTo>
                    <a:lnTo>
                      <a:pt x="879" y="683"/>
                    </a:lnTo>
                    <a:lnTo>
                      <a:pt x="859" y="692"/>
                    </a:lnTo>
                    <a:lnTo>
                      <a:pt x="841" y="700"/>
                    </a:lnTo>
                    <a:lnTo>
                      <a:pt x="822" y="710"/>
                    </a:lnTo>
                    <a:lnTo>
                      <a:pt x="804" y="721"/>
                    </a:lnTo>
                    <a:lnTo>
                      <a:pt x="787" y="731"/>
                    </a:lnTo>
                    <a:lnTo>
                      <a:pt x="769" y="742"/>
                    </a:lnTo>
                    <a:lnTo>
                      <a:pt x="753" y="754"/>
                    </a:lnTo>
                    <a:lnTo>
                      <a:pt x="736" y="766"/>
                    </a:lnTo>
                    <a:lnTo>
                      <a:pt x="719" y="778"/>
                    </a:lnTo>
                    <a:lnTo>
                      <a:pt x="703" y="791"/>
                    </a:lnTo>
                    <a:lnTo>
                      <a:pt x="688" y="805"/>
                    </a:lnTo>
                    <a:lnTo>
                      <a:pt x="673" y="819"/>
                    </a:lnTo>
                    <a:lnTo>
                      <a:pt x="666" y="826"/>
                    </a:lnTo>
                    <a:lnTo>
                      <a:pt x="659" y="834"/>
                    </a:lnTo>
                    <a:lnTo>
                      <a:pt x="645" y="848"/>
                    </a:lnTo>
                    <a:lnTo>
                      <a:pt x="632" y="864"/>
                    </a:lnTo>
                    <a:lnTo>
                      <a:pt x="619" y="881"/>
                    </a:lnTo>
                    <a:lnTo>
                      <a:pt x="606" y="897"/>
                    </a:lnTo>
                    <a:lnTo>
                      <a:pt x="594" y="914"/>
                    </a:lnTo>
                    <a:lnTo>
                      <a:pt x="583" y="931"/>
                    </a:lnTo>
                    <a:lnTo>
                      <a:pt x="572" y="948"/>
                    </a:lnTo>
                    <a:lnTo>
                      <a:pt x="561" y="966"/>
                    </a:lnTo>
                    <a:lnTo>
                      <a:pt x="551" y="984"/>
                    </a:lnTo>
                    <a:lnTo>
                      <a:pt x="397" y="659"/>
                    </a:lnTo>
                    <a:lnTo>
                      <a:pt x="0" y="665"/>
                    </a:lnTo>
                    <a:lnTo>
                      <a:pt x="10" y="647"/>
                    </a:lnTo>
                    <a:lnTo>
                      <a:pt x="20" y="630"/>
                    </a:lnTo>
                    <a:lnTo>
                      <a:pt x="41" y="595"/>
                    </a:lnTo>
                    <a:lnTo>
                      <a:pt x="52" y="578"/>
                    </a:lnTo>
                    <a:lnTo>
                      <a:pt x="64" y="561"/>
                    </a:lnTo>
                    <a:lnTo>
                      <a:pt x="88" y="526"/>
                    </a:lnTo>
                    <a:lnTo>
                      <a:pt x="113" y="494"/>
                    </a:lnTo>
                    <a:lnTo>
                      <a:pt x="125" y="478"/>
                    </a:lnTo>
                    <a:lnTo>
                      <a:pt x="138" y="462"/>
                    </a:lnTo>
                    <a:lnTo>
                      <a:pt x="151" y="447"/>
                    </a:lnTo>
                    <a:lnTo>
                      <a:pt x="164" y="431"/>
                    </a:lnTo>
                    <a:lnTo>
                      <a:pt x="178" y="416"/>
                    </a:lnTo>
                    <a:lnTo>
                      <a:pt x="192" y="401"/>
                    </a:lnTo>
                    <a:lnTo>
                      <a:pt x="220" y="371"/>
                    </a:lnTo>
                    <a:lnTo>
                      <a:pt x="235" y="357"/>
                    </a:lnTo>
                    <a:lnTo>
                      <a:pt x="250" y="343"/>
                    </a:lnTo>
                    <a:lnTo>
                      <a:pt x="280" y="316"/>
                    </a:lnTo>
                    <a:lnTo>
                      <a:pt x="296" y="303"/>
                    </a:lnTo>
                    <a:lnTo>
                      <a:pt x="311" y="290"/>
                    </a:lnTo>
                    <a:lnTo>
                      <a:pt x="343" y="264"/>
                    </a:lnTo>
                    <a:lnTo>
                      <a:pt x="376" y="239"/>
                    </a:lnTo>
                    <a:lnTo>
                      <a:pt x="392" y="227"/>
                    </a:lnTo>
                    <a:lnTo>
                      <a:pt x="410" y="216"/>
                    </a:lnTo>
                    <a:lnTo>
                      <a:pt x="444" y="194"/>
                    </a:lnTo>
                    <a:lnTo>
                      <a:pt x="462" y="183"/>
                    </a:lnTo>
                    <a:lnTo>
                      <a:pt x="479" y="172"/>
                    </a:lnTo>
                    <a:lnTo>
                      <a:pt x="515" y="152"/>
                    </a:lnTo>
                    <a:lnTo>
                      <a:pt x="551" y="133"/>
                    </a:lnTo>
                    <a:lnTo>
                      <a:pt x="589" y="116"/>
                    </a:lnTo>
                    <a:lnTo>
                      <a:pt x="608" y="107"/>
                    </a:lnTo>
                    <a:lnTo>
                      <a:pt x="627" y="99"/>
                    </a:lnTo>
                    <a:lnTo>
                      <a:pt x="646" y="91"/>
                    </a:lnTo>
                    <a:lnTo>
                      <a:pt x="665" y="84"/>
                    </a:lnTo>
                    <a:lnTo>
                      <a:pt x="685" y="76"/>
                    </a:lnTo>
                    <a:lnTo>
                      <a:pt x="704" y="69"/>
                    </a:lnTo>
                    <a:lnTo>
                      <a:pt x="745" y="56"/>
                    </a:lnTo>
                    <a:lnTo>
                      <a:pt x="785" y="44"/>
                    </a:lnTo>
                    <a:lnTo>
                      <a:pt x="805" y="39"/>
                    </a:lnTo>
                    <a:lnTo>
                      <a:pt x="825" y="34"/>
                    </a:lnTo>
                    <a:lnTo>
                      <a:pt x="846" y="29"/>
                    </a:lnTo>
                    <a:lnTo>
                      <a:pt x="866" y="25"/>
                    </a:lnTo>
                    <a:lnTo>
                      <a:pt x="909" y="17"/>
                    </a:lnTo>
                    <a:lnTo>
                      <a:pt x="930" y="14"/>
                    </a:lnTo>
                    <a:lnTo>
                      <a:pt x="951" y="11"/>
                    </a:lnTo>
                    <a:lnTo>
                      <a:pt x="972" y="8"/>
                    </a:lnTo>
                    <a:lnTo>
                      <a:pt x="994" y="6"/>
                    </a:lnTo>
                    <a:lnTo>
                      <a:pt x="1015" y="4"/>
                    </a:lnTo>
                    <a:lnTo>
                      <a:pt x="1037" y="2"/>
                    </a:lnTo>
                    <a:lnTo>
                      <a:pt x="1059" y="1"/>
                    </a:lnTo>
                    <a:lnTo>
                      <a:pt x="1081" y="0"/>
                    </a:lnTo>
                    <a:lnTo>
                      <a:pt x="1274" y="334"/>
                    </a:lnTo>
                    <a:lnTo>
                      <a:pt x="1086" y="6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0" name="Freeform 23"/>
              <p:cNvSpPr>
                <a:spLocks noChangeAspect="1"/>
              </p:cNvSpPr>
              <p:nvPr/>
            </p:nvSpPr>
            <p:spPr bwMode="auto">
              <a:xfrm>
                <a:off x="3143" y="1360"/>
                <a:ext cx="1076" cy="964"/>
              </a:xfrm>
              <a:custGeom>
                <a:avLst/>
                <a:gdLst>
                  <a:gd name="T0" fmla="*/ 22 w 1076"/>
                  <a:gd name="T1" fmla="*/ 637 h 964"/>
                  <a:gd name="T2" fmla="*/ 63 w 1076"/>
                  <a:gd name="T3" fmla="*/ 641 h 964"/>
                  <a:gd name="T4" fmla="*/ 103 w 1076"/>
                  <a:gd name="T5" fmla="*/ 648 h 964"/>
                  <a:gd name="T6" fmla="*/ 141 w 1076"/>
                  <a:gd name="T7" fmla="*/ 656 h 964"/>
                  <a:gd name="T8" fmla="*/ 179 w 1076"/>
                  <a:gd name="T9" fmla="*/ 668 h 964"/>
                  <a:gd name="T10" fmla="*/ 216 w 1076"/>
                  <a:gd name="T11" fmla="*/ 681 h 964"/>
                  <a:gd name="T12" fmla="*/ 252 w 1076"/>
                  <a:gd name="T13" fmla="*/ 696 h 964"/>
                  <a:gd name="T14" fmla="*/ 287 w 1076"/>
                  <a:gd name="T15" fmla="*/ 714 h 964"/>
                  <a:gd name="T16" fmla="*/ 320 w 1076"/>
                  <a:gd name="T17" fmla="*/ 735 h 964"/>
                  <a:gd name="T18" fmla="*/ 352 w 1076"/>
                  <a:gd name="T19" fmla="*/ 756 h 964"/>
                  <a:gd name="T20" fmla="*/ 384 w 1076"/>
                  <a:gd name="T21" fmla="*/ 779 h 964"/>
                  <a:gd name="T22" fmla="*/ 413 w 1076"/>
                  <a:gd name="T23" fmla="*/ 804 h 964"/>
                  <a:gd name="T24" fmla="*/ 440 w 1076"/>
                  <a:gd name="T25" fmla="*/ 831 h 964"/>
                  <a:gd name="T26" fmla="*/ 466 w 1076"/>
                  <a:gd name="T27" fmla="*/ 859 h 964"/>
                  <a:gd name="T28" fmla="*/ 490 w 1076"/>
                  <a:gd name="T29" fmla="*/ 890 h 964"/>
                  <a:gd name="T30" fmla="*/ 513 w 1076"/>
                  <a:gd name="T31" fmla="*/ 921 h 964"/>
                  <a:gd name="T32" fmla="*/ 884 w 1076"/>
                  <a:gd name="T33" fmla="*/ 964 h 964"/>
                  <a:gd name="T34" fmla="*/ 1066 w 1076"/>
                  <a:gd name="T35" fmla="*/ 604 h 964"/>
                  <a:gd name="T36" fmla="*/ 1033 w 1076"/>
                  <a:gd name="T37" fmla="*/ 553 h 964"/>
                  <a:gd name="T38" fmla="*/ 1009 w 1076"/>
                  <a:gd name="T39" fmla="*/ 521 h 964"/>
                  <a:gd name="T40" fmla="*/ 985 w 1076"/>
                  <a:gd name="T41" fmla="*/ 489 h 964"/>
                  <a:gd name="T42" fmla="*/ 960 w 1076"/>
                  <a:gd name="T43" fmla="*/ 458 h 964"/>
                  <a:gd name="T44" fmla="*/ 934 w 1076"/>
                  <a:gd name="T45" fmla="*/ 428 h 964"/>
                  <a:gd name="T46" fmla="*/ 894 w 1076"/>
                  <a:gd name="T47" fmla="*/ 384 h 964"/>
                  <a:gd name="T48" fmla="*/ 850 w 1076"/>
                  <a:gd name="T49" fmla="*/ 342 h 964"/>
                  <a:gd name="T50" fmla="*/ 806 w 1076"/>
                  <a:gd name="T51" fmla="*/ 303 h 964"/>
                  <a:gd name="T52" fmla="*/ 759 w 1076"/>
                  <a:gd name="T53" fmla="*/ 266 h 964"/>
                  <a:gd name="T54" fmla="*/ 694 w 1076"/>
                  <a:gd name="T55" fmla="*/ 218 h 964"/>
                  <a:gd name="T56" fmla="*/ 661 w 1076"/>
                  <a:gd name="T57" fmla="*/ 196 h 964"/>
                  <a:gd name="T58" fmla="*/ 592 w 1076"/>
                  <a:gd name="T59" fmla="*/ 156 h 964"/>
                  <a:gd name="T60" fmla="*/ 557 w 1076"/>
                  <a:gd name="T61" fmla="*/ 137 h 964"/>
                  <a:gd name="T62" fmla="*/ 501 w 1076"/>
                  <a:gd name="T63" fmla="*/ 112 h 964"/>
                  <a:gd name="T64" fmla="*/ 446 w 1076"/>
                  <a:gd name="T65" fmla="*/ 88 h 964"/>
                  <a:gd name="T66" fmla="*/ 408 w 1076"/>
                  <a:gd name="T67" fmla="*/ 73 h 964"/>
                  <a:gd name="T68" fmla="*/ 330 w 1076"/>
                  <a:gd name="T69" fmla="*/ 48 h 964"/>
                  <a:gd name="T70" fmla="*/ 290 w 1076"/>
                  <a:gd name="T71" fmla="*/ 38 h 964"/>
                  <a:gd name="T72" fmla="*/ 250 w 1076"/>
                  <a:gd name="T73" fmla="*/ 29 h 964"/>
                  <a:gd name="T74" fmla="*/ 209 w 1076"/>
                  <a:gd name="T75" fmla="*/ 21 h 964"/>
                  <a:gd name="T76" fmla="*/ 127 w 1076"/>
                  <a:gd name="T77" fmla="*/ 8 h 964"/>
                  <a:gd name="T78" fmla="*/ 85 w 1076"/>
                  <a:gd name="T79" fmla="*/ 4 h 964"/>
                  <a:gd name="T80" fmla="*/ 42 w 1076"/>
                  <a:gd name="T81" fmla="*/ 1 h 964"/>
                  <a:gd name="T82" fmla="*/ 0 w 1076"/>
                  <a:gd name="T83" fmla="*/ 0 h 964"/>
                  <a:gd name="T84" fmla="*/ 1 w 1076"/>
                  <a:gd name="T85" fmla="*/ 636 h 96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76"/>
                  <a:gd name="T130" fmla="*/ 0 h 964"/>
                  <a:gd name="T131" fmla="*/ 1076 w 1076"/>
                  <a:gd name="T132" fmla="*/ 964 h 96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76" h="964">
                    <a:moveTo>
                      <a:pt x="1" y="636"/>
                    </a:moveTo>
                    <a:lnTo>
                      <a:pt x="22" y="637"/>
                    </a:lnTo>
                    <a:lnTo>
                      <a:pt x="42" y="639"/>
                    </a:lnTo>
                    <a:lnTo>
                      <a:pt x="63" y="641"/>
                    </a:lnTo>
                    <a:lnTo>
                      <a:pt x="83" y="644"/>
                    </a:lnTo>
                    <a:lnTo>
                      <a:pt x="103" y="648"/>
                    </a:lnTo>
                    <a:lnTo>
                      <a:pt x="122" y="652"/>
                    </a:lnTo>
                    <a:lnTo>
                      <a:pt x="141" y="656"/>
                    </a:lnTo>
                    <a:lnTo>
                      <a:pt x="160" y="662"/>
                    </a:lnTo>
                    <a:lnTo>
                      <a:pt x="179" y="668"/>
                    </a:lnTo>
                    <a:lnTo>
                      <a:pt x="198" y="674"/>
                    </a:lnTo>
                    <a:lnTo>
                      <a:pt x="216" y="681"/>
                    </a:lnTo>
                    <a:lnTo>
                      <a:pt x="235" y="688"/>
                    </a:lnTo>
                    <a:lnTo>
                      <a:pt x="252" y="696"/>
                    </a:lnTo>
                    <a:lnTo>
                      <a:pt x="270" y="705"/>
                    </a:lnTo>
                    <a:lnTo>
                      <a:pt x="287" y="714"/>
                    </a:lnTo>
                    <a:lnTo>
                      <a:pt x="304" y="724"/>
                    </a:lnTo>
                    <a:lnTo>
                      <a:pt x="320" y="735"/>
                    </a:lnTo>
                    <a:lnTo>
                      <a:pt x="336" y="745"/>
                    </a:lnTo>
                    <a:lnTo>
                      <a:pt x="352" y="756"/>
                    </a:lnTo>
                    <a:lnTo>
                      <a:pt x="368" y="767"/>
                    </a:lnTo>
                    <a:lnTo>
                      <a:pt x="384" y="779"/>
                    </a:lnTo>
                    <a:lnTo>
                      <a:pt x="398" y="792"/>
                    </a:lnTo>
                    <a:lnTo>
                      <a:pt x="413" y="804"/>
                    </a:lnTo>
                    <a:lnTo>
                      <a:pt x="427" y="817"/>
                    </a:lnTo>
                    <a:lnTo>
                      <a:pt x="440" y="831"/>
                    </a:lnTo>
                    <a:lnTo>
                      <a:pt x="453" y="845"/>
                    </a:lnTo>
                    <a:lnTo>
                      <a:pt x="466" y="859"/>
                    </a:lnTo>
                    <a:lnTo>
                      <a:pt x="478" y="874"/>
                    </a:lnTo>
                    <a:lnTo>
                      <a:pt x="490" y="890"/>
                    </a:lnTo>
                    <a:lnTo>
                      <a:pt x="502" y="906"/>
                    </a:lnTo>
                    <a:lnTo>
                      <a:pt x="513" y="921"/>
                    </a:lnTo>
                    <a:lnTo>
                      <a:pt x="523" y="938"/>
                    </a:lnTo>
                    <a:lnTo>
                      <a:pt x="884" y="964"/>
                    </a:lnTo>
                    <a:lnTo>
                      <a:pt x="1076" y="621"/>
                    </a:lnTo>
                    <a:lnTo>
                      <a:pt x="1066" y="604"/>
                    </a:lnTo>
                    <a:lnTo>
                      <a:pt x="1055" y="587"/>
                    </a:lnTo>
                    <a:lnTo>
                      <a:pt x="1033" y="553"/>
                    </a:lnTo>
                    <a:lnTo>
                      <a:pt x="1022" y="537"/>
                    </a:lnTo>
                    <a:lnTo>
                      <a:pt x="1009" y="521"/>
                    </a:lnTo>
                    <a:lnTo>
                      <a:pt x="997" y="505"/>
                    </a:lnTo>
                    <a:lnTo>
                      <a:pt x="985" y="489"/>
                    </a:lnTo>
                    <a:lnTo>
                      <a:pt x="973" y="474"/>
                    </a:lnTo>
                    <a:lnTo>
                      <a:pt x="960" y="458"/>
                    </a:lnTo>
                    <a:lnTo>
                      <a:pt x="947" y="443"/>
                    </a:lnTo>
                    <a:lnTo>
                      <a:pt x="934" y="428"/>
                    </a:lnTo>
                    <a:lnTo>
                      <a:pt x="907" y="398"/>
                    </a:lnTo>
                    <a:lnTo>
                      <a:pt x="894" y="384"/>
                    </a:lnTo>
                    <a:lnTo>
                      <a:pt x="880" y="370"/>
                    </a:lnTo>
                    <a:lnTo>
                      <a:pt x="850" y="342"/>
                    </a:lnTo>
                    <a:lnTo>
                      <a:pt x="821" y="316"/>
                    </a:lnTo>
                    <a:lnTo>
                      <a:pt x="806" y="303"/>
                    </a:lnTo>
                    <a:lnTo>
                      <a:pt x="790" y="290"/>
                    </a:lnTo>
                    <a:lnTo>
                      <a:pt x="759" y="266"/>
                    </a:lnTo>
                    <a:lnTo>
                      <a:pt x="727" y="242"/>
                    </a:lnTo>
                    <a:lnTo>
                      <a:pt x="694" y="218"/>
                    </a:lnTo>
                    <a:lnTo>
                      <a:pt x="677" y="207"/>
                    </a:lnTo>
                    <a:lnTo>
                      <a:pt x="661" y="196"/>
                    </a:lnTo>
                    <a:lnTo>
                      <a:pt x="627" y="176"/>
                    </a:lnTo>
                    <a:lnTo>
                      <a:pt x="592" y="156"/>
                    </a:lnTo>
                    <a:lnTo>
                      <a:pt x="574" y="147"/>
                    </a:lnTo>
                    <a:lnTo>
                      <a:pt x="557" y="137"/>
                    </a:lnTo>
                    <a:lnTo>
                      <a:pt x="520" y="120"/>
                    </a:lnTo>
                    <a:lnTo>
                      <a:pt x="501" y="112"/>
                    </a:lnTo>
                    <a:lnTo>
                      <a:pt x="483" y="103"/>
                    </a:lnTo>
                    <a:lnTo>
                      <a:pt x="446" y="88"/>
                    </a:lnTo>
                    <a:lnTo>
                      <a:pt x="427" y="81"/>
                    </a:lnTo>
                    <a:lnTo>
                      <a:pt x="408" y="73"/>
                    </a:lnTo>
                    <a:lnTo>
                      <a:pt x="368" y="60"/>
                    </a:lnTo>
                    <a:lnTo>
                      <a:pt x="330" y="48"/>
                    </a:lnTo>
                    <a:lnTo>
                      <a:pt x="310" y="43"/>
                    </a:lnTo>
                    <a:lnTo>
                      <a:pt x="290" y="38"/>
                    </a:lnTo>
                    <a:lnTo>
                      <a:pt x="270" y="33"/>
                    </a:lnTo>
                    <a:lnTo>
                      <a:pt x="250" y="29"/>
                    </a:lnTo>
                    <a:lnTo>
                      <a:pt x="230" y="24"/>
                    </a:lnTo>
                    <a:lnTo>
                      <a:pt x="209" y="21"/>
                    </a:lnTo>
                    <a:lnTo>
                      <a:pt x="168" y="14"/>
                    </a:lnTo>
                    <a:lnTo>
                      <a:pt x="127" y="8"/>
                    </a:lnTo>
                    <a:lnTo>
                      <a:pt x="106" y="6"/>
                    </a:lnTo>
                    <a:lnTo>
                      <a:pt x="85" y="4"/>
                    </a:lnTo>
                    <a:lnTo>
                      <a:pt x="64" y="3"/>
                    </a:lnTo>
                    <a:lnTo>
                      <a:pt x="42" y="1"/>
                    </a:lnTo>
                    <a:lnTo>
                      <a:pt x="21" y="1"/>
                    </a:lnTo>
                    <a:lnTo>
                      <a:pt x="0" y="0"/>
                    </a:lnTo>
                    <a:lnTo>
                      <a:pt x="196" y="347"/>
                    </a:lnTo>
                    <a:lnTo>
                      <a:pt x="1" y="636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1" name="Freeform 24"/>
              <p:cNvSpPr>
                <a:spLocks noChangeAspect="1"/>
              </p:cNvSpPr>
              <p:nvPr/>
            </p:nvSpPr>
            <p:spPr bwMode="auto">
              <a:xfrm>
                <a:off x="3694" y="2043"/>
                <a:ext cx="707" cy="1215"/>
              </a:xfrm>
              <a:custGeom>
                <a:avLst/>
                <a:gdLst>
                  <a:gd name="T0" fmla="*/ 355 w 707"/>
                  <a:gd name="T1" fmla="*/ 358 h 1215"/>
                  <a:gd name="T2" fmla="*/ 15 w 707"/>
                  <a:gd name="T3" fmla="*/ 334 h 1215"/>
                  <a:gd name="T4" fmla="*/ 29 w 707"/>
                  <a:gd name="T5" fmla="*/ 367 h 1215"/>
                  <a:gd name="T6" fmla="*/ 40 w 707"/>
                  <a:gd name="T7" fmla="*/ 400 h 1215"/>
                  <a:gd name="T8" fmla="*/ 50 w 707"/>
                  <a:gd name="T9" fmla="*/ 434 h 1215"/>
                  <a:gd name="T10" fmla="*/ 58 w 707"/>
                  <a:gd name="T11" fmla="*/ 469 h 1215"/>
                  <a:gd name="T12" fmla="*/ 64 w 707"/>
                  <a:gd name="T13" fmla="*/ 504 h 1215"/>
                  <a:gd name="T14" fmla="*/ 68 w 707"/>
                  <a:gd name="T15" fmla="*/ 541 h 1215"/>
                  <a:gd name="T16" fmla="*/ 70 w 707"/>
                  <a:gd name="T17" fmla="*/ 578 h 1215"/>
                  <a:gd name="T18" fmla="*/ 70 w 707"/>
                  <a:gd name="T19" fmla="*/ 616 h 1215"/>
                  <a:gd name="T20" fmla="*/ 68 w 707"/>
                  <a:gd name="T21" fmla="*/ 655 h 1215"/>
                  <a:gd name="T22" fmla="*/ 63 w 707"/>
                  <a:gd name="T23" fmla="*/ 694 h 1215"/>
                  <a:gd name="T24" fmla="*/ 57 w 707"/>
                  <a:gd name="T25" fmla="*/ 732 h 1215"/>
                  <a:gd name="T26" fmla="*/ 48 w 707"/>
                  <a:gd name="T27" fmla="*/ 769 h 1215"/>
                  <a:gd name="T28" fmla="*/ 36 w 707"/>
                  <a:gd name="T29" fmla="*/ 805 h 1215"/>
                  <a:gd name="T30" fmla="*/ 23 w 707"/>
                  <a:gd name="T31" fmla="*/ 841 h 1215"/>
                  <a:gd name="T32" fmla="*/ 8 w 707"/>
                  <a:gd name="T33" fmla="*/ 875 h 1215"/>
                  <a:gd name="T34" fmla="*/ 159 w 707"/>
                  <a:gd name="T35" fmla="*/ 1215 h 1215"/>
                  <a:gd name="T36" fmla="*/ 571 w 707"/>
                  <a:gd name="T37" fmla="*/ 1172 h 1215"/>
                  <a:gd name="T38" fmla="*/ 604 w 707"/>
                  <a:gd name="T39" fmla="*/ 1101 h 1215"/>
                  <a:gd name="T40" fmla="*/ 633 w 707"/>
                  <a:gd name="T41" fmla="*/ 1029 h 1215"/>
                  <a:gd name="T42" fmla="*/ 657 w 707"/>
                  <a:gd name="T43" fmla="*/ 954 h 1215"/>
                  <a:gd name="T44" fmla="*/ 667 w 707"/>
                  <a:gd name="T45" fmla="*/ 916 h 1215"/>
                  <a:gd name="T46" fmla="*/ 685 w 707"/>
                  <a:gd name="T47" fmla="*/ 839 h 1215"/>
                  <a:gd name="T48" fmla="*/ 697 w 707"/>
                  <a:gd name="T49" fmla="*/ 759 h 1215"/>
                  <a:gd name="T50" fmla="*/ 702 w 707"/>
                  <a:gd name="T51" fmla="*/ 719 h 1215"/>
                  <a:gd name="T52" fmla="*/ 707 w 707"/>
                  <a:gd name="T53" fmla="*/ 637 h 1215"/>
                  <a:gd name="T54" fmla="*/ 707 w 707"/>
                  <a:gd name="T55" fmla="*/ 597 h 1215"/>
                  <a:gd name="T56" fmla="*/ 705 w 707"/>
                  <a:gd name="T57" fmla="*/ 516 h 1215"/>
                  <a:gd name="T58" fmla="*/ 702 w 707"/>
                  <a:gd name="T59" fmla="*/ 477 h 1215"/>
                  <a:gd name="T60" fmla="*/ 698 w 707"/>
                  <a:gd name="T61" fmla="*/ 438 h 1215"/>
                  <a:gd name="T62" fmla="*/ 689 w 707"/>
                  <a:gd name="T63" fmla="*/ 380 h 1215"/>
                  <a:gd name="T64" fmla="*/ 678 w 707"/>
                  <a:gd name="T65" fmla="*/ 322 h 1215"/>
                  <a:gd name="T66" fmla="*/ 670 w 707"/>
                  <a:gd name="T67" fmla="*/ 284 h 1215"/>
                  <a:gd name="T68" fmla="*/ 660 w 707"/>
                  <a:gd name="T69" fmla="*/ 247 h 1215"/>
                  <a:gd name="T70" fmla="*/ 637 w 707"/>
                  <a:gd name="T71" fmla="*/ 174 h 1215"/>
                  <a:gd name="T72" fmla="*/ 609 w 707"/>
                  <a:gd name="T73" fmla="*/ 103 h 1215"/>
                  <a:gd name="T74" fmla="*/ 594 w 707"/>
                  <a:gd name="T75" fmla="*/ 68 h 1215"/>
                  <a:gd name="T76" fmla="*/ 561 w 707"/>
                  <a:gd name="T77" fmla="*/ 0 h 12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07"/>
                  <a:gd name="T118" fmla="*/ 0 h 1215"/>
                  <a:gd name="T119" fmla="*/ 707 w 707"/>
                  <a:gd name="T120" fmla="*/ 1215 h 121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07" h="1215">
                    <a:moveTo>
                      <a:pt x="561" y="0"/>
                    </a:moveTo>
                    <a:lnTo>
                      <a:pt x="355" y="358"/>
                    </a:lnTo>
                    <a:lnTo>
                      <a:pt x="8" y="318"/>
                    </a:lnTo>
                    <a:lnTo>
                      <a:pt x="15" y="334"/>
                    </a:lnTo>
                    <a:lnTo>
                      <a:pt x="22" y="350"/>
                    </a:lnTo>
                    <a:lnTo>
                      <a:pt x="29" y="367"/>
                    </a:lnTo>
                    <a:lnTo>
                      <a:pt x="35" y="384"/>
                    </a:lnTo>
                    <a:lnTo>
                      <a:pt x="40" y="400"/>
                    </a:lnTo>
                    <a:lnTo>
                      <a:pt x="46" y="417"/>
                    </a:lnTo>
                    <a:lnTo>
                      <a:pt x="50" y="434"/>
                    </a:lnTo>
                    <a:lnTo>
                      <a:pt x="54" y="452"/>
                    </a:lnTo>
                    <a:lnTo>
                      <a:pt x="58" y="469"/>
                    </a:lnTo>
                    <a:lnTo>
                      <a:pt x="61" y="487"/>
                    </a:lnTo>
                    <a:lnTo>
                      <a:pt x="64" y="504"/>
                    </a:lnTo>
                    <a:lnTo>
                      <a:pt x="67" y="523"/>
                    </a:lnTo>
                    <a:lnTo>
                      <a:pt x="68" y="541"/>
                    </a:lnTo>
                    <a:lnTo>
                      <a:pt x="70" y="560"/>
                    </a:lnTo>
                    <a:lnTo>
                      <a:pt x="70" y="578"/>
                    </a:lnTo>
                    <a:lnTo>
                      <a:pt x="71" y="597"/>
                    </a:lnTo>
                    <a:lnTo>
                      <a:pt x="70" y="616"/>
                    </a:lnTo>
                    <a:lnTo>
                      <a:pt x="70" y="636"/>
                    </a:lnTo>
                    <a:lnTo>
                      <a:pt x="68" y="655"/>
                    </a:lnTo>
                    <a:lnTo>
                      <a:pt x="66" y="674"/>
                    </a:lnTo>
                    <a:lnTo>
                      <a:pt x="63" y="694"/>
                    </a:lnTo>
                    <a:lnTo>
                      <a:pt x="60" y="713"/>
                    </a:lnTo>
                    <a:lnTo>
                      <a:pt x="57" y="732"/>
                    </a:lnTo>
                    <a:lnTo>
                      <a:pt x="52" y="750"/>
                    </a:lnTo>
                    <a:lnTo>
                      <a:pt x="48" y="769"/>
                    </a:lnTo>
                    <a:lnTo>
                      <a:pt x="42" y="787"/>
                    </a:lnTo>
                    <a:lnTo>
                      <a:pt x="36" y="805"/>
                    </a:lnTo>
                    <a:lnTo>
                      <a:pt x="30" y="822"/>
                    </a:lnTo>
                    <a:lnTo>
                      <a:pt x="23" y="841"/>
                    </a:lnTo>
                    <a:lnTo>
                      <a:pt x="16" y="858"/>
                    </a:lnTo>
                    <a:lnTo>
                      <a:pt x="8" y="875"/>
                    </a:lnTo>
                    <a:lnTo>
                      <a:pt x="0" y="891"/>
                    </a:lnTo>
                    <a:lnTo>
                      <a:pt x="159" y="1215"/>
                    </a:lnTo>
                    <a:lnTo>
                      <a:pt x="553" y="1206"/>
                    </a:lnTo>
                    <a:lnTo>
                      <a:pt x="571" y="1172"/>
                    </a:lnTo>
                    <a:lnTo>
                      <a:pt x="588" y="1136"/>
                    </a:lnTo>
                    <a:lnTo>
                      <a:pt x="604" y="1101"/>
                    </a:lnTo>
                    <a:lnTo>
                      <a:pt x="618" y="1065"/>
                    </a:lnTo>
                    <a:lnTo>
                      <a:pt x="633" y="1029"/>
                    </a:lnTo>
                    <a:lnTo>
                      <a:pt x="646" y="991"/>
                    </a:lnTo>
                    <a:lnTo>
                      <a:pt x="657" y="954"/>
                    </a:lnTo>
                    <a:lnTo>
                      <a:pt x="662" y="935"/>
                    </a:lnTo>
                    <a:lnTo>
                      <a:pt x="667" y="916"/>
                    </a:lnTo>
                    <a:lnTo>
                      <a:pt x="677" y="878"/>
                    </a:lnTo>
                    <a:lnTo>
                      <a:pt x="685" y="839"/>
                    </a:lnTo>
                    <a:lnTo>
                      <a:pt x="691" y="799"/>
                    </a:lnTo>
                    <a:lnTo>
                      <a:pt x="697" y="759"/>
                    </a:lnTo>
                    <a:lnTo>
                      <a:pt x="699" y="739"/>
                    </a:lnTo>
                    <a:lnTo>
                      <a:pt x="702" y="719"/>
                    </a:lnTo>
                    <a:lnTo>
                      <a:pt x="705" y="679"/>
                    </a:lnTo>
                    <a:lnTo>
                      <a:pt x="707" y="637"/>
                    </a:lnTo>
                    <a:lnTo>
                      <a:pt x="707" y="617"/>
                    </a:lnTo>
                    <a:lnTo>
                      <a:pt x="707" y="597"/>
                    </a:lnTo>
                    <a:lnTo>
                      <a:pt x="707" y="557"/>
                    </a:lnTo>
                    <a:lnTo>
                      <a:pt x="705" y="516"/>
                    </a:lnTo>
                    <a:lnTo>
                      <a:pt x="704" y="496"/>
                    </a:lnTo>
                    <a:lnTo>
                      <a:pt x="702" y="477"/>
                    </a:lnTo>
                    <a:lnTo>
                      <a:pt x="700" y="457"/>
                    </a:lnTo>
                    <a:lnTo>
                      <a:pt x="698" y="438"/>
                    </a:lnTo>
                    <a:lnTo>
                      <a:pt x="692" y="399"/>
                    </a:lnTo>
                    <a:lnTo>
                      <a:pt x="689" y="380"/>
                    </a:lnTo>
                    <a:lnTo>
                      <a:pt x="686" y="361"/>
                    </a:lnTo>
                    <a:lnTo>
                      <a:pt x="678" y="322"/>
                    </a:lnTo>
                    <a:lnTo>
                      <a:pt x="674" y="303"/>
                    </a:lnTo>
                    <a:lnTo>
                      <a:pt x="670" y="284"/>
                    </a:lnTo>
                    <a:lnTo>
                      <a:pt x="665" y="266"/>
                    </a:lnTo>
                    <a:lnTo>
                      <a:pt x="660" y="247"/>
                    </a:lnTo>
                    <a:lnTo>
                      <a:pt x="649" y="211"/>
                    </a:lnTo>
                    <a:lnTo>
                      <a:pt x="637" y="174"/>
                    </a:lnTo>
                    <a:lnTo>
                      <a:pt x="623" y="138"/>
                    </a:lnTo>
                    <a:lnTo>
                      <a:pt x="609" y="103"/>
                    </a:lnTo>
                    <a:lnTo>
                      <a:pt x="602" y="86"/>
                    </a:lnTo>
                    <a:lnTo>
                      <a:pt x="594" y="68"/>
                    </a:lnTo>
                    <a:lnTo>
                      <a:pt x="578" y="33"/>
                    </a:lnTo>
                    <a:lnTo>
                      <a:pt x="5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2" name="Freeform 25"/>
              <p:cNvSpPr>
                <a:spLocks noChangeAspect="1"/>
              </p:cNvSpPr>
              <p:nvPr/>
            </p:nvSpPr>
            <p:spPr bwMode="auto">
              <a:xfrm>
                <a:off x="3009" y="2989"/>
                <a:ext cx="1206" cy="930"/>
              </a:xfrm>
              <a:custGeom>
                <a:avLst/>
                <a:gdLst>
                  <a:gd name="T0" fmla="*/ 642 w 1206"/>
                  <a:gd name="T1" fmla="*/ 15 h 930"/>
                  <a:gd name="T2" fmla="*/ 622 w 1206"/>
                  <a:gd name="T3" fmla="*/ 42 h 930"/>
                  <a:gd name="T4" fmla="*/ 601 w 1206"/>
                  <a:gd name="T5" fmla="*/ 70 h 930"/>
                  <a:gd name="T6" fmla="*/ 578 w 1206"/>
                  <a:gd name="T7" fmla="*/ 95 h 930"/>
                  <a:gd name="T8" fmla="*/ 554 w 1206"/>
                  <a:gd name="T9" fmla="*/ 119 h 930"/>
                  <a:gd name="T10" fmla="*/ 528 w 1206"/>
                  <a:gd name="T11" fmla="*/ 142 h 930"/>
                  <a:gd name="T12" fmla="*/ 501 w 1206"/>
                  <a:gd name="T13" fmla="*/ 163 h 930"/>
                  <a:gd name="T14" fmla="*/ 473 w 1206"/>
                  <a:gd name="T15" fmla="*/ 183 h 930"/>
                  <a:gd name="T16" fmla="*/ 444 w 1206"/>
                  <a:gd name="T17" fmla="*/ 202 h 930"/>
                  <a:gd name="T18" fmla="*/ 414 w 1206"/>
                  <a:gd name="T19" fmla="*/ 220 h 930"/>
                  <a:gd name="T20" fmla="*/ 384 w 1206"/>
                  <a:gd name="T21" fmla="*/ 235 h 930"/>
                  <a:gd name="T22" fmla="*/ 352 w 1206"/>
                  <a:gd name="T23" fmla="*/ 249 h 930"/>
                  <a:gd name="T24" fmla="*/ 318 w 1206"/>
                  <a:gd name="T25" fmla="*/ 261 h 930"/>
                  <a:gd name="T26" fmla="*/ 285 w 1206"/>
                  <a:gd name="T27" fmla="*/ 271 h 930"/>
                  <a:gd name="T28" fmla="*/ 233 w 1206"/>
                  <a:gd name="T29" fmla="*/ 283 h 930"/>
                  <a:gd name="T30" fmla="*/ 198 w 1206"/>
                  <a:gd name="T31" fmla="*/ 289 h 930"/>
                  <a:gd name="T32" fmla="*/ 197 w 1206"/>
                  <a:gd name="T33" fmla="*/ 930 h 930"/>
                  <a:gd name="T34" fmla="*/ 237 w 1206"/>
                  <a:gd name="T35" fmla="*/ 926 h 930"/>
                  <a:gd name="T36" fmla="*/ 276 w 1206"/>
                  <a:gd name="T37" fmla="*/ 922 h 930"/>
                  <a:gd name="T38" fmla="*/ 334 w 1206"/>
                  <a:gd name="T39" fmla="*/ 913 h 930"/>
                  <a:gd name="T40" fmla="*/ 374 w 1206"/>
                  <a:gd name="T41" fmla="*/ 906 h 930"/>
                  <a:gd name="T42" fmla="*/ 412 w 1206"/>
                  <a:gd name="T43" fmla="*/ 897 h 930"/>
                  <a:gd name="T44" fmla="*/ 449 w 1206"/>
                  <a:gd name="T45" fmla="*/ 888 h 930"/>
                  <a:gd name="T46" fmla="*/ 505 w 1206"/>
                  <a:gd name="T47" fmla="*/ 871 h 930"/>
                  <a:gd name="T48" fmla="*/ 560 w 1206"/>
                  <a:gd name="T49" fmla="*/ 852 h 930"/>
                  <a:gd name="T50" fmla="*/ 613 w 1206"/>
                  <a:gd name="T51" fmla="*/ 830 h 930"/>
                  <a:gd name="T52" fmla="*/ 665 w 1206"/>
                  <a:gd name="T53" fmla="*/ 806 h 930"/>
                  <a:gd name="T54" fmla="*/ 717 w 1206"/>
                  <a:gd name="T55" fmla="*/ 780 h 930"/>
                  <a:gd name="T56" fmla="*/ 750 w 1206"/>
                  <a:gd name="T57" fmla="*/ 762 h 930"/>
                  <a:gd name="T58" fmla="*/ 798 w 1206"/>
                  <a:gd name="T59" fmla="*/ 733 h 930"/>
                  <a:gd name="T60" fmla="*/ 846 w 1206"/>
                  <a:gd name="T61" fmla="*/ 701 h 930"/>
                  <a:gd name="T62" fmla="*/ 906 w 1206"/>
                  <a:gd name="T63" fmla="*/ 655 h 930"/>
                  <a:gd name="T64" fmla="*/ 950 w 1206"/>
                  <a:gd name="T65" fmla="*/ 619 h 930"/>
                  <a:gd name="T66" fmla="*/ 978 w 1206"/>
                  <a:gd name="T67" fmla="*/ 594 h 930"/>
                  <a:gd name="T68" fmla="*/ 1006 w 1206"/>
                  <a:gd name="T69" fmla="*/ 568 h 930"/>
                  <a:gd name="T70" fmla="*/ 1045 w 1206"/>
                  <a:gd name="T71" fmla="*/ 527 h 930"/>
                  <a:gd name="T72" fmla="*/ 1095 w 1206"/>
                  <a:gd name="T73" fmla="*/ 471 h 930"/>
                  <a:gd name="T74" fmla="*/ 1119 w 1206"/>
                  <a:gd name="T75" fmla="*/ 441 h 930"/>
                  <a:gd name="T76" fmla="*/ 1142 w 1206"/>
                  <a:gd name="T77" fmla="*/ 412 h 930"/>
                  <a:gd name="T78" fmla="*/ 1175 w 1206"/>
                  <a:gd name="T79" fmla="*/ 364 h 930"/>
                  <a:gd name="T80" fmla="*/ 1206 w 1206"/>
                  <a:gd name="T81" fmla="*/ 317 h 930"/>
                  <a:gd name="T82" fmla="*/ 652 w 1206"/>
                  <a:gd name="T83" fmla="*/ 0 h 93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206"/>
                  <a:gd name="T127" fmla="*/ 0 h 930"/>
                  <a:gd name="T128" fmla="*/ 1206 w 1206"/>
                  <a:gd name="T129" fmla="*/ 930 h 93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206" h="930">
                    <a:moveTo>
                      <a:pt x="652" y="0"/>
                    </a:moveTo>
                    <a:lnTo>
                      <a:pt x="642" y="15"/>
                    </a:lnTo>
                    <a:lnTo>
                      <a:pt x="633" y="29"/>
                    </a:lnTo>
                    <a:lnTo>
                      <a:pt x="622" y="42"/>
                    </a:lnTo>
                    <a:lnTo>
                      <a:pt x="612" y="57"/>
                    </a:lnTo>
                    <a:lnTo>
                      <a:pt x="601" y="70"/>
                    </a:lnTo>
                    <a:lnTo>
                      <a:pt x="590" y="83"/>
                    </a:lnTo>
                    <a:lnTo>
                      <a:pt x="578" y="95"/>
                    </a:lnTo>
                    <a:lnTo>
                      <a:pt x="566" y="107"/>
                    </a:lnTo>
                    <a:lnTo>
                      <a:pt x="554" y="119"/>
                    </a:lnTo>
                    <a:lnTo>
                      <a:pt x="541" y="131"/>
                    </a:lnTo>
                    <a:lnTo>
                      <a:pt x="528" y="142"/>
                    </a:lnTo>
                    <a:lnTo>
                      <a:pt x="515" y="153"/>
                    </a:lnTo>
                    <a:lnTo>
                      <a:pt x="501" y="163"/>
                    </a:lnTo>
                    <a:lnTo>
                      <a:pt x="487" y="173"/>
                    </a:lnTo>
                    <a:lnTo>
                      <a:pt x="473" y="183"/>
                    </a:lnTo>
                    <a:lnTo>
                      <a:pt x="459" y="193"/>
                    </a:lnTo>
                    <a:lnTo>
                      <a:pt x="444" y="202"/>
                    </a:lnTo>
                    <a:lnTo>
                      <a:pt x="429" y="210"/>
                    </a:lnTo>
                    <a:lnTo>
                      <a:pt x="414" y="220"/>
                    </a:lnTo>
                    <a:lnTo>
                      <a:pt x="399" y="228"/>
                    </a:lnTo>
                    <a:lnTo>
                      <a:pt x="384" y="235"/>
                    </a:lnTo>
                    <a:lnTo>
                      <a:pt x="368" y="242"/>
                    </a:lnTo>
                    <a:lnTo>
                      <a:pt x="352" y="249"/>
                    </a:lnTo>
                    <a:lnTo>
                      <a:pt x="335" y="255"/>
                    </a:lnTo>
                    <a:lnTo>
                      <a:pt x="318" y="261"/>
                    </a:lnTo>
                    <a:lnTo>
                      <a:pt x="302" y="266"/>
                    </a:lnTo>
                    <a:lnTo>
                      <a:pt x="285" y="271"/>
                    </a:lnTo>
                    <a:lnTo>
                      <a:pt x="268" y="276"/>
                    </a:lnTo>
                    <a:lnTo>
                      <a:pt x="233" y="283"/>
                    </a:lnTo>
                    <a:lnTo>
                      <a:pt x="216" y="286"/>
                    </a:lnTo>
                    <a:lnTo>
                      <a:pt x="198" y="289"/>
                    </a:lnTo>
                    <a:lnTo>
                      <a:pt x="0" y="600"/>
                    </a:lnTo>
                    <a:lnTo>
                      <a:pt x="197" y="930"/>
                    </a:lnTo>
                    <a:lnTo>
                      <a:pt x="217" y="928"/>
                    </a:lnTo>
                    <a:lnTo>
                      <a:pt x="237" y="926"/>
                    </a:lnTo>
                    <a:lnTo>
                      <a:pt x="257" y="924"/>
                    </a:lnTo>
                    <a:lnTo>
                      <a:pt x="276" y="922"/>
                    </a:lnTo>
                    <a:lnTo>
                      <a:pt x="315" y="916"/>
                    </a:lnTo>
                    <a:lnTo>
                      <a:pt x="334" y="913"/>
                    </a:lnTo>
                    <a:lnTo>
                      <a:pt x="355" y="909"/>
                    </a:lnTo>
                    <a:lnTo>
                      <a:pt x="374" y="906"/>
                    </a:lnTo>
                    <a:lnTo>
                      <a:pt x="393" y="902"/>
                    </a:lnTo>
                    <a:lnTo>
                      <a:pt x="412" y="897"/>
                    </a:lnTo>
                    <a:lnTo>
                      <a:pt x="431" y="892"/>
                    </a:lnTo>
                    <a:lnTo>
                      <a:pt x="449" y="888"/>
                    </a:lnTo>
                    <a:lnTo>
                      <a:pt x="468" y="882"/>
                    </a:lnTo>
                    <a:lnTo>
                      <a:pt x="505" y="871"/>
                    </a:lnTo>
                    <a:lnTo>
                      <a:pt x="542" y="859"/>
                    </a:lnTo>
                    <a:lnTo>
                      <a:pt x="560" y="852"/>
                    </a:lnTo>
                    <a:lnTo>
                      <a:pt x="578" y="844"/>
                    </a:lnTo>
                    <a:lnTo>
                      <a:pt x="613" y="830"/>
                    </a:lnTo>
                    <a:lnTo>
                      <a:pt x="648" y="814"/>
                    </a:lnTo>
                    <a:lnTo>
                      <a:pt x="665" y="806"/>
                    </a:lnTo>
                    <a:lnTo>
                      <a:pt x="683" y="798"/>
                    </a:lnTo>
                    <a:lnTo>
                      <a:pt x="717" y="780"/>
                    </a:lnTo>
                    <a:lnTo>
                      <a:pt x="733" y="771"/>
                    </a:lnTo>
                    <a:lnTo>
                      <a:pt x="750" y="762"/>
                    </a:lnTo>
                    <a:lnTo>
                      <a:pt x="782" y="743"/>
                    </a:lnTo>
                    <a:lnTo>
                      <a:pt x="798" y="733"/>
                    </a:lnTo>
                    <a:lnTo>
                      <a:pt x="814" y="722"/>
                    </a:lnTo>
                    <a:lnTo>
                      <a:pt x="846" y="701"/>
                    </a:lnTo>
                    <a:lnTo>
                      <a:pt x="877" y="678"/>
                    </a:lnTo>
                    <a:lnTo>
                      <a:pt x="906" y="655"/>
                    </a:lnTo>
                    <a:lnTo>
                      <a:pt x="935" y="631"/>
                    </a:lnTo>
                    <a:lnTo>
                      <a:pt x="950" y="619"/>
                    </a:lnTo>
                    <a:lnTo>
                      <a:pt x="964" y="607"/>
                    </a:lnTo>
                    <a:lnTo>
                      <a:pt x="978" y="594"/>
                    </a:lnTo>
                    <a:lnTo>
                      <a:pt x="992" y="581"/>
                    </a:lnTo>
                    <a:lnTo>
                      <a:pt x="1006" y="568"/>
                    </a:lnTo>
                    <a:lnTo>
                      <a:pt x="1019" y="555"/>
                    </a:lnTo>
                    <a:lnTo>
                      <a:pt x="1045" y="527"/>
                    </a:lnTo>
                    <a:lnTo>
                      <a:pt x="1071" y="499"/>
                    </a:lnTo>
                    <a:lnTo>
                      <a:pt x="1095" y="471"/>
                    </a:lnTo>
                    <a:lnTo>
                      <a:pt x="1107" y="456"/>
                    </a:lnTo>
                    <a:lnTo>
                      <a:pt x="1119" y="441"/>
                    </a:lnTo>
                    <a:lnTo>
                      <a:pt x="1130" y="427"/>
                    </a:lnTo>
                    <a:lnTo>
                      <a:pt x="1142" y="412"/>
                    </a:lnTo>
                    <a:lnTo>
                      <a:pt x="1164" y="381"/>
                    </a:lnTo>
                    <a:lnTo>
                      <a:pt x="1175" y="364"/>
                    </a:lnTo>
                    <a:lnTo>
                      <a:pt x="1185" y="349"/>
                    </a:lnTo>
                    <a:lnTo>
                      <a:pt x="1206" y="317"/>
                    </a:lnTo>
                    <a:lnTo>
                      <a:pt x="795" y="321"/>
                    </a:lnTo>
                    <a:lnTo>
                      <a:pt x="6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3" name="Freeform 26"/>
              <p:cNvSpPr>
                <a:spLocks noChangeAspect="1"/>
              </p:cNvSpPr>
              <p:nvPr/>
            </p:nvSpPr>
            <p:spPr bwMode="auto">
              <a:xfrm>
                <a:off x="2074" y="3039"/>
                <a:ext cx="1067" cy="881"/>
              </a:xfrm>
              <a:custGeom>
                <a:avLst/>
                <a:gdLst>
                  <a:gd name="T0" fmla="*/ 1047 w 1067"/>
                  <a:gd name="T1" fmla="*/ 245 h 881"/>
                  <a:gd name="T2" fmla="*/ 1011 w 1067"/>
                  <a:gd name="T3" fmla="*/ 244 h 881"/>
                  <a:gd name="T4" fmla="*/ 956 w 1067"/>
                  <a:gd name="T5" fmla="*/ 238 h 881"/>
                  <a:gd name="T6" fmla="*/ 904 w 1067"/>
                  <a:gd name="T7" fmla="*/ 229 h 881"/>
                  <a:gd name="T8" fmla="*/ 871 w 1067"/>
                  <a:gd name="T9" fmla="*/ 220 h 881"/>
                  <a:gd name="T10" fmla="*/ 838 w 1067"/>
                  <a:gd name="T11" fmla="*/ 210 h 881"/>
                  <a:gd name="T12" fmla="*/ 789 w 1067"/>
                  <a:gd name="T13" fmla="*/ 191 h 881"/>
                  <a:gd name="T14" fmla="*/ 758 w 1067"/>
                  <a:gd name="T15" fmla="*/ 177 h 881"/>
                  <a:gd name="T16" fmla="*/ 728 w 1067"/>
                  <a:gd name="T17" fmla="*/ 160 h 881"/>
                  <a:gd name="T18" fmla="*/ 699 w 1067"/>
                  <a:gd name="T19" fmla="*/ 142 h 881"/>
                  <a:gd name="T20" fmla="*/ 671 w 1067"/>
                  <a:gd name="T21" fmla="*/ 123 h 881"/>
                  <a:gd name="T22" fmla="*/ 643 w 1067"/>
                  <a:gd name="T23" fmla="*/ 103 h 881"/>
                  <a:gd name="T24" fmla="*/ 617 w 1067"/>
                  <a:gd name="T25" fmla="*/ 81 h 881"/>
                  <a:gd name="T26" fmla="*/ 593 w 1067"/>
                  <a:gd name="T27" fmla="*/ 58 h 881"/>
                  <a:gd name="T28" fmla="*/ 558 w 1067"/>
                  <a:gd name="T29" fmla="*/ 20 h 881"/>
                  <a:gd name="T30" fmla="*/ 0 w 1067"/>
                  <a:gd name="T31" fmla="*/ 339 h 881"/>
                  <a:gd name="T32" fmla="*/ 34 w 1067"/>
                  <a:gd name="T33" fmla="*/ 385 h 881"/>
                  <a:gd name="T34" fmla="*/ 69 w 1067"/>
                  <a:gd name="T35" fmla="*/ 428 h 881"/>
                  <a:gd name="T36" fmla="*/ 119 w 1067"/>
                  <a:gd name="T37" fmla="*/ 485 h 881"/>
                  <a:gd name="T38" fmla="*/ 145 w 1067"/>
                  <a:gd name="T39" fmla="*/ 511 h 881"/>
                  <a:gd name="T40" fmla="*/ 173 w 1067"/>
                  <a:gd name="T41" fmla="*/ 537 h 881"/>
                  <a:gd name="T42" fmla="*/ 201 w 1067"/>
                  <a:gd name="T43" fmla="*/ 562 h 881"/>
                  <a:gd name="T44" fmla="*/ 229 w 1067"/>
                  <a:gd name="T45" fmla="*/ 587 h 881"/>
                  <a:gd name="T46" fmla="*/ 273 w 1067"/>
                  <a:gd name="T47" fmla="*/ 621 h 881"/>
                  <a:gd name="T48" fmla="*/ 303 w 1067"/>
                  <a:gd name="T49" fmla="*/ 645 h 881"/>
                  <a:gd name="T50" fmla="*/ 351 w 1067"/>
                  <a:gd name="T51" fmla="*/ 676 h 881"/>
                  <a:gd name="T52" fmla="*/ 415 w 1067"/>
                  <a:gd name="T53" fmla="*/ 715 h 881"/>
                  <a:gd name="T54" fmla="*/ 481 w 1067"/>
                  <a:gd name="T55" fmla="*/ 750 h 881"/>
                  <a:gd name="T56" fmla="*/ 551 w 1067"/>
                  <a:gd name="T57" fmla="*/ 782 h 881"/>
                  <a:gd name="T58" fmla="*/ 604 w 1067"/>
                  <a:gd name="T59" fmla="*/ 803 h 881"/>
                  <a:gd name="T60" fmla="*/ 640 w 1067"/>
                  <a:gd name="T61" fmla="*/ 816 h 881"/>
                  <a:gd name="T62" fmla="*/ 696 w 1067"/>
                  <a:gd name="T63" fmla="*/ 833 h 881"/>
                  <a:gd name="T64" fmla="*/ 771 w 1067"/>
                  <a:gd name="T65" fmla="*/ 852 h 881"/>
                  <a:gd name="T66" fmla="*/ 829 w 1067"/>
                  <a:gd name="T67" fmla="*/ 863 h 881"/>
                  <a:gd name="T68" fmla="*/ 887 w 1067"/>
                  <a:gd name="T69" fmla="*/ 871 h 881"/>
                  <a:gd name="T70" fmla="*/ 946 w 1067"/>
                  <a:gd name="T71" fmla="*/ 877 h 881"/>
                  <a:gd name="T72" fmla="*/ 987 w 1067"/>
                  <a:gd name="T73" fmla="*/ 880 h 881"/>
                  <a:gd name="T74" fmla="*/ 1027 w 1067"/>
                  <a:gd name="T75" fmla="*/ 881 h 881"/>
                  <a:gd name="T76" fmla="*/ 1067 w 1067"/>
                  <a:gd name="T77" fmla="*/ 881 h 881"/>
                  <a:gd name="T78" fmla="*/ 1065 w 1067"/>
                  <a:gd name="T79" fmla="*/ 244 h 8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67"/>
                  <a:gd name="T121" fmla="*/ 0 h 881"/>
                  <a:gd name="T122" fmla="*/ 1067 w 1067"/>
                  <a:gd name="T123" fmla="*/ 881 h 88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67" h="881">
                    <a:moveTo>
                      <a:pt x="1065" y="244"/>
                    </a:moveTo>
                    <a:lnTo>
                      <a:pt x="1047" y="245"/>
                    </a:lnTo>
                    <a:lnTo>
                      <a:pt x="1029" y="244"/>
                    </a:lnTo>
                    <a:lnTo>
                      <a:pt x="1011" y="244"/>
                    </a:lnTo>
                    <a:lnTo>
                      <a:pt x="975" y="241"/>
                    </a:lnTo>
                    <a:lnTo>
                      <a:pt x="956" y="238"/>
                    </a:lnTo>
                    <a:lnTo>
                      <a:pt x="939" y="236"/>
                    </a:lnTo>
                    <a:lnTo>
                      <a:pt x="904" y="229"/>
                    </a:lnTo>
                    <a:lnTo>
                      <a:pt x="887" y="225"/>
                    </a:lnTo>
                    <a:lnTo>
                      <a:pt x="871" y="220"/>
                    </a:lnTo>
                    <a:lnTo>
                      <a:pt x="854" y="215"/>
                    </a:lnTo>
                    <a:lnTo>
                      <a:pt x="838" y="210"/>
                    </a:lnTo>
                    <a:lnTo>
                      <a:pt x="804" y="198"/>
                    </a:lnTo>
                    <a:lnTo>
                      <a:pt x="789" y="191"/>
                    </a:lnTo>
                    <a:lnTo>
                      <a:pt x="773" y="184"/>
                    </a:lnTo>
                    <a:lnTo>
                      <a:pt x="758" y="177"/>
                    </a:lnTo>
                    <a:lnTo>
                      <a:pt x="743" y="169"/>
                    </a:lnTo>
                    <a:lnTo>
                      <a:pt x="728" y="160"/>
                    </a:lnTo>
                    <a:lnTo>
                      <a:pt x="713" y="151"/>
                    </a:lnTo>
                    <a:lnTo>
                      <a:pt x="699" y="142"/>
                    </a:lnTo>
                    <a:lnTo>
                      <a:pt x="685" y="133"/>
                    </a:lnTo>
                    <a:lnTo>
                      <a:pt x="671" y="123"/>
                    </a:lnTo>
                    <a:lnTo>
                      <a:pt x="657" y="113"/>
                    </a:lnTo>
                    <a:lnTo>
                      <a:pt x="643" y="103"/>
                    </a:lnTo>
                    <a:lnTo>
                      <a:pt x="630" y="92"/>
                    </a:lnTo>
                    <a:lnTo>
                      <a:pt x="617" y="81"/>
                    </a:lnTo>
                    <a:lnTo>
                      <a:pt x="605" y="69"/>
                    </a:lnTo>
                    <a:lnTo>
                      <a:pt x="593" y="58"/>
                    </a:lnTo>
                    <a:lnTo>
                      <a:pt x="581" y="45"/>
                    </a:lnTo>
                    <a:lnTo>
                      <a:pt x="558" y="20"/>
                    </a:lnTo>
                    <a:lnTo>
                      <a:pt x="177" y="0"/>
                    </a:lnTo>
                    <a:lnTo>
                      <a:pt x="0" y="339"/>
                    </a:lnTo>
                    <a:lnTo>
                      <a:pt x="23" y="370"/>
                    </a:lnTo>
                    <a:lnTo>
                      <a:pt x="34" y="385"/>
                    </a:lnTo>
                    <a:lnTo>
                      <a:pt x="46" y="399"/>
                    </a:lnTo>
                    <a:lnTo>
                      <a:pt x="69" y="428"/>
                    </a:lnTo>
                    <a:lnTo>
                      <a:pt x="94" y="456"/>
                    </a:lnTo>
                    <a:lnTo>
                      <a:pt x="119" y="485"/>
                    </a:lnTo>
                    <a:lnTo>
                      <a:pt x="132" y="498"/>
                    </a:lnTo>
                    <a:lnTo>
                      <a:pt x="145" y="511"/>
                    </a:lnTo>
                    <a:lnTo>
                      <a:pt x="159" y="524"/>
                    </a:lnTo>
                    <a:lnTo>
                      <a:pt x="173" y="537"/>
                    </a:lnTo>
                    <a:lnTo>
                      <a:pt x="187" y="550"/>
                    </a:lnTo>
                    <a:lnTo>
                      <a:pt x="201" y="562"/>
                    </a:lnTo>
                    <a:lnTo>
                      <a:pt x="215" y="575"/>
                    </a:lnTo>
                    <a:lnTo>
                      <a:pt x="229" y="587"/>
                    </a:lnTo>
                    <a:lnTo>
                      <a:pt x="258" y="610"/>
                    </a:lnTo>
                    <a:lnTo>
                      <a:pt x="273" y="621"/>
                    </a:lnTo>
                    <a:lnTo>
                      <a:pt x="288" y="633"/>
                    </a:lnTo>
                    <a:lnTo>
                      <a:pt x="303" y="645"/>
                    </a:lnTo>
                    <a:lnTo>
                      <a:pt x="319" y="655"/>
                    </a:lnTo>
                    <a:lnTo>
                      <a:pt x="351" y="676"/>
                    </a:lnTo>
                    <a:lnTo>
                      <a:pt x="383" y="696"/>
                    </a:lnTo>
                    <a:lnTo>
                      <a:pt x="415" y="715"/>
                    </a:lnTo>
                    <a:lnTo>
                      <a:pt x="448" y="733"/>
                    </a:lnTo>
                    <a:lnTo>
                      <a:pt x="481" y="750"/>
                    </a:lnTo>
                    <a:lnTo>
                      <a:pt x="517" y="766"/>
                    </a:lnTo>
                    <a:lnTo>
                      <a:pt x="551" y="782"/>
                    </a:lnTo>
                    <a:lnTo>
                      <a:pt x="586" y="796"/>
                    </a:lnTo>
                    <a:lnTo>
                      <a:pt x="604" y="803"/>
                    </a:lnTo>
                    <a:lnTo>
                      <a:pt x="622" y="810"/>
                    </a:lnTo>
                    <a:lnTo>
                      <a:pt x="640" y="816"/>
                    </a:lnTo>
                    <a:lnTo>
                      <a:pt x="659" y="822"/>
                    </a:lnTo>
                    <a:lnTo>
                      <a:pt x="696" y="833"/>
                    </a:lnTo>
                    <a:lnTo>
                      <a:pt x="733" y="843"/>
                    </a:lnTo>
                    <a:lnTo>
                      <a:pt x="771" y="852"/>
                    </a:lnTo>
                    <a:lnTo>
                      <a:pt x="810" y="859"/>
                    </a:lnTo>
                    <a:lnTo>
                      <a:pt x="829" y="863"/>
                    </a:lnTo>
                    <a:lnTo>
                      <a:pt x="848" y="866"/>
                    </a:lnTo>
                    <a:lnTo>
                      <a:pt x="887" y="871"/>
                    </a:lnTo>
                    <a:lnTo>
                      <a:pt x="926" y="876"/>
                    </a:lnTo>
                    <a:lnTo>
                      <a:pt x="946" y="877"/>
                    </a:lnTo>
                    <a:lnTo>
                      <a:pt x="967" y="879"/>
                    </a:lnTo>
                    <a:lnTo>
                      <a:pt x="987" y="880"/>
                    </a:lnTo>
                    <a:lnTo>
                      <a:pt x="1007" y="881"/>
                    </a:lnTo>
                    <a:lnTo>
                      <a:pt x="1027" y="881"/>
                    </a:lnTo>
                    <a:lnTo>
                      <a:pt x="1047" y="881"/>
                    </a:lnTo>
                    <a:lnTo>
                      <a:pt x="1067" y="881"/>
                    </a:lnTo>
                    <a:lnTo>
                      <a:pt x="865" y="540"/>
                    </a:lnTo>
                    <a:lnTo>
                      <a:pt x="1065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5" name="Oval 94"/>
            <p:cNvSpPr/>
            <p:nvPr/>
          </p:nvSpPr>
          <p:spPr>
            <a:xfrm>
              <a:off x="3175085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887465" y="3661693"/>
            <a:ext cx="2015999" cy="2016000"/>
            <a:chOff x="4887465" y="3661693"/>
            <a:chExt cx="2015999" cy="2016000"/>
          </a:xfrm>
        </p:grpSpPr>
        <p:grpSp>
          <p:nvGrpSpPr>
            <p:cNvPr id="74" name="Group 27"/>
            <p:cNvGrpSpPr>
              <a:grpSpLocks/>
            </p:cNvGrpSpPr>
            <p:nvPr/>
          </p:nvGrpSpPr>
          <p:grpSpPr bwMode="auto">
            <a:xfrm>
              <a:off x="4887465" y="3661693"/>
              <a:ext cx="2015999" cy="2016000"/>
              <a:chOff x="1840" y="1377"/>
              <a:chExt cx="2561" cy="2561"/>
            </a:xfrm>
            <a:solidFill>
              <a:srgbClr val="2F52A0"/>
            </a:solidFill>
          </p:grpSpPr>
          <p:sp>
            <p:nvSpPr>
              <p:cNvPr id="75" name="Freeform 28"/>
              <p:cNvSpPr>
                <a:spLocks noChangeAspect="1"/>
              </p:cNvSpPr>
              <p:nvPr/>
            </p:nvSpPr>
            <p:spPr bwMode="auto">
              <a:xfrm>
                <a:off x="3141" y="1377"/>
                <a:ext cx="947" cy="849"/>
              </a:xfrm>
              <a:custGeom>
                <a:avLst/>
                <a:gdLst>
                  <a:gd name="T0" fmla="*/ 38 w 947"/>
                  <a:gd name="T1" fmla="*/ 1 h 849"/>
                  <a:gd name="T2" fmla="*/ 108 w 947"/>
                  <a:gd name="T3" fmla="*/ 6 h 849"/>
                  <a:gd name="T4" fmla="*/ 176 w 947"/>
                  <a:gd name="T5" fmla="*/ 15 h 849"/>
                  <a:gd name="T6" fmla="*/ 210 w 947"/>
                  <a:gd name="T7" fmla="*/ 21 h 849"/>
                  <a:gd name="T8" fmla="*/ 277 w 947"/>
                  <a:gd name="T9" fmla="*/ 34 h 849"/>
                  <a:gd name="T10" fmla="*/ 342 w 947"/>
                  <a:gd name="T11" fmla="*/ 52 h 849"/>
                  <a:gd name="T12" fmla="*/ 407 w 947"/>
                  <a:gd name="T13" fmla="*/ 72 h 849"/>
                  <a:gd name="T14" fmla="*/ 469 w 947"/>
                  <a:gd name="T15" fmla="*/ 97 h 849"/>
                  <a:gd name="T16" fmla="*/ 529 w 947"/>
                  <a:gd name="T17" fmla="*/ 124 h 849"/>
                  <a:gd name="T18" fmla="*/ 589 w 947"/>
                  <a:gd name="T19" fmla="*/ 154 h 849"/>
                  <a:gd name="T20" fmla="*/ 646 w 947"/>
                  <a:gd name="T21" fmla="*/ 187 h 849"/>
                  <a:gd name="T22" fmla="*/ 702 w 947"/>
                  <a:gd name="T23" fmla="*/ 222 h 849"/>
                  <a:gd name="T24" fmla="*/ 755 w 947"/>
                  <a:gd name="T25" fmla="*/ 262 h 849"/>
                  <a:gd name="T26" fmla="*/ 781 w 947"/>
                  <a:gd name="T27" fmla="*/ 282 h 849"/>
                  <a:gd name="T28" fmla="*/ 831 w 947"/>
                  <a:gd name="T29" fmla="*/ 324 h 849"/>
                  <a:gd name="T30" fmla="*/ 855 w 947"/>
                  <a:gd name="T31" fmla="*/ 346 h 849"/>
                  <a:gd name="T32" fmla="*/ 903 w 947"/>
                  <a:gd name="T33" fmla="*/ 392 h 849"/>
                  <a:gd name="T34" fmla="*/ 947 w 947"/>
                  <a:gd name="T35" fmla="*/ 441 h 849"/>
                  <a:gd name="T36" fmla="*/ 457 w 947"/>
                  <a:gd name="T37" fmla="*/ 849 h 849"/>
                  <a:gd name="T38" fmla="*/ 435 w 947"/>
                  <a:gd name="T39" fmla="*/ 826 h 849"/>
                  <a:gd name="T40" fmla="*/ 412 w 947"/>
                  <a:gd name="T41" fmla="*/ 804 h 849"/>
                  <a:gd name="T42" fmla="*/ 388 w 947"/>
                  <a:gd name="T43" fmla="*/ 784 h 849"/>
                  <a:gd name="T44" fmla="*/ 363 w 947"/>
                  <a:gd name="T45" fmla="*/ 764 h 849"/>
                  <a:gd name="T46" fmla="*/ 323 w 947"/>
                  <a:gd name="T47" fmla="*/ 737 h 849"/>
                  <a:gd name="T48" fmla="*/ 296 w 947"/>
                  <a:gd name="T49" fmla="*/ 720 h 849"/>
                  <a:gd name="T50" fmla="*/ 268 w 947"/>
                  <a:gd name="T51" fmla="*/ 705 h 849"/>
                  <a:gd name="T52" fmla="*/ 240 w 947"/>
                  <a:gd name="T53" fmla="*/ 691 h 849"/>
                  <a:gd name="T54" fmla="*/ 209 w 947"/>
                  <a:gd name="T55" fmla="*/ 679 h 849"/>
                  <a:gd name="T56" fmla="*/ 179 w 947"/>
                  <a:gd name="T57" fmla="*/ 668 h 849"/>
                  <a:gd name="T58" fmla="*/ 148 w 947"/>
                  <a:gd name="T59" fmla="*/ 659 h 849"/>
                  <a:gd name="T60" fmla="*/ 116 w 947"/>
                  <a:gd name="T61" fmla="*/ 651 h 849"/>
                  <a:gd name="T62" fmla="*/ 84 w 947"/>
                  <a:gd name="T63" fmla="*/ 645 h 849"/>
                  <a:gd name="T64" fmla="*/ 34 w 947"/>
                  <a:gd name="T65" fmla="*/ 639 h 849"/>
                  <a:gd name="T66" fmla="*/ 0 w 947"/>
                  <a:gd name="T67" fmla="*/ 637 h 849"/>
                  <a:gd name="T68" fmla="*/ 3 w 947"/>
                  <a:gd name="T69" fmla="*/ 0 h 8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7"/>
                  <a:gd name="T106" fmla="*/ 0 h 849"/>
                  <a:gd name="T107" fmla="*/ 947 w 947"/>
                  <a:gd name="T108" fmla="*/ 849 h 84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7" h="849">
                    <a:moveTo>
                      <a:pt x="3" y="0"/>
                    </a:moveTo>
                    <a:lnTo>
                      <a:pt x="38" y="1"/>
                    </a:lnTo>
                    <a:lnTo>
                      <a:pt x="74" y="3"/>
                    </a:lnTo>
                    <a:lnTo>
                      <a:pt x="108" y="6"/>
                    </a:lnTo>
                    <a:lnTo>
                      <a:pt x="142" y="10"/>
                    </a:lnTo>
                    <a:lnTo>
                      <a:pt x="176" y="15"/>
                    </a:lnTo>
                    <a:lnTo>
                      <a:pt x="193" y="18"/>
                    </a:lnTo>
                    <a:lnTo>
                      <a:pt x="210" y="21"/>
                    </a:lnTo>
                    <a:lnTo>
                      <a:pt x="244" y="27"/>
                    </a:lnTo>
                    <a:lnTo>
                      <a:pt x="277" y="34"/>
                    </a:lnTo>
                    <a:lnTo>
                      <a:pt x="310" y="43"/>
                    </a:lnTo>
                    <a:lnTo>
                      <a:pt x="342" y="52"/>
                    </a:lnTo>
                    <a:lnTo>
                      <a:pt x="374" y="62"/>
                    </a:lnTo>
                    <a:lnTo>
                      <a:pt x="407" y="72"/>
                    </a:lnTo>
                    <a:lnTo>
                      <a:pt x="438" y="85"/>
                    </a:lnTo>
                    <a:lnTo>
                      <a:pt x="469" y="97"/>
                    </a:lnTo>
                    <a:lnTo>
                      <a:pt x="499" y="110"/>
                    </a:lnTo>
                    <a:lnTo>
                      <a:pt x="529" y="124"/>
                    </a:lnTo>
                    <a:lnTo>
                      <a:pt x="560" y="139"/>
                    </a:lnTo>
                    <a:lnTo>
                      <a:pt x="589" y="154"/>
                    </a:lnTo>
                    <a:lnTo>
                      <a:pt x="618" y="170"/>
                    </a:lnTo>
                    <a:lnTo>
                      <a:pt x="646" y="187"/>
                    </a:lnTo>
                    <a:lnTo>
                      <a:pt x="674" y="204"/>
                    </a:lnTo>
                    <a:lnTo>
                      <a:pt x="702" y="222"/>
                    </a:lnTo>
                    <a:lnTo>
                      <a:pt x="729" y="242"/>
                    </a:lnTo>
                    <a:lnTo>
                      <a:pt x="755" y="262"/>
                    </a:lnTo>
                    <a:lnTo>
                      <a:pt x="768" y="272"/>
                    </a:lnTo>
                    <a:lnTo>
                      <a:pt x="781" y="282"/>
                    </a:lnTo>
                    <a:lnTo>
                      <a:pt x="806" y="303"/>
                    </a:lnTo>
                    <a:lnTo>
                      <a:pt x="831" y="324"/>
                    </a:lnTo>
                    <a:lnTo>
                      <a:pt x="843" y="335"/>
                    </a:lnTo>
                    <a:lnTo>
                      <a:pt x="855" y="346"/>
                    </a:lnTo>
                    <a:lnTo>
                      <a:pt x="880" y="369"/>
                    </a:lnTo>
                    <a:lnTo>
                      <a:pt x="903" y="392"/>
                    </a:lnTo>
                    <a:lnTo>
                      <a:pt x="925" y="417"/>
                    </a:lnTo>
                    <a:lnTo>
                      <a:pt x="947" y="441"/>
                    </a:lnTo>
                    <a:lnTo>
                      <a:pt x="817" y="814"/>
                    </a:lnTo>
                    <a:lnTo>
                      <a:pt x="457" y="849"/>
                    </a:lnTo>
                    <a:lnTo>
                      <a:pt x="446" y="837"/>
                    </a:lnTo>
                    <a:lnTo>
                      <a:pt x="435" y="826"/>
                    </a:lnTo>
                    <a:lnTo>
                      <a:pt x="424" y="815"/>
                    </a:lnTo>
                    <a:lnTo>
                      <a:pt x="412" y="804"/>
                    </a:lnTo>
                    <a:lnTo>
                      <a:pt x="400" y="794"/>
                    </a:lnTo>
                    <a:lnTo>
                      <a:pt x="388" y="784"/>
                    </a:lnTo>
                    <a:lnTo>
                      <a:pt x="375" y="774"/>
                    </a:lnTo>
                    <a:lnTo>
                      <a:pt x="363" y="764"/>
                    </a:lnTo>
                    <a:lnTo>
                      <a:pt x="337" y="746"/>
                    </a:lnTo>
                    <a:lnTo>
                      <a:pt x="323" y="737"/>
                    </a:lnTo>
                    <a:lnTo>
                      <a:pt x="310" y="729"/>
                    </a:lnTo>
                    <a:lnTo>
                      <a:pt x="296" y="720"/>
                    </a:lnTo>
                    <a:lnTo>
                      <a:pt x="282" y="712"/>
                    </a:lnTo>
                    <a:lnTo>
                      <a:pt x="268" y="705"/>
                    </a:lnTo>
                    <a:lnTo>
                      <a:pt x="254" y="698"/>
                    </a:lnTo>
                    <a:lnTo>
                      <a:pt x="240" y="691"/>
                    </a:lnTo>
                    <a:lnTo>
                      <a:pt x="225" y="685"/>
                    </a:lnTo>
                    <a:lnTo>
                      <a:pt x="209" y="679"/>
                    </a:lnTo>
                    <a:lnTo>
                      <a:pt x="194" y="673"/>
                    </a:lnTo>
                    <a:lnTo>
                      <a:pt x="179" y="668"/>
                    </a:lnTo>
                    <a:lnTo>
                      <a:pt x="163" y="663"/>
                    </a:lnTo>
                    <a:lnTo>
                      <a:pt x="148" y="659"/>
                    </a:lnTo>
                    <a:lnTo>
                      <a:pt x="132" y="655"/>
                    </a:lnTo>
                    <a:lnTo>
                      <a:pt x="116" y="651"/>
                    </a:lnTo>
                    <a:lnTo>
                      <a:pt x="100" y="648"/>
                    </a:lnTo>
                    <a:lnTo>
                      <a:pt x="84" y="645"/>
                    </a:lnTo>
                    <a:lnTo>
                      <a:pt x="68" y="642"/>
                    </a:lnTo>
                    <a:lnTo>
                      <a:pt x="34" y="639"/>
                    </a:lnTo>
                    <a:lnTo>
                      <a:pt x="17" y="638"/>
                    </a:lnTo>
                    <a:lnTo>
                      <a:pt x="0" y="637"/>
                    </a:lnTo>
                    <a:lnTo>
                      <a:pt x="198" y="348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6" name="Freeform 29"/>
              <p:cNvSpPr>
                <a:spLocks noChangeAspect="1"/>
              </p:cNvSpPr>
              <p:nvPr/>
            </p:nvSpPr>
            <p:spPr bwMode="auto">
              <a:xfrm>
                <a:off x="3643" y="1874"/>
                <a:ext cx="758" cy="1132"/>
              </a:xfrm>
              <a:custGeom>
                <a:avLst/>
                <a:gdLst>
                  <a:gd name="T0" fmla="*/ 14 w 758"/>
                  <a:gd name="T1" fmla="*/ 428 h 1132"/>
                  <a:gd name="T2" fmla="*/ 41 w 758"/>
                  <a:gd name="T3" fmla="*/ 469 h 1132"/>
                  <a:gd name="T4" fmla="*/ 63 w 758"/>
                  <a:gd name="T5" fmla="*/ 513 h 1132"/>
                  <a:gd name="T6" fmla="*/ 77 w 758"/>
                  <a:gd name="T7" fmla="*/ 548 h 1132"/>
                  <a:gd name="T8" fmla="*/ 90 w 758"/>
                  <a:gd name="T9" fmla="*/ 583 h 1132"/>
                  <a:gd name="T10" fmla="*/ 104 w 758"/>
                  <a:gd name="T11" fmla="*/ 631 h 1132"/>
                  <a:gd name="T12" fmla="*/ 114 w 758"/>
                  <a:gd name="T13" fmla="*/ 680 h 1132"/>
                  <a:gd name="T14" fmla="*/ 120 w 758"/>
                  <a:gd name="T15" fmla="*/ 732 h 1132"/>
                  <a:gd name="T16" fmla="*/ 122 w 758"/>
                  <a:gd name="T17" fmla="*/ 784 h 1132"/>
                  <a:gd name="T18" fmla="*/ 120 w 758"/>
                  <a:gd name="T19" fmla="*/ 829 h 1132"/>
                  <a:gd name="T20" fmla="*/ 116 w 758"/>
                  <a:gd name="T21" fmla="*/ 874 h 1132"/>
                  <a:gd name="T22" fmla="*/ 740 w 758"/>
                  <a:gd name="T23" fmla="*/ 1002 h 1132"/>
                  <a:gd name="T24" fmla="*/ 748 w 758"/>
                  <a:gd name="T25" fmla="*/ 948 h 1132"/>
                  <a:gd name="T26" fmla="*/ 754 w 758"/>
                  <a:gd name="T27" fmla="*/ 894 h 1132"/>
                  <a:gd name="T28" fmla="*/ 757 w 758"/>
                  <a:gd name="T29" fmla="*/ 839 h 1132"/>
                  <a:gd name="T30" fmla="*/ 758 w 758"/>
                  <a:gd name="T31" fmla="*/ 784 h 1132"/>
                  <a:gd name="T32" fmla="*/ 757 w 758"/>
                  <a:gd name="T33" fmla="*/ 729 h 1132"/>
                  <a:gd name="T34" fmla="*/ 754 w 758"/>
                  <a:gd name="T35" fmla="*/ 674 h 1132"/>
                  <a:gd name="T36" fmla="*/ 748 w 758"/>
                  <a:gd name="T37" fmla="*/ 621 h 1132"/>
                  <a:gd name="T38" fmla="*/ 740 w 758"/>
                  <a:gd name="T39" fmla="*/ 568 h 1132"/>
                  <a:gd name="T40" fmla="*/ 730 w 758"/>
                  <a:gd name="T41" fmla="*/ 515 h 1132"/>
                  <a:gd name="T42" fmla="*/ 718 w 758"/>
                  <a:gd name="T43" fmla="*/ 464 h 1132"/>
                  <a:gd name="T44" fmla="*/ 704 w 758"/>
                  <a:gd name="T45" fmla="*/ 413 h 1132"/>
                  <a:gd name="T46" fmla="*/ 688 w 758"/>
                  <a:gd name="T47" fmla="*/ 362 h 1132"/>
                  <a:gd name="T48" fmla="*/ 669 w 758"/>
                  <a:gd name="T49" fmla="*/ 314 h 1132"/>
                  <a:gd name="T50" fmla="*/ 649 w 758"/>
                  <a:gd name="T51" fmla="*/ 266 h 1132"/>
                  <a:gd name="T52" fmla="*/ 627 w 758"/>
                  <a:gd name="T53" fmla="*/ 218 h 1132"/>
                  <a:gd name="T54" fmla="*/ 603 w 758"/>
                  <a:gd name="T55" fmla="*/ 172 h 1132"/>
                  <a:gd name="T56" fmla="*/ 578 w 758"/>
                  <a:gd name="T57" fmla="*/ 128 h 1132"/>
                  <a:gd name="T58" fmla="*/ 551 w 758"/>
                  <a:gd name="T59" fmla="*/ 84 h 1132"/>
                  <a:gd name="T60" fmla="*/ 522 w 758"/>
                  <a:gd name="T61" fmla="*/ 41 h 1132"/>
                  <a:gd name="T62" fmla="*/ 491 w 758"/>
                  <a:gd name="T63" fmla="*/ 0 h 1132"/>
                  <a:gd name="T64" fmla="*/ 0 w 758"/>
                  <a:gd name="T65" fmla="*/ 408 h 11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8"/>
                  <a:gd name="T100" fmla="*/ 0 h 1132"/>
                  <a:gd name="T101" fmla="*/ 758 w 758"/>
                  <a:gd name="T102" fmla="*/ 1132 h 11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8" h="1132">
                    <a:moveTo>
                      <a:pt x="0" y="408"/>
                    </a:moveTo>
                    <a:lnTo>
                      <a:pt x="14" y="428"/>
                    </a:lnTo>
                    <a:lnTo>
                      <a:pt x="27" y="448"/>
                    </a:lnTo>
                    <a:lnTo>
                      <a:pt x="41" y="469"/>
                    </a:lnTo>
                    <a:lnTo>
                      <a:pt x="52" y="491"/>
                    </a:lnTo>
                    <a:lnTo>
                      <a:pt x="63" y="513"/>
                    </a:lnTo>
                    <a:lnTo>
                      <a:pt x="73" y="535"/>
                    </a:lnTo>
                    <a:lnTo>
                      <a:pt x="77" y="548"/>
                    </a:lnTo>
                    <a:lnTo>
                      <a:pt x="82" y="559"/>
                    </a:lnTo>
                    <a:lnTo>
                      <a:pt x="90" y="583"/>
                    </a:lnTo>
                    <a:lnTo>
                      <a:pt x="97" y="607"/>
                    </a:lnTo>
                    <a:lnTo>
                      <a:pt x="104" y="631"/>
                    </a:lnTo>
                    <a:lnTo>
                      <a:pt x="109" y="655"/>
                    </a:lnTo>
                    <a:lnTo>
                      <a:pt x="114" y="680"/>
                    </a:lnTo>
                    <a:lnTo>
                      <a:pt x="117" y="706"/>
                    </a:lnTo>
                    <a:lnTo>
                      <a:pt x="120" y="732"/>
                    </a:lnTo>
                    <a:lnTo>
                      <a:pt x="121" y="758"/>
                    </a:lnTo>
                    <a:lnTo>
                      <a:pt x="122" y="784"/>
                    </a:lnTo>
                    <a:lnTo>
                      <a:pt x="121" y="806"/>
                    </a:lnTo>
                    <a:lnTo>
                      <a:pt x="120" y="829"/>
                    </a:lnTo>
                    <a:lnTo>
                      <a:pt x="118" y="851"/>
                    </a:lnTo>
                    <a:lnTo>
                      <a:pt x="116" y="874"/>
                    </a:lnTo>
                    <a:lnTo>
                      <a:pt x="370" y="1132"/>
                    </a:lnTo>
                    <a:lnTo>
                      <a:pt x="740" y="1002"/>
                    </a:lnTo>
                    <a:lnTo>
                      <a:pt x="744" y="975"/>
                    </a:lnTo>
                    <a:lnTo>
                      <a:pt x="748" y="948"/>
                    </a:lnTo>
                    <a:lnTo>
                      <a:pt x="751" y="922"/>
                    </a:lnTo>
                    <a:lnTo>
                      <a:pt x="754" y="894"/>
                    </a:lnTo>
                    <a:lnTo>
                      <a:pt x="756" y="867"/>
                    </a:lnTo>
                    <a:lnTo>
                      <a:pt x="757" y="839"/>
                    </a:lnTo>
                    <a:lnTo>
                      <a:pt x="758" y="811"/>
                    </a:lnTo>
                    <a:lnTo>
                      <a:pt x="758" y="784"/>
                    </a:lnTo>
                    <a:lnTo>
                      <a:pt x="758" y="756"/>
                    </a:lnTo>
                    <a:lnTo>
                      <a:pt x="757" y="729"/>
                    </a:lnTo>
                    <a:lnTo>
                      <a:pt x="756" y="701"/>
                    </a:lnTo>
                    <a:lnTo>
                      <a:pt x="754" y="674"/>
                    </a:lnTo>
                    <a:lnTo>
                      <a:pt x="751" y="647"/>
                    </a:lnTo>
                    <a:lnTo>
                      <a:pt x="748" y="621"/>
                    </a:lnTo>
                    <a:lnTo>
                      <a:pt x="744" y="594"/>
                    </a:lnTo>
                    <a:lnTo>
                      <a:pt x="740" y="568"/>
                    </a:lnTo>
                    <a:lnTo>
                      <a:pt x="735" y="541"/>
                    </a:lnTo>
                    <a:lnTo>
                      <a:pt x="730" y="515"/>
                    </a:lnTo>
                    <a:lnTo>
                      <a:pt x="724" y="489"/>
                    </a:lnTo>
                    <a:lnTo>
                      <a:pt x="718" y="464"/>
                    </a:lnTo>
                    <a:lnTo>
                      <a:pt x="711" y="438"/>
                    </a:lnTo>
                    <a:lnTo>
                      <a:pt x="704" y="413"/>
                    </a:lnTo>
                    <a:lnTo>
                      <a:pt x="696" y="388"/>
                    </a:lnTo>
                    <a:lnTo>
                      <a:pt x="688" y="362"/>
                    </a:lnTo>
                    <a:lnTo>
                      <a:pt x="679" y="338"/>
                    </a:lnTo>
                    <a:lnTo>
                      <a:pt x="669" y="314"/>
                    </a:lnTo>
                    <a:lnTo>
                      <a:pt x="659" y="290"/>
                    </a:lnTo>
                    <a:lnTo>
                      <a:pt x="649" y="266"/>
                    </a:lnTo>
                    <a:lnTo>
                      <a:pt x="638" y="242"/>
                    </a:lnTo>
                    <a:lnTo>
                      <a:pt x="627" y="218"/>
                    </a:lnTo>
                    <a:lnTo>
                      <a:pt x="615" y="195"/>
                    </a:lnTo>
                    <a:lnTo>
                      <a:pt x="603" y="172"/>
                    </a:lnTo>
                    <a:lnTo>
                      <a:pt x="591" y="150"/>
                    </a:lnTo>
                    <a:lnTo>
                      <a:pt x="578" y="128"/>
                    </a:lnTo>
                    <a:lnTo>
                      <a:pt x="565" y="106"/>
                    </a:lnTo>
                    <a:lnTo>
                      <a:pt x="551" y="84"/>
                    </a:lnTo>
                    <a:lnTo>
                      <a:pt x="537" y="62"/>
                    </a:lnTo>
                    <a:lnTo>
                      <a:pt x="522" y="41"/>
                    </a:lnTo>
                    <a:lnTo>
                      <a:pt x="506" y="20"/>
                    </a:lnTo>
                    <a:lnTo>
                      <a:pt x="491" y="0"/>
                    </a:lnTo>
                    <a:lnTo>
                      <a:pt x="350" y="388"/>
                    </a:lnTo>
                    <a:lnTo>
                      <a:pt x="0" y="4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7" name="Freeform 30"/>
              <p:cNvSpPr>
                <a:spLocks noChangeAspect="1"/>
              </p:cNvSpPr>
              <p:nvPr/>
            </p:nvSpPr>
            <p:spPr bwMode="auto">
              <a:xfrm>
                <a:off x="3435" y="2824"/>
                <a:ext cx="934" cy="943"/>
              </a:xfrm>
              <a:custGeom>
                <a:avLst/>
                <a:gdLst>
                  <a:gd name="T0" fmla="*/ 0 w 934"/>
                  <a:gd name="T1" fmla="*/ 736 h 943"/>
                  <a:gd name="T2" fmla="*/ 52 w 934"/>
                  <a:gd name="T3" fmla="*/ 365 h 943"/>
                  <a:gd name="T4" fmla="*/ 88 w 934"/>
                  <a:gd name="T5" fmla="*/ 339 h 943"/>
                  <a:gd name="T6" fmla="*/ 132 w 934"/>
                  <a:gd name="T7" fmla="*/ 301 h 943"/>
                  <a:gd name="T8" fmla="*/ 162 w 934"/>
                  <a:gd name="T9" fmla="*/ 270 h 943"/>
                  <a:gd name="T10" fmla="*/ 181 w 934"/>
                  <a:gd name="T11" fmla="*/ 248 h 943"/>
                  <a:gd name="T12" fmla="*/ 199 w 934"/>
                  <a:gd name="T13" fmla="*/ 224 h 943"/>
                  <a:gd name="T14" fmla="*/ 224 w 934"/>
                  <a:gd name="T15" fmla="*/ 188 h 943"/>
                  <a:gd name="T16" fmla="*/ 239 w 934"/>
                  <a:gd name="T17" fmla="*/ 164 h 943"/>
                  <a:gd name="T18" fmla="*/ 261 w 934"/>
                  <a:gd name="T19" fmla="*/ 125 h 943"/>
                  <a:gd name="T20" fmla="*/ 274 w 934"/>
                  <a:gd name="T21" fmla="*/ 99 h 943"/>
                  <a:gd name="T22" fmla="*/ 290 w 934"/>
                  <a:gd name="T23" fmla="*/ 56 h 943"/>
                  <a:gd name="T24" fmla="*/ 300 w 934"/>
                  <a:gd name="T25" fmla="*/ 28 h 943"/>
                  <a:gd name="T26" fmla="*/ 308 w 934"/>
                  <a:gd name="T27" fmla="*/ 0 h 943"/>
                  <a:gd name="T28" fmla="*/ 934 w 934"/>
                  <a:gd name="T29" fmla="*/ 123 h 943"/>
                  <a:gd name="T30" fmla="*/ 917 w 934"/>
                  <a:gd name="T31" fmla="*/ 188 h 943"/>
                  <a:gd name="T32" fmla="*/ 897 w 934"/>
                  <a:gd name="T33" fmla="*/ 252 h 943"/>
                  <a:gd name="T34" fmla="*/ 886 w 934"/>
                  <a:gd name="T35" fmla="*/ 283 h 943"/>
                  <a:gd name="T36" fmla="*/ 867 w 934"/>
                  <a:gd name="T37" fmla="*/ 329 h 943"/>
                  <a:gd name="T38" fmla="*/ 847 w 934"/>
                  <a:gd name="T39" fmla="*/ 374 h 943"/>
                  <a:gd name="T40" fmla="*/ 833 w 934"/>
                  <a:gd name="T41" fmla="*/ 405 h 943"/>
                  <a:gd name="T42" fmla="*/ 802 w 934"/>
                  <a:gd name="T43" fmla="*/ 462 h 943"/>
                  <a:gd name="T44" fmla="*/ 769 w 934"/>
                  <a:gd name="T45" fmla="*/ 518 h 943"/>
                  <a:gd name="T46" fmla="*/ 733 w 934"/>
                  <a:gd name="T47" fmla="*/ 573 h 943"/>
                  <a:gd name="T48" fmla="*/ 693 w 934"/>
                  <a:gd name="T49" fmla="*/ 625 h 943"/>
                  <a:gd name="T50" fmla="*/ 663 w 934"/>
                  <a:gd name="T51" fmla="*/ 662 h 943"/>
                  <a:gd name="T52" fmla="*/ 631 w 934"/>
                  <a:gd name="T53" fmla="*/ 699 h 943"/>
                  <a:gd name="T54" fmla="*/ 586 w 934"/>
                  <a:gd name="T55" fmla="*/ 746 h 943"/>
                  <a:gd name="T56" fmla="*/ 538 w 934"/>
                  <a:gd name="T57" fmla="*/ 790 h 943"/>
                  <a:gd name="T58" fmla="*/ 488 w 934"/>
                  <a:gd name="T59" fmla="*/ 832 h 943"/>
                  <a:gd name="T60" fmla="*/ 437 w 934"/>
                  <a:gd name="T61" fmla="*/ 871 h 943"/>
                  <a:gd name="T62" fmla="*/ 382 w 934"/>
                  <a:gd name="T63" fmla="*/ 909 h 943"/>
                  <a:gd name="T64" fmla="*/ 355 w 934"/>
                  <a:gd name="T65" fmla="*/ 926 h 943"/>
                  <a:gd name="T66" fmla="*/ 327 w 934"/>
                  <a:gd name="T67" fmla="*/ 943 h 9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34"/>
                  <a:gd name="T103" fmla="*/ 0 h 943"/>
                  <a:gd name="T104" fmla="*/ 934 w 934"/>
                  <a:gd name="T105" fmla="*/ 943 h 9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34" h="943">
                    <a:moveTo>
                      <a:pt x="327" y="943"/>
                    </a:moveTo>
                    <a:lnTo>
                      <a:pt x="0" y="736"/>
                    </a:lnTo>
                    <a:lnTo>
                      <a:pt x="40" y="374"/>
                    </a:lnTo>
                    <a:lnTo>
                      <a:pt x="52" y="365"/>
                    </a:lnTo>
                    <a:lnTo>
                      <a:pt x="64" y="357"/>
                    </a:lnTo>
                    <a:lnTo>
                      <a:pt x="88" y="339"/>
                    </a:lnTo>
                    <a:lnTo>
                      <a:pt x="111" y="321"/>
                    </a:lnTo>
                    <a:lnTo>
                      <a:pt x="132" y="301"/>
                    </a:lnTo>
                    <a:lnTo>
                      <a:pt x="152" y="281"/>
                    </a:lnTo>
                    <a:lnTo>
                      <a:pt x="162" y="270"/>
                    </a:lnTo>
                    <a:lnTo>
                      <a:pt x="172" y="259"/>
                    </a:lnTo>
                    <a:lnTo>
                      <a:pt x="181" y="248"/>
                    </a:lnTo>
                    <a:lnTo>
                      <a:pt x="190" y="237"/>
                    </a:lnTo>
                    <a:lnTo>
                      <a:pt x="199" y="224"/>
                    </a:lnTo>
                    <a:lnTo>
                      <a:pt x="208" y="213"/>
                    </a:lnTo>
                    <a:lnTo>
                      <a:pt x="224" y="188"/>
                    </a:lnTo>
                    <a:lnTo>
                      <a:pt x="232" y="176"/>
                    </a:lnTo>
                    <a:lnTo>
                      <a:pt x="239" y="164"/>
                    </a:lnTo>
                    <a:lnTo>
                      <a:pt x="255" y="138"/>
                    </a:lnTo>
                    <a:lnTo>
                      <a:pt x="261" y="125"/>
                    </a:lnTo>
                    <a:lnTo>
                      <a:pt x="268" y="112"/>
                    </a:lnTo>
                    <a:lnTo>
                      <a:pt x="274" y="99"/>
                    </a:lnTo>
                    <a:lnTo>
                      <a:pt x="280" y="85"/>
                    </a:lnTo>
                    <a:lnTo>
                      <a:pt x="290" y="56"/>
                    </a:lnTo>
                    <a:lnTo>
                      <a:pt x="295" y="42"/>
                    </a:lnTo>
                    <a:lnTo>
                      <a:pt x="300" y="28"/>
                    </a:lnTo>
                    <a:lnTo>
                      <a:pt x="304" y="14"/>
                    </a:lnTo>
                    <a:lnTo>
                      <a:pt x="308" y="0"/>
                    </a:lnTo>
                    <a:lnTo>
                      <a:pt x="544" y="255"/>
                    </a:lnTo>
                    <a:lnTo>
                      <a:pt x="934" y="123"/>
                    </a:lnTo>
                    <a:lnTo>
                      <a:pt x="926" y="156"/>
                    </a:lnTo>
                    <a:lnTo>
                      <a:pt x="917" y="188"/>
                    </a:lnTo>
                    <a:lnTo>
                      <a:pt x="907" y="220"/>
                    </a:lnTo>
                    <a:lnTo>
                      <a:pt x="897" y="252"/>
                    </a:lnTo>
                    <a:lnTo>
                      <a:pt x="891" y="268"/>
                    </a:lnTo>
                    <a:lnTo>
                      <a:pt x="886" y="283"/>
                    </a:lnTo>
                    <a:lnTo>
                      <a:pt x="873" y="314"/>
                    </a:lnTo>
                    <a:lnTo>
                      <a:pt x="867" y="329"/>
                    </a:lnTo>
                    <a:lnTo>
                      <a:pt x="860" y="344"/>
                    </a:lnTo>
                    <a:lnTo>
                      <a:pt x="847" y="374"/>
                    </a:lnTo>
                    <a:lnTo>
                      <a:pt x="840" y="389"/>
                    </a:lnTo>
                    <a:lnTo>
                      <a:pt x="833" y="405"/>
                    </a:lnTo>
                    <a:lnTo>
                      <a:pt x="818" y="434"/>
                    </a:lnTo>
                    <a:lnTo>
                      <a:pt x="802" y="462"/>
                    </a:lnTo>
                    <a:lnTo>
                      <a:pt x="786" y="490"/>
                    </a:lnTo>
                    <a:lnTo>
                      <a:pt x="769" y="518"/>
                    </a:lnTo>
                    <a:lnTo>
                      <a:pt x="751" y="545"/>
                    </a:lnTo>
                    <a:lnTo>
                      <a:pt x="733" y="573"/>
                    </a:lnTo>
                    <a:lnTo>
                      <a:pt x="713" y="599"/>
                    </a:lnTo>
                    <a:lnTo>
                      <a:pt x="693" y="625"/>
                    </a:lnTo>
                    <a:lnTo>
                      <a:pt x="673" y="650"/>
                    </a:lnTo>
                    <a:lnTo>
                      <a:pt x="663" y="662"/>
                    </a:lnTo>
                    <a:lnTo>
                      <a:pt x="652" y="675"/>
                    </a:lnTo>
                    <a:lnTo>
                      <a:pt x="631" y="699"/>
                    </a:lnTo>
                    <a:lnTo>
                      <a:pt x="609" y="723"/>
                    </a:lnTo>
                    <a:lnTo>
                      <a:pt x="586" y="746"/>
                    </a:lnTo>
                    <a:lnTo>
                      <a:pt x="562" y="768"/>
                    </a:lnTo>
                    <a:lnTo>
                      <a:pt x="538" y="790"/>
                    </a:lnTo>
                    <a:lnTo>
                      <a:pt x="513" y="811"/>
                    </a:lnTo>
                    <a:lnTo>
                      <a:pt x="488" y="832"/>
                    </a:lnTo>
                    <a:lnTo>
                      <a:pt x="463" y="852"/>
                    </a:lnTo>
                    <a:lnTo>
                      <a:pt x="437" y="871"/>
                    </a:lnTo>
                    <a:lnTo>
                      <a:pt x="410" y="891"/>
                    </a:lnTo>
                    <a:lnTo>
                      <a:pt x="382" y="909"/>
                    </a:lnTo>
                    <a:lnTo>
                      <a:pt x="368" y="918"/>
                    </a:lnTo>
                    <a:lnTo>
                      <a:pt x="355" y="926"/>
                    </a:lnTo>
                    <a:lnTo>
                      <a:pt x="341" y="934"/>
                    </a:lnTo>
                    <a:lnTo>
                      <a:pt x="327" y="9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8" name="Freeform 31"/>
              <p:cNvSpPr>
                <a:spLocks noChangeAspect="1"/>
              </p:cNvSpPr>
              <p:nvPr/>
            </p:nvSpPr>
            <p:spPr bwMode="auto">
              <a:xfrm>
                <a:off x="2621" y="3236"/>
                <a:ext cx="1076" cy="702"/>
              </a:xfrm>
              <a:custGeom>
                <a:avLst/>
                <a:gdLst>
                  <a:gd name="T0" fmla="*/ 0 w 1076"/>
                  <a:gd name="T1" fmla="*/ 237 h 702"/>
                  <a:gd name="T2" fmla="*/ 344 w 1076"/>
                  <a:gd name="T3" fmla="*/ 47 h 702"/>
                  <a:gd name="T4" fmla="*/ 387 w 1076"/>
                  <a:gd name="T5" fmla="*/ 56 h 702"/>
                  <a:gd name="T6" fmla="*/ 432 w 1076"/>
                  <a:gd name="T7" fmla="*/ 62 h 702"/>
                  <a:gd name="T8" fmla="*/ 477 w 1076"/>
                  <a:gd name="T9" fmla="*/ 65 h 702"/>
                  <a:gd name="T10" fmla="*/ 519 w 1076"/>
                  <a:gd name="T11" fmla="*/ 65 h 702"/>
                  <a:gd name="T12" fmla="*/ 557 w 1076"/>
                  <a:gd name="T13" fmla="*/ 63 h 702"/>
                  <a:gd name="T14" fmla="*/ 595 w 1076"/>
                  <a:gd name="T15" fmla="*/ 59 h 702"/>
                  <a:gd name="T16" fmla="*/ 632 w 1076"/>
                  <a:gd name="T17" fmla="*/ 53 h 702"/>
                  <a:gd name="T18" fmla="*/ 659 w 1076"/>
                  <a:gd name="T19" fmla="*/ 47 h 702"/>
                  <a:gd name="T20" fmla="*/ 685 w 1076"/>
                  <a:gd name="T21" fmla="*/ 39 h 702"/>
                  <a:gd name="T22" fmla="*/ 720 w 1076"/>
                  <a:gd name="T23" fmla="*/ 28 h 702"/>
                  <a:gd name="T24" fmla="*/ 754 w 1076"/>
                  <a:gd name="T25" fmla="*/ 15 h 702"/>
                  <a:gd name="T26" fmla="*/ 787 w 1076"/>
                  <a:gd name="T27" fmla="*/ 0 h 702"/>
                  <a:gd name="T28" fmla="*/ 1076 w 1076"/>
                  <a:gd name="T29" fmla="*/ 566 h 702"/>
                  <a:gd name="T30" fmla="*/ 1042 w 1076"/>
                  <a:gd name="T31" fmla="*/ 581 h 702"/>
                  <a:gd name="T32" fmla="*/ 976 w 1076"/>
                  <a:gd name="T33" fmla="*/ 610 h 702"/>
                  <a:gd name="T34" fmla="*/ 907 w 1076"/>
                  <a:gd name="T35" fmla="*/ 636 h 702"/>
                  <a:gd name="T36" fmla="*/ 836 w 1076"/>
                  <a:gd name="T37" fmla="*/ 658 h 702"/>
                  <a:gd name="T38" fmla="*/ 764 w 1076"/>
                  <a:gd name="T39" fmla="*/ 675 h 702"/>
                  <a:gd name="T40" fmla="*/ 727 w 1076"/>
                  <a:gd name="T41" fmla="*/ 682 h 702"/>
                  <a:gd name="T42" fmla="*/ 690 w 1076"/>
                  <a:gd name="T43" fmla="*/ 688 h 702"/>
                  <a:gd name="T44" fmla="*/ 615 w 1076"/>
                  <a:gd name="T45" fmla="*/ 697 h 702"/>
                  <a:gd name="T46" fmla="*/ 538 w 1076"/>
                  <a:gd name="T47" fmla="*/ 702 h 702"/>
                  <a:gd name="T48" fmla="*/ 500 w 1076"/>
                  <a:gd name="T49" fmla="*/ 702 h 702"/>
                  <a:gd name="T50" fmla="*/ 437 w 1076"/>
                  <a:gd name="T51" fmla="*/ 701 h 702"/>
                  <a:gd name="T52" fmla="*/ 375 w 1076"/>
                  <a:gd name="T53" fmla="*/ 696 h 702"/>
                  <a:gd name="T54" fmla="*/ 314 w 1076"/>
                  <a:gd name="T55" fmla="*/ 689 h 702"/>
                  <a:gd name="T56" fmla="*/ 253 w 1076"/>
                  <a:gd name="T57" fmla="*/ 679 h 702"/>
                  <a:gd name="T58" fmla="*/ 195 w 1076"/>
                  <a:gd name="T59" fmla="*/ 666 h 702"/>
                  <a:gd name="T60" fmla="*/ 137 w 1076"/>
                  <a:gd name="T61" fmla="*/ 651 h 702"/>
                  <a:gd name="T62" fmla="*/ 80 w 1076"/>
                  <a:gd name="T63" fmla="*/ 632 h 702"/>
                  <a:gd name="T64" fmla="*/ 24 w 1076"/>
                  <a:gd name="T65" fmla="*/ 610 h 70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76"/>
                  <a:gd name="T100" fmla="*/ 0 h 702"/>
                  <a:gd name="T101" fmla="*/ 1076 w 1076"/>
                  <a:gd name="T102" fmla="*/ 702 h 70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76" h="702">
                    <a:moveTo>
                      <a:pt x="24" y="610"/>
                    </a:moveTo>
                    <a:lnTo>
                      <a:pt x="0" y="237"/>
                    </a:lnTo>
                    <a:lnTo>
                      <a:pt x="323" y="41"/>
                    </a:lnTo>
                    <a:lnTo>
                      <a:pt x="344" y="47"/>
                    </a:lnTo>
                    <a:lnTo>
                      <a:pt x="365" y="52"/>
                    </a:lnTo>
                    <a:lnTo>
                      <a:pt x="387" y="56"/>
                    </a:lnTo>
                    <a:lnTo>
                      <a:pt x="409" y="59"/>
                    </a:lnTo>
                    <a:lnTo>
                      <a:pt x="432" y="62"/>
                    </a:lnTo>
                    <a:lnTo>
                      <a:pt x="454" y="64"/>
                    </a:lnTo>
                    <a:lnTo>
                      <a:pt x="477" y="65"/>
                    </a:lnTo>
                    <a:lnTo>
                      <a:pt x="500" y="66"/>
                    </a:lnTo>
                    <a:lnTo>
                      <a:pt x="519" y="65"/>
                    </a:lnTo>
                    <a:lnTo>
                      <a:pt x="538" y="64"/>
                    </a:lnTo>
                    <a:lnTo>
                      <a:pt x="557" y="63"/>
                    </a:lnTo>
                    <a:lnTo>
                      <a:pt x="576" y="61"/>
                    </a:lnTo>
                    <a:lnTo>
                      <a:pt x="595" y="59"/>
                    </a:lnTo>
                    <a:lnTo>
                      <a:pt x="614" y="56"/>
                    </a:lnTo>
                    <a:lnTo>
                      <a:pt x="632" y="53"/>
                    </a:lnTo>
                    <a:lnTo>
                      <a:pt x="650" y="49"/>
                    </a:lnTo>
                    <a:lnTo>
                      <a:pt x="659" y="47"/>
                    </a:lnTo>
                    <a:lnTo>
                      <a:pt x="668" y="44"/>
                    </a:lnTo>
                    <a:lnTo>
                      <a:pt x="685" y="39"/>
                    </a:lnTo>
                    <a:lnTo>
                      <a:pt x="703" y="34"/>
                    </a:lnTo>
                    <a:lnTo>
                      <a:pt x="720" y="28"/>
                    </a:lnTo>
                    <a:lnTo>
                      <a:pt x="737" y="22"/>
                    </a:lnTo>
                    <a:lnTo>
                      <a:pt x="754" y="15"/>
                    </a:lnTo>
                    <a:lnTo>
                      <a:pt x="771" y="7"/>
                    </a:lnTo>
                    <a:lnTo>
                      <a:pt x="787" y="0"/>
                    </a:lnTo>
                    <a:lnTo>
                      <a:pt x="734" y="348"/>
                    </a:lnTo>
                    <a:lnTo>
                      <a:pt x="1076" y="566"/>
                    </a:lnTo>
                    <a:lnTo>
                      <a:pt x="1060" y="574"/>
                    </a:lnTo>
                    <a:lnTo>
                      <a:pt x="1042" y="581"/>
                    </a:lnTo>
                    <a:lnTo>
                      <a:pt x="1009" y="596"/>
                    </a:lnTo>
                    <a:lnTo>
                      <a:pt x="976" y="610"/>
                    </a:lnTo>
                    <a:lnTo>
                      <a:pt x="942" y="624"/>
                    </a:lnTo>
                    <a:lnTo>
                      <a:pt x="907" y="636"/>
                    </a:lnTo>
                    <a:lnTo>
                      <a:pt x="872" y="648"/>
                    </a:lnTo>
                    <a:lnTo>
                      <a:pt x="836" y="658"/>
                    </a:lnTo>
                    <a:lnTo>
                      <a:pt x="801" y="667"/>
                    </a:lnTo>
                    <a:lnTo>
                      <a:pt x="764" y="675"/>
                    </a:lnTo>
                    <a:lnTo>
                      <a:pt x="746" y="679"/>
                    </a:lnTo>
                    <a:lnTo>
                      <a:pt x="727" y="682"/>
                    </a:lnTo>
                    <a:lnTo>
                      <a:pt x="708" y="685"/>
                    </a:lnTo>
                    <a:lnTo>
                      <a:pt x="690" y="688"/>
                    </a:lnTo>
                    <a:lnTo>
                      <a:pt x="653" y="693"/>
                    </a:lnTo>
                    <a:lnTo>
                      <a:pt x="615" y="697"/>
                    </a:lnTo>
                    <a:lnTo>
                      <a:pt x="576" y="700"/>
                    </a:lnTo>
                    <a:lnTo>
                      <a:pt x="538" y="702"/>
                    </a:lnTo>
                    <a:lnTo>
                      <a:pt x="519" y="702"/>
                    </a:lnTo>
                    <a:lnTo>
                      <a:pt x="500" y="702"/>
                    </a:lnTo>
                    <a:lnTo>
                      <a:pt x="468" y="702"/>
                    </a:lnTo>
                    <a:lnTo>
                      <a:pt x="437" y="701"/>
                    </a:lnTo>
                    <a:lnTo>
                      <a:pt x="405" y="699"/>
                    </a:lnTo>
                    <a:lnTo>
                      <a:pt x="375" y="696"/>
                    </a:lnTo>
                    <a:lnTo>
                      <a:pt x="344" y="693"/>
                    </a:lnTo>
                    <a:lnTo>
                      <a:pt x="314" y="689"/>
                    </a:lnTo>
                    <a:lnTo>
                      <a:pt x="284" y="684"/>
                    </a:lnTo>
                    <a:lnTo>
                      <a:pt x="253" y="679"/>
                    </a:lnTo>
                    <a:lnTo>
                      <a:pt x="224" y="673"/>
                    </a:lnTo>
                    <a:lnTo>
                      <a:pt x="195" y="666"/>
                    </a:lnTo>
                    <a:lnTo>
                      <a:pt x="166" y="659"/>
                    </a:lnTo>
                    <a:lnTo>
                      <a:pt x="137" y="651"/>
                    </a:lnTo>
                    <a:lnTo>
                      <a:pt x="109" y="642"/>
                    </a:lnTo>
                    <a:lnTo>
                      <a:pt x="80" y="632"/>
                    </a:lnTo>
                    <a:lnTo>
                      <a:pt x="52" y="621"/>
                    </a:lnTo>
                    <a:lnTo>
                      <a:pt x="24" y="610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79" name="Freeform 32"/>
              <p:cNvSpPr>
                <a:spLocks noChangeAspect="1"/>
              </p:cNvSpPr>
              <p:nvPr/>
            </p:nvSpPr>
            <p:spPr bwMode="auto">
              <a:xfrm>
                <a:off x="1894" y="2774"/>
                <a:ext cx="971" cy="1043"/>
              </a:xfrm>
              <a:custGeom>
                <a:avLst/>
                <a:gdLst>
                  <a:gd name="T0" fmla="*/ 957 w 971"/>
                  <a:gd name="T1" fmla="*/ 469 h 1043"/>
                  <a:gd name="T2" fmla="*/ 929 w 971"/>
                  <a:gd name="T3" fmla="*/ 455 h 1043"/>
                  <a:gd name="T4" fmla="*/ 889 w 971"/>
                  <a:gd name="T5" fmla="*/ 432 h 1043"/>
                  <a:gd name="T6" fmla="*/ 863 w 971"/>
                  <a:gd name="T7" fmla="*/ 415 h 1043"/>
                  <a:gd name="T8" fmla="*/ 838 w 971"/>
                  <a:gd name="T9" fmla="*/ 397 h 1043"/>
                  <a:gd name="T10" fmla="*/ 802 w 971"/>
                  <a:gd name="T11" fmla="*/ 368 h 1043"/>
                  <a:gd name="T12" fmla="*/ 769 w 971"/>
                  <a:gd name="T13" fmla="*/ 336 h 1043"/>
                  <a:gd name="T14" fmla="*/ 748 w 971"/>
                  <a:gd name="T15" fmla="*/ 314 h 1043"/>
                  <a:gd name="T16" fmla="*/ 728 w 971"/>
                  <a:gd name="T17" fmla="*/ 291 h 1043"/>
                  <a:gd name="T18" fmla="*/ 709 w 971"/>
                  <a:gd name="T19" fmla="*/ 266 h 1043"/>
                  <a:gd name="T20" fmla="*/ 691 w 971"/>
                  <a:gd name="T21" fmla="*/ 241 h 1043"/>
                  <a:gd name="T22" fmla="*/ 675 w 971"/>
                  <a:gd name="T23" fmla="*/ 215 h 1043"/>
                  <a:gd name="T24" fmla="*/ 645 w 971"/>
                  <a:gd name="T25" fmla="*/ 161 h 1043"/>
                  <a:gd name="T26" fmla="*/ 632 w 971"/>
                  <a:gd name="T27" fmla="*/ 133 h 1043"/>
                  <a:gd name="T28" fmla="*/ 0 w 971"/>
                  <a:gd name="T29" fmla="*/ 249 h 1043"/>
                  <a:gd name="T30" fmla="*/ 21 w 971"/>
                  <a:gd name="T31" fmla="*/ 315 h 1043"/>
                  <a:gd name="T32" fmla="*/ 46 w 971"/>
                  <a:gd name="T33" fmla="*/ 378 h 1043"/>
                  <a:gd name="T34" fmla="*/ 60 w 971"/>
                  <a:gd name="T35" fmla="*/ 409 h 1043"/>
                  <a:gd name="T36" fmla="*/ 74 w 971"/>
                  <a:gd name="T37" fmla="*/ 440 h 1043"/>
                  <a:gd name="T38" fmla="*/ 105 w 971"/>
                  <a:gd name="T39" fmla="*/ 500 h 1043"/>
                  <a:gd name="T40" fmla="*/ 138 w 971"/>
                  <a:gd name="T41" fmla="*/ 558 h 1043"/>
                  <a:gd name="T42" fmla="*/ 156 w 971"/>
                  <a:gd name="T43" fmla="*/ 586 h 1043"/>
                  <a:gd name="T44" fmla="*/ 185 w 971"/>
                  <a:gd name="T45" fmla="*/ 629 h 1043"/>
                  <a:gd name="T46" fmla="*/ 216 w 971"/>
                  <a:gd name="T47" fmla="*/ 669 h 1043"/>
                  <a:gd name="T48" fmla="*/ 258 w 971"/>
                  <a:gd name="T49" fmla="*/ 720 h 1043"/>
                  <a:gd name="T50" fmla="*/ 303 w 971"/>
                  <a:gd name="T51" fmla="*/ 771 h 1043"/>
                  <a:gd name="T52" fmla="*/ 351 w 971"/>
                  <a:gd name="T53" fmla="*/ 818 h 1043"/>
                  <a:gd name="T54" fmla="*/ 388 w 971"/>
                  <a:gd name="T55" fmla="*/ 851 h 1043"/>
                  <a:gd name="T56" fmla="*/ 426 w 971"/>
                  <a:gd name="T57" fmla="*/ 883 h 1043"/>
                  <a:gd name="T58" fmla="*/ 479 w 971"/>
                  <a:gd name="T59" fmla="*/ 923 h 1043"/>
                  <a:gd name="T60" fmla="*/ 536 w 971"/>
                  <a:gd name="T61" fmla="*/ 962 h 1043"/>
                  <a:gd name="T62" fmla="*/ 593 w 971"/>
                  <a:gd name="T63" fmla="*/ 997 h 1043"/>
                  <a:gd name="T64" fmla="*/ 652 w 971"/>
                  <a:gd name="T65" fmla="*/ 1028 h 1043"/>
                  <a:gd name="T66" fmla="*/ 659 w 971"/>
                  <a:gd name="T67" fmla="*/ 657 h 10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71"/>
                  <a:gd name="T103" fmla="*/ 0 h 1043"/>
                  <a:gd name="T104" fmla="*/ 971 w 971"/>
                  <a:gd name="T105" fmla="*/ 1043 h 10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71" h="1043">
                    <a:moveTo>
                      <a:pt x="971" y="475"/>
                    </a:moveTo>
                    <a:lnTo>
                      <a:pt x="957" y="469"/>
                    </a:lnTo>
                    <a:lnTo>
                      <a:pt x="943" y="462"/>
                    </a:lnTo>
                    <a:lnTo>
                      <a:pt x="929" y="455"/>
                    </a:lnTo>
                    <a:lnTo>
                      <a:pt x="915" y="448"/>
                    </a:lnTo>
                    <a:lnTo>
                      <a:pt x="889" y="432"/>
                    </a:lnTo>
                    <a:lnTo>
                      <a:pt x="876" y="423"/>
                    </a:lnTo>
                    <a:lnTo>
                      <a:pt x="863" y="415"/>
                    </a:lnTo>
                    <a:lnTo>
                      <a:pt x="851" y="406"/>
                    </a:lnTo>
                    <a:lnTo>
                      <a:pt x="838" y="397"/>
                    </a:lnTo>
                    <a:lnTo>
                      <a:pt x="814" y="378"/>
                    </a:lnTo>
                    <a:lnTo>
                      <a:pt x="802" y="368"/>
                    </a:lnTo>
                    <a:lnTo>
                      <a:pt x="791" y="358"/>
                    </a:lnTo>
                    <a:lnTo>
                      <a:pt x="769" y="336"/>
                    </a:lnTo>
                    <a:lnTo>
                      <a:pt x="758" y="326"/>
                    </a:lnTo>
                    <a:lnTo>
                      <a:pt x="748" y="314"/>
                    </a:lnTo>
                    <a:lnTo>
                      <a:pt x="738" y="303"/>
                    </a:lnTo>
                    <a:lnTo>
                      <a:pt x="728" y="291"/>
                    </a:lnTo>
                    <a:lnTo>
                      <a:pt x="718" y="278"/>
                    </a:lnTo>
                    <a:lnTo>
                      <a:pt x="709" y="266"/>
                    </a:lnTo>
                    <a:lnTo>
                      <a:pt x="700" y="254"/>
                    </a:lnTo>
                    <a:lnTo>
                      <a:pt x="691" y="241"/>
                    </a:lnTo>
                    <a:lnTo>
                      <a:pt x="683" y="228"/>
                    </a:lnTo>
                    <a:lnTo>
                      <a:pt x="675" y="215"/>
                    </a:lnTo>
                    <a:lnTo>
                      <a:pt x="659" y="188"/>
                    </a:lnTo>
                    <a:lnTo>
                      <a:pt x="645" y="161"/>
                    </a:lnTo>
                    <a:lnTo>
                      <a:pt x="638" y="147"/>
                    </a:lnTo>
                    <a:lnTo>
                      <a:pt x="632" y="133"/>
                    </a:lnTo>
                    <a:lnTo>
                      <a:pt x="279" y="0"/>
                    </a:lnTo>
                    <a:lnTo>
                      <a:pt x="0" y="249"/>
                    </a:lnTo>
                    <a:lnTo>
                      <a:pt x="10" y="281"/>
                    </a:lnTo>
                    <a:lnTo>
                      <a:pt x="21" y="315"/>
                    </a:lnTo>
                    <a:lnTo>
                      <a:pt x="33" y="347"/>
                    </a:lnTo>
                    <a:lnTo>
                      <a:pt x="46" y="378"/>
                    </a:lnTo>
                    <a:lnTo>
                      <a:pt x="53" y="394"/>
                    </a:lnTo>
                    <a:lnTo>
                      <a:pt x="60" y="409"/>
                    </a:lnTo>
                    <a:lnTo>
                      <a:pt x="67" y="424"/>
                    </a:lnTo>
                    <a:lnTo>
                      <a:pt x="74" y="440"/>
                    </a:lnTo>
                    <a:lnTo>
                      <a:pt x="89" y="471"/>
                    </a:lnTo>
                    <a:lnTo>
                      <a:pt x="105" y="500"/>
                    </a:lnTo>
                    <a:lnTo>
                      <a:pt x="121" y="530"/>
                    </a:lnTo>
                    <a:lnTo>
                      <a:pt x="138" y="558"/>
                    </a:lnTo>
                    <a:lnTo>
                      <a:pt x="147" y="572"/>
                    </a:lnTo>
                    <a:lnTo>
                      <a:pt x="156" y="586"/>
                    </a:lnTo>
                    <a:lnTo>
                      <a:pt x="175" y="615"/>
                    </a:lnTo>
                    <a:lnTo>
                      <a:pt x="185" y="629"/>
                    </a:lnTo>
                    <a:lnTo>
                      <a:pt x="195" y="642"/>
                    </a:lnTo>
                    <a:lnTo>
                      <a:pt x="216" y="669"/>
                    </a:lnTo>
                    <a:lnTo>
                      <a:pt x="236" y="695"/>
                    </a:lnTo>
                    <a:lnTo>
                      <a:pt x="258" y="720"/>
                    </a:lnTo>
                    <a:lnTo>
                      <a:pt x="280" y="745"/>
                    </a:lnTo>
                    <a:lnTo>
                      <a:pt x="303" y="771"/>
                    </a:lnTo>
                    <a:lnTo>
                      <a:pt x="326" y="794"/>
                    </a:lnTo>
                    <a:lnTo>
                      <a:pt x="351" y="818"/>
                    </a:lnTo>
                    <a:lnTo>
                      <a:pt x="375" y="840"/>
                    </a:lnTo>
                    <a:lnTo>
                      <a:pt x="388" y="851"/>
                    </a:lnTo>
                    <a:lnTo>
                      <a:pt x="401" y="862"/>
                    </a:lnTo>
                    <a:lnTo>
                      <a:pt x="426" y="883"/>
                    </a:lnTo>
                    <a:lnTo>
                      <a:pt x="453" y="904"/>
                    </a:lnTo>
                    <a:lnTo>
                      <a:pt x="479" y="923"/>
                    </a:lnTo>
                    <a:lnTo>
                      <a:pt x="508" y="944"/>
                    </a:lnTo>
                    <a:lnTo>
                      <a:pt x="536" y="962"/>
                    </a:lnTo>
                    <a:lnTo>
                      <a:pt x="564" y="980"/>
                    </a:lnTo>
                    <a:lnTo>
                      <a:pt x="593" y="997"/>
                    </a:lnTo>
                    <a:lnTo>
                      <a:pt x="622" y="1013"/>
                    </a:lnTo>
                    <a:lnTo>
                      <a:pt x="652" y="1028"/>
                    </a:lnTo>
                    <a:lnTo>
                      <a:pt x="684" y="1043"/>
                    </a:lnTo>
                    <a:lnTo>
                      <a:pt x="659" y="657"/>
                    </a:lnTo>
                    <a:lnTo>
                      <a:pt x="971" y="4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0" name="Freeform 33"/>
              <p:cNvSpPr>
                <a:spLocks noChangeAspect="1"/>
              </p:cNvSpPr>
              <p:nvPr/>
            </p:nvSpPr>
            <p:spPr bwMode="auto">
              <a:xfrm>
                <a:off x="1840" y="1913"/>
                <a:ext cx="726" cy="1039"/>
              </a:xfrm>
              <a:custGeom>
                <a:avLst/>
                <a:gdLst>
                  <a:gd name="T0" fmla="*/ 715 w 726"/>
                  <a:gd name="T1" fmla="*/ 436 h 1039"/>
                  <a:gd name="T2" fmla="*/ 696 w 726"/>
                  <a:gd name="T3" fmla="*/ 474 h 1039"/>
                  <a:gd name="T4" fmla="*/ 680 w 726"/>
                  <a:gd name="T5" fmla="*/ 513 h 1039"/>
                  <a:gd name="T6" fmla="*/ 666 w 726"/>
                  <a:gd name="T7" fmla="*/ 553 h 1039"/>
                  <a:gd name="T8" fmla="*/ 654 w 726"/>
                  <a:gd name="T9" fmla="*/ 593 h 1039"/>
                  <a:gd name="T10" fmla="*/ 646 w 726"/>
                  <a:gd name="T11" fmla="*/ 635 h 1039"/>
                  <a:gd name="T12" fmla="*/ 640 w 726"/>
                  <a:gd name="T13" fmla="*/ 679 h 1039"/>
                  <a:gd name="T14" fmla="*/ 637 w 726"/>
                  <a:gd name="T15" fmla="*/ 722 h 1039"/>
                  <a:gd name="T16" fmla="*/ 637 w 726"/>
                  <a:gd name="T17" fmla="*/ 767 h 1039"/>
                  <a:gd name="T18" fmla="*/ 640 w 726"/>
                  <a:gd name="T19" fmla="*/ 811 h 1039"/>
                  <a:gd name="T20" fmla="*/ 646 w 726"/>
                  <a:gd name="T21" fmla="*/ 856 h 1039"/>
                  <a:gd name="T22" fmla="*/ 655 w 726"/>
                  <a:gd name="T23" fmla="*/ 898 h 1039"/>
                  <a:gd name="T24" fmla="*/ 324 w 726"/>
                  <a:gd name="T25" fmla="*/ 783 h 1039"/>
                  <a:gd name="T26" fmla="*/ 26 w 726"/>
                  <a:gd name="T27" fmla="*/ 1004 h 1039"/>
                  <a:gd name="T28" fmla="*/ 19 w 726"/>
                  <a:gd name="T29" fmla="*/ 967 h 1039"/>
                  <a:gd name="T30" fmla="*/ 9 w 726"/>
                  <a:gd name="T31" fmla="*/ 894 h 1039"/>
                  <a:gd name="T32" fmla="*/ 2 w 726"/>
                  <a:gd name="T33" fmla="*/ 820 h 1039"/>
                  <a:gd name="T34" fmla="*/ 0 w 726"/>
                  <a:gd name="T35" fmla="*/ 745 h 1039"/>
                  <a:gd name="T36" fmla="*/ 1 w 726"/>
                  <a:gd name="T37" fmla="*/ 693 h 1039"/>
                  <a:gd name="T38" fmla="*/ 4 w 726"/>
                  <a:gd name="T39" fmla="*/ 641 h 1039"/>
                  <a:gd name="T40" fmla="*/ 9 w 726"/>
                  <a:gd name="T41" fmla="*/ 590 h 1039"/>
                  <a:gd name="T42" fmla="*/ 16 w 726"/>
                  <a:gd name="T43" fmla="*/ 541 h 1039"/>
                  <a:gd name="T44" fmla="*/ 25 w 726"/>
                  <a:gd name="T45" fmla="*/ 490 h 1039"/>
                  <a:gd name="T46" fmla="*/ 36 w 726"/>
                  <a:gd name="T47" fmla="*/ 442 h 1039"/>
                  <a:gd name="T48" fmla="*/ 49 w 726"/>
                  <a:gd name="T49" fmla="*/ 394 h 1039"/>
                  <a:gd name="T50" fmla="*/ 63 w 726"/>
                  <a:gd name="T51" fmla="*/ 347 h 1039"/>
                  <a:gd name="T52" fmla="*/ 79 w 726"/>
                  <a:gd name="T53" fmla="*/ 300 h 1039"/>
                  <a:gd name="T54" fmla="*/ 98 w 726"/>
                  <a:gd name="T55" fmla="*/ 255 h 1039"/>
                  <a:gd name="T56" fmla="*/ 118 w 726"/>
                  <a:gd name="T57" fmla="*/ 210 h 1039"/>
                  <a:gd name="T58" fmla="*/ 139 w 726"/>
                  <a:gd name="T59" fmla="*/ 166 h 1039"/>
                  <a:gd name="T60" fmla="*/ 162 w 726"/>
                  <a:gd name="T61" fmla="*/ 123 h 1039"/>
                  <a:gd name="T62" fmla="*/ 186 w 726"/>
                  <a:gd name="T63" fmla="*/ 81 h 1039"/>
                  <a:gd name="T64" fmla="*/ 212 w 726"/>
                  <a:gd name="T65" fmla="*/ 41 h 1039"/>
                  <a:gd name="T66" fmla="*/ 239 w 726"/>
                  <a:gd name="T67" fmla="*/ 0 h 1039"/>
                  <a:gd name="T68" fmla="*/ 726 w 726"/>
                  <a:gd name="T69" fmla="*/ 418 h 103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26"/>
                  <a:gd name="T106" fmla="*/ 0 h 1039"/>
                  <a:gd name="T107" fmla="*/ 726 w 726"/>
                  <a:gd name="T108" fmla="*/ 1039 h 103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26" h="1039">
                    <a:moveTo>
                      <a:pt x="726" y="418"/>
                    </a:moveTo>
                    <a:lnTo>
                      <a:pt x="715" y="436"/>
                    </a:lnTo>
                    <a:lnTo>
                      <a:pt x="705" y="455"/>
                    </a:lnTo>
                    <a:lnTo>
                      <a:pt x="696" y="474"/>
                    </a:lnTo>
                    <a:lnTo>
                      <a:pt x="687" y="493"/>
                    </a:lnTo>
                    <a:lnTo>
                      <a:pt x="680" y="513"/>
                    </a:lnTo>
                    <a:lnTo>
                      <a:pt x="672" y="533"/>
                    </a:lnTo>
                    <a:lnTo>
                      <a:pt x="666" y="553"/>
                    </a:lnTo>
                    <a:lnTo>
                      <a:pt x="660" y="573"/>
                    </a:lnTo>
                    <a:lnTo>
                      <a:pt x="654" y="593"/>
                    </a:lnTo>
                    <a:lnTo>
                      <a:pt x="650" y="614"/>
                    </a:lnTo>
                    <a:lnTo>
                      <a:pt x="646" y="635"/>
                    </a:lnTo>
                    <a:lnTo>
                      <a:pt x="643" y="656"/>
                    </a:lnTo>
                    <a:lnTo>
                      <a:pt x="640" y="679"/>
                    </a:lnTo>
                    <a:lnTo>
                      <a:pt x="638" y="701"/>
                    </a:lnTo>
                    <a:lnTo>
                      <a:pt x="637" y="722"/>
                    </a:lnTo>
                    <a:lnTo>
                      <a:pt x="637" y="745"/>
                    </a:lnTo>
                    <a:lnTo>
                      <a:pt x="637" y="767"/>
                    </a:lnTo>
                    <a:lnTo>
                      <a:pt x="638" y="789"/>
                    </a:lnTo>
                    <a:lnTo>
                      <a:pt x="640" y="811"/>
                    </a:lnTo>
                    <a:lnTo>
                      <a:pt x="643" y="834"/>
                    </a:lnTo>
                    <a:lnTo>
                      <a:pt x="646" y="856"/>
                    </a:lnTo>
                    <a:lnTo>
                      <a:pt x="650" y="877"/>
                    </a:lnTo>
                    <a:lnTo>
                      <a:pt x="655" y="898"/>
                    </a:lnTo>
                    <a:lnTo>
                      <a:pt x="660" y="919"/>
                    </a:lnTo>
                    <a:lnTo>
                      <a:pt x="324" y="783"/>
                    </a:lnTo>
                    <a:lnTo>
                      <a:pt x="34" y="1039"/>
                    </a:lnTo>
                    <a:lnTo>
                      <a:pt x="26" y="1004"/>
                    </a:lnTo>
                    <a:lnTo>
                      <a:pt x="23" y="986"/>
                    </a:lnTo>
                    <a:lnTo>
                      <a:pt x="19" y="967"/>
                    </a:lnTo>
                    <a:lnTo>
                      <a:pt x="14" y="931"/>
                    </a:lnTo>
                    <a:lnTo>
                      <a:pt x="9" y="894"/>
                    </a:lnTo>
                    <a:lnTo>
                      <a:pt x="5" y="858"/>
                    </a:lnTo>
                    <a:lnTo>
                      <a:pt x="2" y="820"/>
                    </a:lnTo>
                    <a:lnTo>
                      <a:pt x="1" y="782"/>
                    </a:lnTo>
                    <a:lnTo>
                      <a:pt x="0" y="745"/>
                    </a:lnTo>
                    <a:lnTo>
                      <a:pt x="0" y="719"/>
                    </a:lnTo>
                    <a:lnTo>
                      <a:pt x="1" y="693"/>
                    </a:lnTo>
                    <a:lnTo>
                      <a:pt x="2" y="667"/>
                    </a:lnTo>
                    <a:lnTo>
                      <a:pt x="4" y="641"/>
                    </a:lnTo>
                    <a:lnTo>
                      <a:pt x="6" y="616"/>
                    </a:lnTo>
                    <a:lnTo>
                      <a:pt x="9" y="590"/>
                    </a:lnTo>
                    <a:lnTo>
                      <a:pt x="13" y="565"/>
                    </a:lnTo>
                    <a:lnTo>
                      <a:pt x="16" y="541"/>
                    </a:lnTo>
                    <a:lnTo>
                      <a:pt x="20" y="516"/>
                    </a:lnTo>
                    <a:lnTo>
                      <a:pt x="25" y="490"/>
                    </a:lnTo>
                    <a:lnTo>
                      <a:pt x="30" y="466"/>
                    </a:lnTo>
                    <a:lnTo>
                      <a:pt x="36" y="442"/>
                    </a:lnTo>
                    <a:lnTo>
                      <a:pt x="42" y="418"/>
                    </a:lnTo>
                    <a:lnTo>
                      <a:pt x="49" y="394"/>
                    </a:lnTo>
                    <a:lnTo>
                      <a:pt x="56" y="371"/>
                    </a:lnTo>
                    <a:lnTo>
                      <a:pt x="63" y="347"/>
                    </a:lnTo>
                    <a:lnTo>
                      <a:pt x="71" y="323"/>
                    </a:lnTo>
                    <a:lnTo>
                      <a:pt x="79" y="300"/>
                    </a:lnTo>
                    <a:lnTo>
                      <a:pt x="89" y="277"/>
                    </a:lnTo>
                    <a:lnTo>
                      <a:pt x="98" y="255"/>
                    </a:lnTo>
                    <a:lnTo>
                      <a:pt x="108" y="232"/>
                    </a:lnTo>
                    <a:lnTo>
                      <a:pt x="118" y="210"/>
                    </a:lnTo>
                    <a:lnTo>
                      <a:pt x="128" y="188"/>
                    </a:lnTo>
                    <a:lnTo>
                      <a:pt x="139" y="166"/>
                    </a:lnTo>
                    <a:lnTo>
                      <a:pt x="150" y="144"/>
                    </a:lnTo>
                    <a:lnTo>
                      <a:pt x="162" y="123"/>
                    </a:lnTo>
                    <a:lnTo>
                      <a:pt x="174" y="102"/>
                    </a:lnTo>
                    <a:lnTo>
                      <a:pt x="186" y="81"/>
                    </a:lnTo>
                    <a:lnTo>
                      <a:pt x="199" y="61"/>
                    </a:lnTo>
                    <a:lnTo>
                      <a:pt x="212" y="41"/>
                    </a:lnTo>
                    <a:lnTo>
                      <a:pt x="226" y="20"/>
                    </a:lnTo>
                    <a:lnTo>
                      <a:pt x="239" y="0"/>
                    </a:lnTo>
                    <a:lnTo>
                      <a:pt x="609" y="61"/>
                    </a:lnTo>
                    <a:lnTo>
                      <a:pt x="726" y="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1" name="Freeform 34"/>
              <p:cNvSpPr>
                <a:spLocks noChangeAspect="1"/>
              </p:cNvSpPr>
              <p:nvPr/>
            </p:nvSpPr>
            <p:spPr bwMode="auto">
              <a:xfrm>
                <a:off x="2123" y="1378"/>
                <a:ext cx="1148" cy="882"/>
              </a:xfrm>
              <a:custGeom>
                <a:avLst/>
                <a:gdLst>
                  <a:gd name="T0" fmla="*/ 502 w 1148"/>
                  <a:gd name="T1" fmla="*/ 868 h 882"/>
                  <a:gd name="T2" fmla="*/ 524 w 1148"/>
                  <a:gd name="T3" fmla="*/ 843 h 882"/>
                  <a:gd name="T4" fmla="*/ 547 w 1148"/>
                  <a:gd name="T5" fmla="*/ 819 h 882"/>
                  <a:gd name="T6" fmla="*/ 571 w 1148"/>
                  <a:gd name="T7" fmla="*/ 797 h 882"/>
                  <a:gd name="T8" fmla="*/ 598 w 1148"/>
                  <a:gd name="T9" fmla="*/ 775 h 882"/>
                  <a:gd name="T10" fmla="*/ 624 w 1148"/>
                  <a:gd name="T11" fmla="*/ 755 h 882"/>
                  <a:gd name="T12" fmla="*/ 651 w 1148"/>
                  <a:gd name="T13" fmla="*/ 737 h 882"/>
                  <a:gd name="T14" fmla="*/ 680 w 1148"/>
                  <a:gd name="T15" fmla="*/ 719 h 882"/>
                  <a:gd name="T16" fmla="*/ 709 w 1148"/>
                  <a:gd name="T17" fmla="*/ 703 h 882"/>
                  <a:gd name="T18" fmla="*/ 740 w 1148"/>
                  <a:gd name="T19" fmla="*/ 689 h 882"/>
                  <a:gd name="T20" fmla="*/ 772 w 1148"/>
                  <a:gd name="T21" fmla="*/ 676 h 882"/>
                  <a:gd name="T22" fmla="*/ 804 w 1148"/>
                  <a:gd name="T23" fmla="*/ 665 h 882"/>
                  <a:gd name="T24" fmla="*/ 836 w 1148"/>
                  <a:gd name="T25" fmla="*/ 656 h 882"/>
                  <a:gd name="T26" fmla="*/ 870 w 1148"/>
                  <a:gd name="T27" fmla="*/ 648 h 882"/>
                  <a:gd name="T28" fmla="*/ 904 w 1148"/>
                  <a:gd name="T29" fmla="*/ 642 h 882"/>
                  <a:gd name="T30" fmla="*/ 939 w 1148"/>
                  <a:gd name="T31" fmla="*/ 638 h 882"/>
                  <a:gd name="T32" fmla="*/ 1148 w 1148"/>
                  <a:gd name="T33" fmla="*/ 334 h 882"/>
                  <a:gd name="T34" fmla="*/ 918 w 1148"/>
                  <a:gd name="T35" fmla="*/ 1 h 882"/>
                  <a:gd name="T36" fmla="*/ 847 w 1148"/>
                  <a:gd name="T37" fmla="*/ 8 h 882"/>
                  <a:gd name="T38" fmla="*/ 777 w 1148"/>
                  <a:gd name="T39" fmla="*/ 18 h 882"/>
                  <a:gd name="T40" fmla="*/ 708 w 1148"/>
                  <a:gd name="T41" fmla="*/ 32 h 882"/>
                  <a:gd name="T42" fmla="*/ 675 w 1148"/>
                  <a:gd name="T43" fmla="*/ 40 h 882"/>
                  <a:gd name="T44" fmla="*/ 609 w 1148"/>
                  <a:gd name="T45" fmla="*/ 59 h 882"/>
                  <a:gd name="T46" fmla="*/ 543 w 1148"/>
                  <a:gd name="T47" fmla="*/ 83 h 882"/>
                  <a:gd name="T48" fmla="*/ 480 w 1148"/>
                  <a:gd name="T49" fmla="*/ 109 h 882"/>
                  <a:gd name="T50" fmla="*/ 417 w 1148"/>
                  <a:gd name="T51" fmla="*/ 138 h 882"/>
                  <a:gd name="T52" fmla="*/ 373 w 1148"/>
                  <a:gd name="T53" fmla="*/ 162 h 882"/>
                  <a:gd name="T54" fmla="*/ 343 w 1148"/>
                  <a:gd name="T55" fmla="*/ 178 h 882"/>
                  <a:gd name="T56" fmla="*/ 300 w 1148"/>
                  <a:gd name="T57" fmla="*/ 205 h 882"/>
                  <a:gd name="T58" fmla="*/ 271 w 1148"/>
                  <a:gd name="T59" fmla="*/ 224 h 882"/>
                  <a:gd name="T60" fmla="*/ 244 w 1148"/>
                  <a:gd name="T61" fmla="*/ 244 h 882"/>
                  <a:gd name="T62" fmla="*/ 204 w 1148"/>
                  <a:gd name="T63" fmla="*/ 275 h 882"/>
                  <a:gd name="T64" fmla="*/ 165 w 1148"/>
                  <a:gd name="T65" fmla="*/ 306 h 882"/>
                  <a:gd name="T66" fmla="*/ 114 w 1148"/>
                  <a:gd name="T67" fmla="*/ 351 h 882"/>
                  <a:gd name="T68" fmla="*/ 67 w 1148"/>
                  <a:gd name="T69" fmla="*/ 398 h 882"/>
                  <a:gd name="T70" fmla="*/ 22 w 1148"/>
                  <a:gd name="T71" fmla="*/ 449 h 882"/>
                  <a:gd name="T72" fmla="*/ 382 w 1148"/>
                  <a:gd name="T73" fmla="*/ 539 h 8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48"/>
                  <a:gd name="T112" fmla="*/ 0 h 882"/>
                  <a:gd name="T113" fmla="*/ 1148 w 1148"/>
                  <a:gd name="T114" fmla="*/ 882 h 88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48" h="882">
                    <a:moveTo>
                      <a:pt x="492" y="882"/>
                    </a:moveTo>
                    <a:lnTo>
                      <a:pt x="502" y="868"/>
                    </a:lnTo>
                    <a:lnTo>
                      <a:pt x="513" y="855"/>
                    </a:lnTo>
                    <a:lnTo>
                      <a:pt x="524" y="843"/>
                    </a:lnTo>
                    <a:lnTo>
                      <a:pt x="535" y="831"/>
                    </a:lnTo>
                    <a:lnTo>
                      <a:pt x="547" y="819"/>
                    </a:lnTo>
                    <a:lnTo>
                      <a:pt x="559" y="808"/>
                    </a:lnTo>
                    <a:lnTo>
                      <a:pt x="571" y="797"/>
                    </a:lnTo>
                    <a:lnTo>
                      <a:pt x="584" y="786"/>
                    </a:lnTo>
                    <a:lnTo>
                      <a:pt x="598" y="775"/>
                    </a:lnTo>
                    <a:lnTo>
                      <a:pt x="611" y="765"/>
                    </a:lnTo>
                    <a:lnTo>
                      <a:pt x="624" y="755"/>
                    </a:lnTo>
                    <a:lnTo>
                      <a:pt x="638" y="746"/>
                    </a:lnTo>
                    <a:lnTo>
                      <a:pt x="651" y="737"/>
                    </a:lnTo>
                    <a:lnTo>
                      <a:pt x="666" y="728"/>
                    </a:lnTo>
                    <a:lnTo>
                      <a:pt x="680" y="719"/>
                    </a:lnTo>
                    <a:lnTo>
                      <a:pt x="695" y="711"/>
                    </a:lnTo>
                    <a:lnTo>
                      <a:pt x="709" y="703"/>
                    </a:lnTo>
                    <a:lnTo>
                      <a:pt x="724" y="696"/>
                    </a:lnTo>
                    <a:lnTo>
                      <a:pt x="740" y="689"/>
                    </a:lnTo>
                    <a:lnTo>
                      <a:pt x="755" y="682"/>
                    </a:lnTo>
                    <a:lnTo>
                      <a:pt x="772" y="676"/>
                    </a:lnTo>
                    <a:lnTo>
                      <a:pt x="788" y="670"/>
                    </a:lnTo>
                    <a:lnTo>
                      <a:pt x="804" y="665"/>
                    </a:lnTo>
                    <a:lnTo>
                      <a:pt x="820" y="660"/>
                    </a:lnTo>
                    <a:lnTo>
                      <a:pt x="836" y="656"/>
                    </a:lnTo>
                    <a:lnTo>
                      <a:pt x="853" y="652"/>
                    </a:lnTo>
                    <a:lnTo>
                      <a:pt x="870" y="648"/>
                    </a:lnTo>
                    <a:lnTo>
                      <a:pt x="887" y="645"/>
                    </a:lnTo>
                    <a:lnTo>
                      <a:pt x="904" y="642"/>
                    </a:lnTo>
                    <a:lnTo>
                      <a:pt x="922" y="640"/>
                    </a:lnTo>
                    <a:lnTo>
                      <a:pt x="939" y="638"/>
                    </a:lnTo>
                    <a:lnTo>
                      <a:pt x="957" y="637"/>
                    </a:lnTo>
                    <a:lnTo>
                      <a:pt x="1148" y="334"/>
                    </a:lnTo>
                    <a:lnTo>
                      <a:pt x="954" y="0"/>
                    </a:lnTo>
                    <a:lnTo>
                      <a:pt x="918" y="1"/>
                    </a:lnTo>
                    <a:lnTo>
                      <a:pt x="882" y="4"/>
                    </a:lnTo>
                    <a:lnTo>
                      <a:pt x="847" y="8"/>
                    </a:lnTo>
                    <a:lnTo>
                      <a:pt x="812" y="12"/>
                    </a:lnTo>
                    <a:lnTo>
                      <a:pt x="777" y="18"/>
                    </a:lnTo>
                    <a:lnTo>
                      <a:pt x="742" y="24"/>
                    </a:lnTo>
                    <a:lnTo>
                      <a:pt x="708" y="32"/>
                    </a:lnTo>
                    <a:lnTo>
                      <a:pt x="691" y="36"/>
                    </a:lnTo>
                    <a:lnTo>
                      <a:pt x="675" y="40"/>
                    </a:lnTo>
                    <a:lnTo>
                      <a:pt x="641" y="49"/>
                    </a:lnTo>
                    <a:lnTo>
                      <a:pt x="609" y="59"/>
                    </a:lnTo>
                    <a:lnTo>
                      <a:pt x="575" y="70"/>
                    </a:lnTo>
                    <a:lnTo>
                      <a:pt x="543" y="83"/>
                    </a:lnTo>
                    <a:lnTo>
                      <a:pt x="511" y="95"/>
                    </a:lnTo>
                    <a:lnTo>
                      <a:pt x="480" y="109"/>
                    </a:lnTo>
                    <a:lnTo>
                      <a:pt x="449" y="123"/>
                    </a:lnTo>
                    <a:lnTo>
                      <a:pt x="417" y="138"/>
                    </a:lnTo>
                    <a:lnTo>
                      <a:pt x="387" y="153"/>
                    </a:lnTo>
                    <a:lnTo>
                      <a:pt x="373" y="162"/>
                    </a:lnTo>
                    <a:lnTo>
                      <a:pt x="358" y="170"/>
                    </a:lnTo>
                    <a:lnTo>
                      <a:pt x="343" y="178"/>
                    </a:lnTo>
                    <a:lnTo>
                      <a:pt x="329" y="187"/>
                    </a:lnTo>
                    <a:lnTo>
                      <a:pt x="300" y="205"/>
                    </a:lnTo>
                    <a:lnTo>
                      <a:pt x="286" y="214"/>
                    </a:lnTo>
                    <a:lnTo>
                      <a:pt x="271" y="224"/>
                    </a:lnTo>
                    <a:lnTo>
                      <a:pt x="258" y="233"/>
                    </a:lnTo>
                    <a:lnTo>
                      <a:pt x="244" y="244"/>
                    </a:lnTo>
                    <a:lnTo>
                      <a:pt x="217" y="264"/>
                    </a:lnTo>
                    <a:lnTo>
                      <a:pt x="204" y="275"/>
                    </a:lnTo>
                    <a:lnTo>
                      <a:pt x="191" y="285"/>
                    </a:lnTo>
                    <a:lnTo>
                      <a:pt x="165" y="306"/>
                    </a:lnTo>
                    <a:lnTo>
                      <a:pt x="140" y="328"/>
                    </a:lnTo>
                    <a:lnTo>
                      <a:pt x="114" y="351"/>
                    </a:lnTo>
                    <a:lnTo>
                      <a:pt x="90" y="374"/>
                    </a:lnTo>
                    <a:lnTo>
                      <a:pt x="67" y="398"/>
                    </a:lnTo>
                    <a:lnTo>
                      <a:pt x="44" y="424"/>
                    </a:lnTo>
                    <a:lnTo>
                      <a:pt x="22" y="449"/>
                    </a:lnTo>
                    <a:lnTo>
                      <a:pt x="0" y="475"/>
                    </a:lnTo>
                    <a:lnTo>
                      <a:pt x="382" y="539"/>
                    </a:lnTo>
                    <a:lnTo>
                      <a:pt x="492" y="882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6" name="Oval 95"/>
            <p:cNvSpPr/>
            <p:nvPr/>
          </p:nvSpPr>
          <p:spPr>
            <a:xfrm>
              <a:off x="5494942" y="4269171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7248353" y="3683918"/>
            <a:ext cx="2015999" cy="2016000"/>
            <a:chOff x="7248353" y="3683918"/>
            <a:chExt cx="2015999" cy="2016000"/>
          </a:xfrm>
        </p:grpSpPr>
        <p:grpSp>
          <p:nvGrpSpPr>
            <p:cNvPr id="82" name="Group 35"/>
            <p:cNvGrpSpPr>
              <a:grpSpLocks/>
            </p:cNvGrpSpPr>
            <p:nvPr/>
          </p:nvGrpSpPr>
          <p:grpSpPr bwMode="auto">
            <a:xfrm>
              <a:off x="7248353" y="3683918"/>
              <a:ext cx="2015999" cy="2016000"/>
              <a:chOff x="1840" y="1318"/>
              <a:chExt cx="2561" cy="2560"/>
            </a:xfrm>
            <a:solidFill>
              <a:srgbClr val="2F52A0"/>
            </a:solidFill>
          </p:grpSpPr>
          <p:sp>
            <p:nvSpPr>
              <p:cNvPr id="83" name="Freeform 36"/>
              <p:cNvSpPr>
                <a:spLocks noChangeAspect="1"/>
              </p:cNvSpPr>
              <p:nvPr/>
            </p:nvSpPr>
            <p:spPr bwMode="auto">
              <a:xfrm>
                <a:off x="2184" y="1320"/>
                <a:ext cx="1087" cy="857"/>
              </a:xfrm>
              <a:custGeom>
                <a:avLst/>
                <a:gdLst>
                  <a:gd name="T0" fmla="*/ 459 w 1087"/>
                  <a:gd name="T1" fmla="*/ 845 h 857"/>
                  <a:gd name="T2" fmla="*/ 492 w 1087"/>
                  <a:gd name="T3" fmla="*/ 812 h 857"/>
                  <a:gd name="T4" fmla="*/ 515 w 1087"/>
                  <a:gd name="T5" fmla="*/ 791 h 857"/>
                  <a:gd name="T6" fmla="*/ 552 w 1087"/>
                  <a:gd name="T7" fmla="*/ 761 h 857"/>
                  <a:gd name="T8" fmla="*/ 578 w 1087"/>
                  <a:gd name="T9" fmla="*/ 743 h 857"/>
                  <a:gd name="T10" fmla="*/ 605 w 1087"/>
                  <a:gd name="T11" fmla="*/ 726 h 857"/>
                  <a:gd name="T12" fmla="*/ 646 w 1087"/>
                  <a:gd name="T13" fmla="*/ 702 h 857"/>
                  <a:gd name="T14" fmla="*/ 689 w 1087"/>
                  <a:gd name="T15" fmla="*/ 682 h 857"/>
                  <a:gd name="T16" fmla="*/ 720 w 1087"/>
                  <a:gd name="T17" fmla="*/ 671 h 857"/>
                  <a:gd name="T18" fmla="*/ 750 w 1087"/>
                  <a:gd name="T19" fmla="*/ 661 h 857"/>
                  <a:gd name="T20" fmla="*/ 781 w 1087"/>
                  <a:gd name="T21" fmla="*/ 652 h 857"/>
                  <a:gd name="T22" fmla="*/ 813 w 1087"/>
                  <a:gd name="T23" fmla="*/ 645 h 857"/>
                  <a:gd name="T24" fmla="*/ 845 w 1087"/>
                  <a:gd name="T25" fmla="*/ 640 h 857"/>
                  <a:gd name="T26" fmla="*/ 896 w 1087"/>
                  <a:gd name="T27" fmla="*/ 635 h 857"/>
                  <a:gd name="T28" fmla="*/ 898 w 1087"/>
                  <a:gd name="T29" fmla="*/ 0 h 857"/>
                  <a:gd name="T30" fmla="*/ 865 w 1087"/>
                  <a:gd name="T31" fmla="*/ 1 h 857"/>
                  <a:gd name="T32" fmla="*/ 799 w 1087"/>
                  <a:gd name="T33" fmla="*/ 6 h 857"/>
                  <a:gd name="T34" fmla="*/ 735 w 1087"/>
                  <a:gd name="T35" fmla="*/ 15 h 857"/>
                  <a:gd name="T36" fmla="*/ 671 w 1087"/>
                  <a:gd name="T37" fmla="*/ 26 h 857"/>
                  <a:gd name="T38" fmla="*/ 609 w 1087"/>
                  <a:gd name="T39" fmla="*/ 41 h 857"/>
                  <a:gd name="T40" fmla="*/ 548 w 1087"/>
                  <a:gd name="T41" fmla="*/ 59 h 857"/>
                  <a:gd name="T42" fmla="*/ 487 w 1087"/>
                  <a:gd name="T43" fmla="*/ 80 h 857"/>
                  <a:gd name="T44" fmla="*/ 429 w 1087"/>
                  <a:gd name="T45" fmla="*/ 103 h 857"/>
                  <a:gd name="T46" fmla="*/ 372 w 1087"/>
                  <a:gd name="T47" fmla="*/ 129 h 857"/>
                  <a:gd name="T48" fmla="*/ 317 w 1087"/>
                  <a:gd name="T49" fmla="*/ 158 h 857"/>
                  <a:gd name="T50" fmla="*/ 263 w 1087"/>
                  <a:gd name="T51" fmla="*/ 189 h 857"/>
                  <a:gd name="T52" fmla="*/ 224 w 1087"/>
                  <a:gd name="T53" fmla="*/ 214 h 857"/>
                  <a:gd name="T54" fmla="*/ 185 w 1087"/>
                  <a:gd name="T55" fmla="*/ 241 h 857"/>
                  <a:gd name="T56" fmla="*/ 136 w 1087"/>
                  <a:gd name="T57" fmla="*/ 279 h 857"/>
                  <a:gd name="T58" fmla="*/ 89 w 1087"/>
                  <a:gd name="T59" fmla="*/ 318 h 857"/>
                  <a:gd name="T60" fmla="*/ 43 w 1087"/>
                  <a:gd name="T61" fmla="*/ 360 h 857"/>
                  <a:gd name="T62" fmla="*/ 0 w 1087"/>
                  <a:gd name="T63" fmla="*/ 405 h 857"/>
                  <a:gd name="T64" fmla="*/ 449 w 1087"/>
                  <a:gd name="T65" fmla="*/ 857 h 8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87"/>
                  <a:gd name="T100" fmla="*/ 0 h 857"/>
                  <a:gd name="T101" fmla="*/ 1087 w 1087"/>
                  <a:gd name="T102" fmla="*/ 857 h 8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87" h="857">
                    <a:moveTo>
                      <a:pt x="449" y="857"/>
                    </a:moveTo>
                    <a:lnTo>
                      <a:pt x="459" y="845"/>
                    </a:lnTo>
                    <a:lnTo>
                      <a:pt x="470" y="834"/>
                    </a:lnTo>
                    <a:lnTo>
                      <a:pt x="492" y="812"/>
                    </a:lnTo>
                    <a:lnTo>
                      <a:pt x="503" y="801"/>
                    </a:lnTo>
                    <a:lnTo>
                      <a:pt x="515" y="791"/>
                    </a:lnTo>
                    <a:lnTo>
                      <a:pt x="540" y="771"/>
                    </a:lnTo>
                    <a:lnTo>
                      <a:pt x="552" y="761"/>
                    </a:lnTo>
                    <a:lnTo>
                      <a:pt x="565" y="752"/>
                    </a:lnTo>
                    <a:lnTo>
                      <a:pt x="578" y="743"/>
                    </a:lnTo>
                    <a:lnTo>
                      <a:pt x="591" y="735"/>
                    </a:lnTo>
                    <a:lnTo>
                      <a:pt x="605" y="726"/>
                    </a:lnTo>
                    <a:lnTo>
                      <a:pt x="618" y="717"/>
                    </a:lnTo>
                    <a:lnTo>
                      <a:pt x="646" y="702"/>
                    </a:lnTo>
                    <a:lnTo>
                      <a:pt x="675" y="689"/>
                    </a:lnTo>
                    <a:lnTo>
                      <a:pt x="689" y="682"/>
                    </a:lnTo>
                    <a:lnTo>
                      <a:pt x="705" y="677"/>
                    </a:lnTo>
                    <a:lnTo>
                      <a:pt x="720" y="671"/>
                    </a:lnTo>
                    <a:lnTo>
                      <a:pt x="735" y="666"/>
                    </a:lnTo>
                    <a:lnTo>
                      <a:pt x="750" y="661"/>
                    </a:lnTo>
                    <a:lnTo>
                      <a:pt x="766" y="656"/>
                    </a:lnTo>
                    <a:lnTo>
                      <a:pt x="781" y="652"/>
                    </a:lnTo>
                    <a:lnTo>
                      <a:pt x="797" y="649"/>
                    </a:lnTo>
                    <a:lnTo>
                      <a:pt x="813" y="645"/>
                    </a:lnTo>
                    <a:lnTo>
                      <a:pt x="829" y="642"/>
                    </a:lnTo>
                    <a:lnTo>
                      <a:pt x="845" y="640"/>
                    </a:lnTo>
                    <a:lnTo>
                      <a:pt x="863" y="638"/>
                    </a:lnTo>
                    <a:lnTo>
                      <a:pt x="896" y="635"/>
                    </a:lnTo>
                    <a:lnTo>
                      <a:pt x="1087" y="332"/>
                    </a:lnTo>
                    <a:lnTo>
                      <a:pt x="898" y="0"/>
                    </a:lnTo>
                    <a:lnTo>
                      <a:pt x="881" y="0"/>
                    </a:lnTo>
                    <a:lnTo>
                      <a:pt x="865" y="1"/>
                    </a:lnTo>
                    <a:lnTo>
                      <a:pt x="831" y="3"/>
                    </a:lnTo>
                    <a:lnTo>
                      <a:pt x="799" y="6"/>
                    </a:lnTo>
                    <a:lnTo>
                      <a:pt x="767" y="10"/>
                    </a:lnTo>
                    <a:lnTo>
                      <a:pt x="735" y="15"/>
                    </a:lnTo>
                    <a:lnTo>
                      <a:pt x="703" y="20"/>
                    </a:lnTo>
                    <a:lnTo>
                      <a:pt x="671" y="26"/>
                    </a:lnTo>
                    <a:lnTo>
                      <a:pt x="640" y="33"/>
                    </a:lnTo>
                    <a:lnTo>
                      <a:pt x="609" y="41"/>
                    </a:lnTo>
                    <a:lnTo>
                      <a:pt x="578" y="50"/>
                    </a:lnTo>
                    <a:lnTo>
                      <a:pt x="548" y="59"/>
                    </a:lnTo>
                    <a:lnTo>
                      <a:pt x="517" y="69"/>
                    </a:lnTo>
                    <a:lnTo>
                      <a:pt x="487" y="80"/>
                    </a:lnTo>
                    <a:lnTo>
                      <a:pt x="458" y="91"/>
                    </a:lnTo>
                    <a:lnTo>
                      <a:pt x="429" y="103"/>
                    </a:lnTo>
                    <a:lnTo>
                      <a:pt x="401" y="116"/>
                    </a:lnTo>
                    <a:lnTo>
                      <a:pt x="372" y="129"/>
                    </a:lnTo>
                    <a:lnTo>
                      <a:pt x="344" y="143"/>
                    </a:lnTo>
                    <a:lnTo>
                      <a:pt x="317" y="158"/>
                    </a:lnTo>
                    <a:lnTo>
                      <a:pt x="290" y="173"/>
                    </a:lnTo>
                    <a:lnTo>
                      <a:pt x="263" y="189"/>
                    </a:lnTo>
                    <a:lnTo>
                      <a:pt x="237" y="206"/>
                    </a:lnTo>
                    <a:lnTo>
                      <a:pt x="224" y="214"/>
                    </a:lnTo>
                    <a:lnTo>
                      <a:pt x="210" y="223"/>
                    </a:lnTo>
                    <a:lnTo>
                      <a:pt x="185" y="241"/>
                    </a:lnTo>
                    <a:lnTo>
                      <a:pt x="160" y="260"/>
                    </a:lnTo>
                    <a:lnTo>
                      <a:pt x="136" y="279"/>
                    </a:lnTo>
                    <a:lnTo>
                      <a:pt x="112" y="298"/>
                    </a:lnTo>
                    <a:lnTo>
                      <a:pt x="89" y="318"/>
                    </a:lnTo>
                    <a:lnTo>
                      <a:pt x="66" y="339"/>
                    </a:lnTo>
                    <a:lnTo>
                      <a:pt x="43" y="360"/>
                    </a:lnTo>
                    <a:lnTo>
                      <a:pt x="21" y="382"/>
                    </a:lnTo>
                    <a:lnTo>
                      <a:pt x="0" y="405"/>
                    </a:lnTo>
                    <a:lnTo>
                      <a:pt x="374" y="501"/>
                    </a:lnTo>
                    <a:lnTo>
                      <a:pt x="449" y="8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4" name="Freeform 37"/>
              <p:cNvSpPr>
                <a:spLocks noChangeAspect="1"/>
              </p:cNvSpPr>
              <p:nvPr/>
            </p:nvSpPr>
            <p:spPr bwMode="auto">
              <a:xfrm>
                <a:off x="3142" y="1318"/>
                <a:ext cx="852" cy="795"/>
              </a:xfrm>
              <a:custGeom>
                <a:avLst/>
                <a:gdLst>
                  <a:gd name="T0" fmla="*/ 1 w 852"/>
                  <a:gd name="T1" fmla="*/ 0 h 795"/>
                  <a:gd name="T2" fmla="*/ 197 w 852"/>
                  <a:gd name="T3" fmla="*/ 347 h 795"/>
                  <a:gd name="T4" fmla="*/ 0 w 852"/>
                  <a:gd name="T5" fmla="*/ 636 h 795"/>
                  <a:gd name="T6" fmla="*/ 14 w 852"/>
                  <a:gd name="T7" fmla="*/ 637 h 795"/>
                  <a:gd name="T8" fmla="*/ 28 w 852"/>
                  <a:gd name="T9" fmla="*/ 638 h 795"/>
                  <a:gd name="T10" fmla="*/ 42 w 852"/>
                  <a:gd name="T11" fmla="*/ 639 h 795"/>
                  <a:gd name="T12" fmla="*/ 56 w 852"/>
                  <a:gd name="T13" fmla="*/ 641 h 795"/>
                  <a:gd name="T14" fmla="*/ 85 w 852"/>
                  <a:gd name="T15" fmla="*/ 645 h 795"/>
                  <a:gd name="T16" fmla="*/ 112 w 852"/>
                  <a:gd name="T17" fmla="*/ 650 h 795"/>
                  <a:gd name="T18" fmla="*/ 139 w 852"/>
                  <a:gd name="T19" fmla="*/ 656 h 795"/>
                  <a:gd name="T20" fmla="*/ 152 w 852"/>
                  <a:gd name="T21" fmla="*/ 660 h 795"/>
                  <a:gd name="T22" fmla="*/ 166 w 852"/>
                  <a:gd name="T23" fmla="*/ 664 h 795"/>
                  <a:gd name="T24" fmla="*/ 192 w 852"/>
                  <a:gd name="T25" fmla="*/ 672 h 795"/>
                  <a:gd name="T26" fmla="*/ 217 w 852"/>
                  <a:gd name="T27" fmla="*/ 682 h 795"/>
                  <a:gd name="T28" fmla="*/ 244 w 852"/>
                  <a:gd name="T29" fmla="*/ 693 h 795"/>
                  <a:gd name="T30" fmla="*/ 268 w 852"/>
                  <a:gd name="T31" fmla="*/ 704 h 795"/>
                  <a:gd name="T32" fmla="*/ 292 w 852"/>
                  <a:gd name="T33" fmla="*/ 717 h 795"/>
                  <a:gd name="T34" fmla="*/ 304 w 852"/>
                  <a:gd name="T35" fmla="*/ 724 h 795"/>
                  <a:gd name="T36" fmla="*/ 315 w 852"/>
                  <a:gd name="T37" fmla="*/ 731 h 795"/>
                  <a:gd name="T38" fmla="*/ 338 w 852"/>
                  <a:gd name="T39" fmla="*/ 746 h 795"/>
                  <a:gd name="T40" fmla="*/ 349 w 852"/>
                  <a:gd name="T41" fmla="*/ 753 h 795"/>
                  <a:gd name="T42" fmla="*/ 360 w 852"/>
                  <a:gd name="T43" fmla="*/ 761 h 795"/>
                  <a:gd name="T44" fmla="*/ 382 w 852"/>
                  <a:gd name="T45" fmla="*/ 777 h 795"/>
                  <a:gd name="T46" fmla="*/ 403 w 852"/>
                  <a:gd name="T47" fmla="*/ 795 h 795"/>
                  <a:gd name="T48" fmla="*/ 754 w 852"/>
                  <a:gd name="T49" fmla="*/ 716 h 795"/>
                  <a:gd name="T50" fmla="*/ 852 w 852"/>
                  <a:gd name="T51" fmla="*/ 343 h 795"/>
                  <a:gd name="T52" fmla="*/ 831 w 852"/>
                  <a:gd name="T53" fmla="*/ 324 h 795"/>
                  <a:gd name="T54" fmla="*/ 810 w 852"/>
                  <a:gd name="T55" fmla="*/ 306 h 795"/>
                  <a:gd name="T56" fmla="*/ 788 w 852"/>
                  <a:gd name="T57" fmla="*/ 287 h 795"/>
                  <a:gd name="T58" fmla="*/ 766 w 852"/>
                  <a:gd name="T59" fmla="*/ 270 h 795"/>
                  <a:gd name="T60" fmla="*/ 743 w 852"/>
                  <a:gd name="T61" fmla="*/ 252 h 795"/>
                  <a:gd name="T62" fmla="*/ 720 w 852"/>
                  <a:gd name="T63" fmla="*/ 235 h 795"/>
                  <a:gd name="T64" fmla="*/ 695 w 852"/>
                  <a:gd name="T65" fmla="*/ 218 h 795"/>
                  <a:gd name="T66" fmla="*/ 671 w 852"/>
                  <a:gd name="T67" fmla="*/ 203 h 795"/>
                  <a:gd name="T68" fmla="*/ 647 w 852"/>
                  <a:gd name="T69" fmla="*/ 187 h 795"/>
                  <a:gd name="T70" fmla="*/ 622 w 852"/>
                  <a:gd name="T71" fmla="*/ 173 h 795"/>
                  <a:gd name="T72" fmla="*/ 597 w 852"/>
                  <a:gd name="T73" fmla="*/ 159 h 795"/>
                  <a:gd name="T74" fmla="*/ 585 w 852"/>
                  <a:gd name="T75" fmla="*/ 152 h 795"/>
                  <a:gd name="T76" fmla="*/ 572 w 852"/>
                  <a:gd name="T77" fmla="*/ 145 h 795"/>
                  <a:gd name="T78" fmla="*/ 546 w 852"/>
                  <a:gd name="T79" fmla="*/ 132 h 795"/>
                  <a:gd name="T80" fmla="*/ 519 w 852"/>
                  <a:gd name="T81" fmla="*/ 120 h 795"/>
                  <a:gd name="T82" fmla="*/ 493 w 852"/>
                  <a:gd name="T83" fmla="*/ 108 h 795"/>
                  <a:gd name="T84" fmla="*/ 466 w 852"/>
                  <a:gd name="T85" fmla="*/ 96 h 795"/>
                  <a:gd name="T86" fmla="*/ 439 w 852"/>
                  <a:gd name="T87" fmla="*/ 86 h 795"/>
                  <a:gd name="T88" fmla="*/ 412 w 852"/>
                  <a:gd name="T89" fmla="*/ 75 h 795"/>
                  <a:gd name="T90" fmla="*/ 384 w 852"/>
                  <a:gd name="T91" fmla="*/ 65 h 795"/>
                  <a:gd name="T92" fmla="*/ 355 w 852"/>
                  <a:gd name="T93" fmla="*/ 56 h 795"/>
                  <a:gd name="T94" fmla="*/ 327 w 852"/>
                  <a:gd name="T95" fmla="*/ 48 h 795"/>
                  <a:gd name="T96" fmla="*/ 299 w 852"/>
                  <a:gd name="T97" fmla="*/ 40 h 795"/>
                  <a:gd name="T98" fmla="*/ 270 w 852"/>
                  <a:gd name="T99" fmla="*/ 33 h 795"/>
                  <a:gd name="T100" fmla="*/ 241 w 852"/>
                  <a:gd name="T101" fmla="*/ 27 h 795"/>
                  <a:gd name="T102" fmla="*/ 211 w 852"/>
                  <a:gd name="T103" fmla="*/ 21 h 795"/>
                  <a:gd name="T104" fmla="*/ 182 w 852"/>
                  <a:gd name="T105" fmla="*/ 16 h 795"/>
                  <a:gd name="T106" fmla="*/ 152 w 852"/>
                  <a:gd name="T107" fmla="*/ 12 h 795"/>
                  <a:gd name="T108" fmla="*/ 122 w 852"/>
                  <a:gd name="T109" fmla="*/ 8 h 795"/>
                  <a:gd name="T110" fmla="*/ 92 w 852"/>
                  <a:gd name="T111" fmla="*/ 5 h 795"/>
                  <a:gd name="T112" fmla="*/ 62 w 852"/>
                  <a:gd name="T113" fmla="*/ 3 h 795"/>
                  <a:gd name="T114" fmla="*/ 31 w 852"/>
                  <a:gd name="T115" fmla="*/ 1 h 795"/>
                  <a:gd name="T116" fmla="*/ 1 w 852"/>
                  <a:gd name="T117" fmla="*/ 0 h 79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52"/>
                  <a:gd name="T178" fmla="*/ 0 h 795"/>
                  <a:gd name="T179" fmla="*/ 852 w 852"/>
                  <a:gd name="T180" fmla="*/ 795 h 79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52" h="795">
                    <a:moveTo>
                      <a:pt x="1" y="0"/>
                    </a:moveTo>
                    <a:lnTo>
                      <a:pt x="197" y="347"/>
                    </a:lnTo>
                    <a:lnTo>
                      <a:pt x="0" y="636"/>
                    </a:lnTo>
                    <a:lnTo>
                      <a:pt x="14" y="637"/>
                    </a:lnTo>
                    <a:lnTo>
                      <a:pt x="28" y="638"/>
                    </a:lnTo>
                    <a:lnTo>
                      <a:pt x="42" y="639"/>
                    </a:lnTo>
                    <a:lnTo>
                      <a:pt x="56" y="641"/>
                    </a:lnTo>
                    <a:lnTo>
                      <a:pt x="85" y="645"/>
                    </a:lnTo>
                    <a:lnTo>
                      <a:pt x="112" y="650"/>
                    </a:lnTo>
                    <a:lnTo>
                      <a:pt x="139" y="656"/>
                    </a:lnTo>
                    <a:lnTo>
                      <a:pt x="152" y="660"/>
                    </a:lnTo>
                    <a:lnTo>
                      <a:pt x="166" y="664"/>
                    </a:lnTo>
                    <a:lnTo>
                      <a:pt x="192" y="672"/>
                    </a:lnTo>
                    <a:lnTo>
                      <a:pt x="217" y="682"/>
                    </a:lnTo>
                    <a:lnTo>
                      <a:pt x="244" y="693"/>
                    </a:lnTo>
                    <a:lnTo>
                      <a:pt x="268" y="704"/>
                    </a:lnTo>
                    <a:lnTo>
                      <a:pt x="292" y="717"/>
                    </a:lnTo>
                    <a:lnTo>
                      <a:pt x="304" y="724"/>
                    </a:lnTo>
                    <a:lnTo>
                      <a:pt x="315" y="731"/>
                    </a:lnTo>
                    <a:lnTo>
                      <a:pt x="338" y="746"/>
                    </a:lnTo>
                    <a:lnTo>
                      <a:pt x="349" y="753"/>
                    </a:lnTo>
                    <a:lnTo>
                      <a:pt x="360" y="761"/>
                    </a:lnTo>
                    <a:lnTo>
                      <a:pt x="382" y="777"/>
                    </a:lnTo>
                    <a:lnTo>
                      <a:pt x="403" y="795"/>
                    </a:lnTo>
                    <a:lnTo>
                      <a:pt x="754" y="716"/>
                    </a:lnTo>
                    <a:lnTo>
                      <a:pt x="852" y="343"/>
                    </a:lnTo>
                    <a:lnTo>
                      <a:pt x="831" y="324"/>
                    </a:lnTo>
                    <a:lnTo>
                      <a:pt x="810" y="306"/>
                    </a:lnTo>
                    <a:lnTo>
                      <a:pt x="788" y="287"/>
                    </a:lnTo>
                    <a:lnTo>
                      <a:pt x="766" y="270"/>
                    </a:lnTo>
                    <a:lnTo>
                      <a:pt x="743" y="252"/>
                    </a:lnTo>
                    <a:lnTo>
                      <a:pt x="720" y="235"/>
                    </a:lnTo>
                    <a:lnTo>
                      <a:pt x="695" y="218"/>
                    </a:lnTo>
                    <a:lnTo>
                      <a:pt x="671" y="203"/>
                    </a:lnTo>
                    <a:lnTo>
                      <a:pt x="647" y="187"/>
                    </a:lnTo>
                    <a:lnTo>
                      <a:pt x="622" y="173"/>
                    </a:lnTo>
                    <a:lnTo>
                      <a:pt x="597" y="159"/>
                    </a:lnTo>
                    <a:lnTo>
                      <a:pt x="585" y="152"/>
                    </a:lnTo>
                    <a:lnTo>
                      <a:pt x="572" y="145"/>
                    </a:lnTo>
                    <a:lnTo>
                      <a:pt x="546" y="132"/>
                    </a:lnTo>
                    <a:lnTo>
                      <a:pt x="519" y="120"/>
                    </a:lnTo>
                    <a:lnTo>
                      <a:pt x="493" y="108"/>
                    </a:lnTo>
                    <a:lnTo>
                      <a:pt x="466" y="96"/>
                    </a:lnTo>
                    <a:lnTo>
                      <a:pt x="439" y="86"/>
                    </a:lnTo>
                    <a:lnTo>
                      <a:pt x="412" y="75"/>
                    </a:lnTo>
                    <a:lnTo>
                      <a:pt x="384" y="65"/>
                    </a:lnTo>
                    <a:lnTo>
                      <a:pt x="355" y="56"/>
                    </a:lnTo>
                    <a:lnTo>
                      <a:pt x="327" y="48"/>
                    </a:lnTo>
                    <a:lnTo>
                      <a:pt x="299" y="40"/>
                    </a:lnTo>
                    <a:lnTo>
                      <a:pt x="270" y="33"/>
                    </a:lnTo>
                    <a:lnTo>
                      <a:pt x="241" y="27"/>
                    </a:lnTo>
                    <a:lnTo>
                      <a:pt x="211" y="21"/>
                    </a:lnTo>
                    <a:lnTo>
                      <a:pt x="182" y="16"/>
                    </a:lnTo>
                    <a:lnTo>
                      <a:pt x="152" y="12"/>
                    </a:lnTo>
                    <a:lnTo>
                      <a:pt x="122" y="8"/>
                    </a:lnTo>
                    <a:lnTo>
                      <a:pt x="92" y="5"/>
                    </a:lnTo>
                    <a:lnTo>
                      <a:pt x="62" y="3"/>
                    </a:lnTo>
                    <a:lnTo>
                      <a:pt x="31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5" name="Freeform 38"/>
              <p:cNvSpPr>
                <a:spLocks noChangeAspect="1"/>
              </p:cNvSpPr>
              <p:nvPr/>
            </p:nvSpPr>
            <p:spPr bwMode="auto">
              <a:xfrm>
                <a:off x="3590" y="1706"/>
                <a:ext cx="811" cy="1062"/>
              </a:xfrm>
              <a:custGeom>
                <a:avLst/>
                <a:gdLst>
                  <a:gd name="T0" fmla="*/ 811 w 811"/>
                  <a:gd name="T1" fmla="*/ 873 h 1062"/>
                  <a:gd name="T2" fmla="*/ 474 w 811"/>
                  <a:gd name="T3" fmla="*/ 1062 h 1062"/>
                  <a:gd name="T4" fmla="*/ 174 w 811"/>
                  <a:gd name="T5" fmla="*/ 863 h 1062"/>
                  <a:gd name="T6" fmla="*/ 173 w 811"/>
                  <a:gd name="T7" fmla="*/ 848 h 1062"/>
                  <a:gd name="T8" fmla="*/ 172 w 811"/>
                  <a:gd name="T9" fmla="*/ 833 h 1062"/>
                  <a:gd name="T10" fmla="*/ 171 w 811"/>
                  <a:gd name="T11" fmla="*/ 819 h 1062"/>
                  <a:gd name="T12" fmla="*/ 169 w 811"/>
                  <a:gd name="T13" fmla="*/ 803 h 1062"/>
                  <a:gd name="T14" fmla="*/ 167 w 811"/>
                  <a:gd name="T15" fmla="*/ 789 h 1062"/>
                  <a:gd name="T16" fmla="*/ 164 w 811"/>
                  <a:gd name="T17" fmla="*/ 774 h 1062"/>
                  <a:gd name="T18" fmla="*/ 159 w 811"/>
                  <a:gd name="T19" fmla="*/ 746 h 1062"/>
                  <a:gd name="T20" fmla="*/ 152 w 811"/>
                  <a:gd name="T21" fmla="*/ 718 h 1062"/>
                  <a:gd name="T22" fmla="*/ 148 w 811"/>
                  <a:gd name="T23" fmla="*/ 704 h 1062"/>
                  <a:gd name="T24" fmla="*/ 143 w 811"/>
                  <a:gd name="T25" fmla="*/ 691 h 1062"/>
                  <a:gd name="T26" fmla="*/ 134 w 811"/>
                  <a:gd name="T27" fmla="*/ 664 h 1062"/>
                  <a:gd name="T28" fmla="*/ 124 w 811"/>
                  <a:gd name="T29" fmla="*/ 637 h 1062"/>
                  <a:gd name="T30" fmla="*/ 112 w 811"/>
                  <a:gd name="T31" fmla="*/ 611 h 1062"/>
                  <a:gd name="T32" fmla="*/ 106 w 811"/>
                  <a:gd name="T33" fmla="*/ 599 h 1062"/>
                  <a:gd name="T34" fmla="*/ 99 w 811"/>
                  <a:gd name="T35" fmla="*/ 586 h 1062"/>
                  <a:gd name="T36" fmla="*/ 85 w 811"/>
                  <a:gd name="T37" fmla="*/ 562 h 1062"/>
                  <a:gd name="T38" fmla="*/ 70 w 811"/>
                  <a:gd name="T39" fmla="*/ 538 h 1062"/>
                  <a:gd name="T40" fmla="*/ 54 w 811"/>
                  <a:gd name="T41" fmla="*/ 516 h 1062"/>
                  <a:gd name="T42" fmla="*/ 37 w 811"/>
                  <a:gd name="T43" fmla="*/ 493 h 1062"/>
                  <a:gd name="T44" fmla="*/ 19 w 811"/>
                  <a:gd name="T45" fmla="*/ 471 h 1062"/>
                  <a:gd name="T46" fmla="*/ 10 w 811"/>
                  <a:gd name="T47" fmla="*/ 460 h 1062"/>
                  <a:gd name="T48" fmla="*/ 0 w 811"/>
                  <a:gd name="T49" fmla="*/ 450 h 1062"/>
                  <a:gd name="T50" fmla="*/ 344 w 811"/>
                  <a:gd name="T51" fmla="*/ 386 h 1062"/>
                  <a:gd name="T52" fmla="*/ 451 w 811"/>
                  <a:gd name="T53" fmla="*/ 0 h 1062"/>
                  <a:gd name="T54" fmla="*/ 471 w 811"/>
                  <a:gd name="T55" fmla="*/ 22 h 1062"/>
                  <a:gd name="T56" fmla="*/ 490 w 811"/>
                  <a:gd name="T57" fmla="*/ 44 h 1062"/>
                  <a:gd name="T58" fmla="*/ 510 w 811"/>
                  <a:gd name="T59" fmla="*/ 66 h 1062"/>
                  <a:gd name="T60" fmla="*/ 528 w 811"/>
                  <a:gd name="T61" fmla="*/ 89 h 1062"/>
                  <a:gd name="T62" fmla="*/ 546 w 811"/>
                  <a:gd name="T63" fmla="*/ 112 h 1062"/>
                  <a:gd name="T64" fmla="*/ 564 w 811"/>
                  <a:gd name="T65" fmla="*/ 136 h 1062"/>
                  <a:gd name="T66" fmla="*/ 582 w 811"/>
                  <a:gd name="T67" fmla="*/ 160 h 1062"/>
                  <a:gd name="T68" fmla="*/ 599 w 811"/>
                  <a:gd name="T69" fmla="*/ 185 h 1062"/>
                  <a:gd name="T70" fmla="*/ 615 w 811"/>
                  <a:gd name="T71" fmla="*/ 210 h 1062"/>
                  <a:gd name="T72" fmla="*/ 630 w 811"/>
                  <a:gd name="T73" fmla="*/ 235 h 1062"/>
                  <a:gd name="T74" fmla="*/ 645 w 811"/>
                  <a:gd name="T75" fmla="*/ 261 h 1062"/>
                  <a:gd name="T76" fmla="*/ 659 w 811"/>
                  <a:gd name="T77" fmla="*/ 286 h 1062"/>
                  <a:gd name="T78" fmla="*/ 673 w 811"/>
                  <a:gd name="T79" fmla="*/ 313 h 1062"/>
                  <a:gd name="T80" fmla="*/ 686 w 811"/>
                  <a:gd name="T81" fmla="*/ 340 h 1062"/>
                  <a:gd name="T82" fmla="*/ 698 w 811"/>
                  <a:gd name="T83" fmla="*/ 367 h 1062"/>
                  <a:gd name="T84" fmla="*/ 710 w 811"/>
                  <a:gd name="T85" fmla="*/ 395 h 1062"/>
                  <a:gd name="T86" fmla="*/ 722 w 811"/>
                  <a:gd name="T87" fmla="*/ 422 h 1062"/>
                  <a:gd name="T88" fmla="*/ 727 w 811"/>
                  <a:gd name="T89" fmla="*/ 436 h 1062"/>
                  <a:gd name="T90" fmla="*/ 733 w 811"/>
                  <a:gd name="T91" fmla="*/ 450 h 1062"/>
                  <a:gd name="T92" fmla="*/ 743 w 811"/>
                  <a:gd name="T93" fmla="*/ 479 h 1062"/>
                  <a:gd name="T94" fmla="*/ 752 w 811"/>
                  <a:gd name="T95" fmla="*/ 508 h 1062"/>
                  <a:gd name="T96" fmla="*/ 761 w 811"/>
                  <a:gd name="T97" fmla="*/ 537 h 1062"/>
                  <a:gd name="T98" fmla="*/ 769 w 811"/>
                  <a:gd name="T99" fmla="*/ 566 h 1062"/>
                  <a:gd name="T100" fmla="*/ 776 w 811"/>
                  <a:gd name="T101" fmla="*/ 596 h 1062"/>
                  <a:gd name="T102" fmla="*/ 783 w 811"/>
                  <a:gd name="T103" fmla="*/ 626 h 1062"/>
                  <a:gd name="T104" fmla="*/ 789 w 811"/>
                  <a:gd name="T105" fmla="*/ 656 h 1062"/>
                  <a:gd name="T106" fmla="*/ 792 w 811"/>
                  <a:gd name="T107" fmla="*/ 672 h 1062"/>
                  <a:gd name="T108" fmla="*/ 794 w 811"/>
                  <a:gd name="T109" fmla="*/ 687 h 1062"/>
                  <a:gd name="T110" fmla="*/ 797 w 811"/>
                  <a:gd name="T111" fmla="*/ 702 h 1062"/>
                  <a:gd name="T112" fmla="*/ 799 w 811"/>
                  <a:gd name="T113" fmla="*/ 717 h 1062"/>
                  <a:gd name="T114" fmla="*/ 803 w 811"/>
                  <a:gd name="T115" fmla="*/ 748 h 1062"/>
                  <a:gd name="T116" fmla="*/ 806 w 811"/>
                  <a:gd name="T117" fmla="*/ 779 h 1062"/>
                  <a:gd name="T118" fmla="*/ 808 w 811"/>
                  <a:gd name="T119" fmla="*/ 810 h 1062"/>
                  <a:gd name="T120" fmla="*/ 810 w 811"/>
                  <a:gd name="T121" fmla="*/ 842 h 1062"/>
                  <a:gd name="T122" fmla="*/ 811 w 811"/>
                  <a:gd name="T123" fmla="*/ 873 h 10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811"/>
                  <a:gd name="T187" fmla="*/ 0 h 1062"/>
                  <a:gd name="T188" fmla="*/ 811 w 811"/>
                  <a:gd name="T189" fmla="*/ 1062 h 10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811" h="1062">
                    <a:moveTo>
                      <a:pt x="811" y="873"/>
                    </a:moveTo>
                    <a:lnTo>
                      <a:pt x="474" y="1062"/>
                    </a:lnTo>
                    <a:lnTo>
                      <a:pt x="174" y="863"/>
                    </a:lnTo>
                    <a:lnTo>
                      <a:pt x="173" y="848"/>
                    </a:lnTo>
                    <a:lnTo>
                      <a:pt x="172" y="833"/>
                    </a:lnTo>
                    <a:lnTo>
                      <a:pt x="171" y="819"/>
                    </a:lnTo>
                    <a:lnTo>
                      <a:pt x="169" y="803"/>
                    </a:lnTo>
                    <a:lnTo>
                      <a:pt x="167" y="789"/>
                    </a:lnTo>
                    <a:lnTo>
                      <a:pt x="164" y="774"/>
                    </a:lnTo>
                    <a:lnTo>
                      <a:pt x="159" y="746"/>
                    </a:lnTo>
                    <a:lnTo>
                      <a:pt x="152" y="718"/>
                    </a:lnTo>
                    <a:lnTo>
                      <a:pt x="148" y="704"/>
                    </a:lnTo>
                    <a:lnTo>
                      <a:pt x="143" y="691"/>
                    </a:lnTo>
                    <a:lnTo>
                      <a:pt x="134" y="664"/>
                    </a:lnTo>
                    <a:lnTo>
                      <a:pt x="124" y="637"/>
                    </a:lnTo>
                    <a:lnTo>
                      <a:pt x="112" y="611"/>
                    </a:lnTo>
                    <a:lnTo>
                      <a:pt x="106" y="599"/>
                    </a:lnTo>
                    <a:lnTo>
                      <a:pt x="99" y="586"/>
                    </a:lnTo>
                    <a:lnTo>
                      <a:pt x="85" y="562"/>
                    </a:lnTo>
                    <a:lnTo>
                      <a:pt x="70" y="538"/>
                    </a:lnTo>
                    <a:lnTo>
                      <a:pt x="54" y="516"/>
                    </a:lnTo>
                    <a:lnTo>
                      <a:pt x="37" y="493"/>
                    </a:lnTo>
                    <a:lnTo>
                      <a:pt x="19" y="471"/>
                    </a:lnTo>
                    <a:lnTo>
                      <a:pt x="10" y="460"/>
                    </a:lnTo>
                    <a:lnTo>
                      <a:pt x="0" y="450"/>
                    </a:lnTo>
                    <a:lnTo>
                      <a:pt x="344" y="386"/>
                    </a:lnTo>
                    <a:lnTo>
                      <a:pt x="451" y="0"/>
                    </a:lnTo>
                    <a:lnTo>
                      <a:pt x="471" y="22"/>
                    </a:lnTo>
                    <a:lnTo>
                      <a:pt x="490" y="44"/>
                    </a:lnTo>
                    <a:lnTo>
                      <a:pt x="510" y="66"/>
                    </a:lnTo>
                    <a:lnTo>
                      <a:pt x="528" y="89"/>
                    </a:lnTo>
                    <a:lnTo>
                      <a:pt x="546" y="112"/>
                    </a:lnTo>
                    <a:lnTo>
                      <a:pt x="564" y="136"/>
                    </a:lnTo>
                    <a:lnTo>
                      <a:pt x="582" y="160"/>
                    </a:lnTo>
                    <a:lnTo>
                      <a:pt x="599" y="185"/>
                    </a:lnTo>
                    <a:lnTo>
                      <a:pt x="615" y="210"/>
                    </a:lnTo>
                    <a:lnTo>
                      <a:pt x="630" y="235"/>
                    </a:lnTo>
                    <a:lnTo>
                      <a:pt x="645" y="261"/>
                    </a:lnTo>
                    <a:lnTo>
                      <a:pt x="659" y="286"/>
                    </a:lnTo>
                    <a:lnTo>
                      <a:pt x="673" y="313"/>
                    </a:lnTo>
                    <a:lnTo>
                      <a:pt x="686" y="340"/>
                    </a:lnTo>
                    <a:lnTo>
                      <a:pt x="698" y="367"/>
                    </a:lnTo>
                    <a:lnTo>
                      <a:pt x="710" y="395"/>
                    </a:lnTo>
                    <a:lnTo>
                      <a:pt x="722" y="422"/>
                    </a:lnTo>
                    <a:lnTo>
                      <a:pt x="727" y="436"/>
                    </a:lnTo>
                    <a:lnTo>
                      <a:pt x="733" y="450"/>
                    </a:lnTo>
                    <a:lnTo>
                      <a:pt x="743" y="479"/>
                    </a:lnTo>
                    <a:lnTo>
                      <a:pt x="752" y="508"/>
                    </a:lnTo>
                    <a:lnTo>
                      <a:pt x="761" y="537"/>
                    </a:lnTo>
                    <a:lnTo>
                      <a:pt x="769" y="566"/>
                    </a:lnTo>
                    <a:lnTo>
                      <a:pt x="776" y="596"/>
                    </a:lnTo>
                    <a:lnTo>
                      <a:pt x="783" y="626"/>
                    </a:lnTo>
                    <a:lnTo>
                      <a:pt x="789" y="656"/>
                    </a:lnTo>
                    <a:lnTo>
                      <a:pt x="792" y="672"/>
                    </a:lnTo>
                    <a:lnTo>
                      <a:pt x="794" y="687"/>
                    </a:lnTo>
                    <a:lnTo>
                      <a:pt x="797" y="702"/>
                    </a:lnTo>
                    <a:lnTo>
                      <a:pt x="799" y="717"/>
                    </a:lnTo>
                    <a:lnTo>
                      <a:pt x="803" y="748"/>
                    </a:lnTo>
                    <a:lnTo>
                      <a:pt x="806" y="779"/>
                    </a:lnTo>
                    <a:lnTo>
                      <a:pt x="808" y="810"/>
                    </a:lnTo>
                    <a:lnTo>
                      <a:pt x="810" y="842"/>
                    </a:lnTo>
                    <a:lnTo>
                      <a:pt x="811" y="8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6" name="Freeform 39"/>
              <p:cNvSpPr>
                <a:spLocks noChangeAspect="1"/>
              </p:cNvSpPr>
              <p:nvPr/>
            </p:nvSpPr>
            <p:spPr bwMode="auto">
              <a:xfrm>
                <a:off x="3597" y="2641"/>
                <a:ext cx="804" cy="850"/>
              </a:xfrm>
              <a:custGeom>
                <a:avLst/>
                <a:gdLst>
                  <a:gd name="T0" fmla="*/ 166 w 804"/>
                  <a:gd name="T1" fmla="*/ 0 h 850"/>
                  <a:gd name="T2" fmla="*/ 165 w 804"/>
                  <a:gd name="T3" fmla="*/ 14 h 850"/>
                  <a:gd name="T4" fmla="*/ 164 w 804"/>
                  <a:gd name="T5" fmla="*/ 28 h 850"/>
                  <a:gd name="T6" fmla="*/ 160 w 804"/>
                  <a:gd name="T7" fmla="*/ 56 h 850"/>
                  <a:gd name="T8" fmla="*/ 155 w 804"/>
                  <a:gd name="T9" fmla="*/ 83 h 850"/>
                  <a:gd name="T10" fmla="*/ 150 w 804"/>
                  <a:gd name="T11" fmla="*/ 110 h 850"/>
                  <a:gd name="T12" fmla="*/ 143 w 804"/>
                  <a:gd name="T13" fmla="*/ 136 h 850"/>
                  <a:gd name="T14" fmla="*/ 134 w 804"/>
                  <a:gd name="T15" fmla="*/ 162 h 850"/>
                  <a:gd name="T16" fmla="*/ 125 w 804"/>
                  <a:gd name="T17" fmla="*/ 187 h 850"/>
                  <a:gd name="T18" fmla="*/ 115 w 804"/>
                  <a:gd name="T19" fmla="*/ 213 h 850"/>
                  <a:gd name="T20" fmla="*/ 104 w 804"/>
                  <a:gd name="T21" fmla="*/ 237 h 850"/>
                  <a:gd name="T22" fmla="*/ 92 w 804"/>
                  <a:gd name="T23" fmla="*/ 261 h 850"/>
                  <a:gd name="T24" fmla="*/ 78 w 804"/>
                  <a:gd name="T25" fmla="*/ 284 h 850"/>
                  <a:gd name="T26" fmla="*/ 64 w 804"/>
                  <a:gd name="T27" fmla="*/ 306 h 850"/>
                  <a:gd name="T28" fmla="*/ 57 w 804"/>
                  <a:gd name="T29" fmla="*/ 317 h 850"/>
                  <a:gd name="T30" fmla="*/ 49 w 804"/>
                  <a:gd name="T31" fmla="*/ 328 h 850"/>
                  <a:gd name="T32" fmla="*/ 41 w 804"/>
                  <a:gd name="T33" fmla="*/ 339 h 850"/>
                  <a:gd name="T34" fmla="*/ 34 w 804"/>
                  <a:gd name="T35" fmla="*/ 349 h 850"/>
                  <a:gd name="T36" fmla="*/ 17 w 804"/>
                  <a:gd name="T37" fmla="*/ 371 h 850"/>
                  <a:gd name="T38" fmla="*/ 0 w 804"/>
                  <a:gd name="T39" fmla="*/ 391 h 850"/>
                  <a:gd name="T40" fmla="*/ 70 w 804"/>
                  <a:gd name="T41" fmla="*/ 744 h 850"/>
                  <a:gd name="T42" fmla="*/ 442 w 804"/>
                  <a:gd name="T43" fmla="*/ 850 h 850"/>
                  <a:gd name="T44" fmla="*/ 462 w 804"/>
                  <a:gd name="T45" fmla="*/ 828 h 850"/>
                  <a:gd name="T46" fmla="*/ 481 w 804"/>
                  <a:gd name="T47" fmla="*/ 807 h 850"/>
                  <a:gd name="T48" fmla="*/ 490 w 804"/>
                  <a:gd name="T49" fmla="*/ 796 h 850"/>
                  <a:gd name="T50" fmla="*/ 500 w 804"/>
                  <a:gd name="T51" fmla="*/ 785 h 850"/>
                  <a:gd name="T52" fmla="*/ 518 w 804"/>
                  <a:gd name="T53" fmla="*/ 763 h 850"/>
                  <a:gd name="T54" fmla="*/ 536 w 804"/>
                  <a:gd name="T55" fmla="*/ 741 h 850"/>
                  <a:gd name="T56" fmla="*/ 553 w 804"/>
                  <a:gd name="T57" fmla="*/ 718 h 850"/>
                  <a:gd name="T58" fmla="*/ 571 w 804"/>
                  <a:gd name="T59" fmla="*/ 695 h 850"/>
                  <a:gd name="T60" fmla="*/ 587 w 804"/>
                  <a:gd name="T61" fmla="*/ 670 h 850"/>
                  <a:gd name="T62" fmla="*/ 603 w 804"/>
                  <a:gd name="T63" fmla="*/ 646 h 850"/>
                  <a:gd name="T64" fmla="*/ 619 w 804"/>
                  <a:gd name="T65" fmla="*/ 622 h 850"/>
                  <a:gd name="T66" fmla="*/ 633 w 804"/>
                  <a:gd name="T67" fmla="*/ 597 h 850"/>
                  <a:gd name="T68" fmla="*/ 648 w 804"/>
                  <a:gd name="T69" fmla="*/ 572 h 850"/>
                  <a:gd name="T70" fmla="*/ 661 w 804"/>
                  <a:gd name="T71" fmla="*/ 546 h 850"/>
                  <a:gd name="T72" fmla="*/ 674 w 804"/>
                  <a:gd name="T73" fmla="*/ 520 h 850"/>
                  <a:gd name="T74" fmla="*/ 687 w 804"/>
                  <a:gd name="T75" fmla="*/ 493 h 850"/>
                  <a:gd name="T76" fmla="*/ 699 w 804"/>
                  <a:gd name="T77" fmla="*/ 467 h 850"/>
                  <a:gd name="T78" fmla="*/ 710 w 804"/>
                  <a:gd name="T79" fmla="*/ 440 h 850"/>
                  <a:gd name="T80" fmla="*/ 721 w 804"/>
                  <a:gd name="T81" fmla="*/ 413 h 850"/>
                  <a:gd name="T82" fmla="*/ 732 w 804"/>
                  <a:gd name="T83" fmla="*/ 386 h 850"/>
                  <a:gd name="T84" fmla="*/ 741 w 804"/>
                  <a:gd name="T85" fmla="*/ 358 h 850"/>
                  <a:gd name="T86" fmla="*/ 750 w 804"/>
                  <a:gd name="T87" fmla="*/ 329 h 850"/>
                  <a:gd name="T88" fmla="*/ 758 w 804"/>
                  <a:gd name="T89" fmla="*/ 301 h 850"/>
                  <a:gd name="T90" fmla="*/ 766 w 804"/>
                  <a:gd name="T91" fmla="*/ 272 h 850"/>
                  <a:gd name="T92" fmla="*/ 773 w 804"/>
                  <a:gd name="T93" fmla="*/ 243 h 850"/>
                  <a:gd name="T94" fmla="*/ 779 w 804"/>
                  <a:gd name="T95" fmla="*/ 214 h 850"/>
                  <a:gd name="T96" fmla="*/ 785 w 804"/>
                  <a:gd name="T97" fmla="*/ 184 h 850"/>
                  <a:gd name="T98" fmla="*/ 790 w 804"/>
                  <a:gd name="T99" fmla="*/ 155 h 850"/>
                  <a:gd name="T100" fmla="*/ 794 w 804"/>
                  <a:gd name="T101" fmla="*/ 125 h 850"/>
                  <a:gd name="T102" fmla="*/ 797 w 804"/>
                  <a:gd name="T103" fmla="*/ 95 h 850"/>
                  <a:gd name="T104" fmla="*/ 800 w 804"/>
                  <a:gd name="T105" fmla="*/ 65 h 850"/>
                  <a:gd name="T106" fmla="*/ 802 w 804"/>
                  <a:gd name="T107" fmla="*/ 33 h 850"/>
                  <a:gd name="T108" fmla="*/ 804 w 804"/>
                  <a:gd name="T109" fmla="*/ 3 h 850"/>
                  <a:gd name="T110" fmla="*/ 450 w 804"/>
                  <a:gd name="T111" fmla="*/ 204 h 850"/>
                  <a:gd name="T112" fmla="*/ 166 w 804"/>
                  <a:gd name="T113" fmla="*/ 0 h 85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04"/>
                  <a:gd name="T172" fmla="*/ 0 h 850"/>
                  <a:gd name="T173" fmla="*/ 804 w 804"/>
                  <a:gd name="T174" fmla="*/ 850 h 85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04" h="850">
                    <a:moveTo>
                      <a:pt x="166" y="0"/>
                    </a:moveTo>
                    <a:lnTo>
                      <a:pt x="165" y="14"/>
                    </a:lnTo>
                    <a:lnTo>
                      <a:pt x="164" y="28"/>
                    </a:lnTo>
                    <a:lnTo>
                      <a:pt x="160" y="56"/>
                    </a:lnTo>
                    <a:lnTo>
                      <a:pt x="155" y="83"/>
                    </a:lnTo>
                    <a:lnTo>
                      <a:pt x="150" y="110"/>
                    </a:lnTo>
                    <a:lnTo>
                      <a:pt x="143" y="136"/>
                    </a:lnTo>
                    <a:lnTo>
                      <a:pt x="134" y="162"/>
                    </a:lnTo>
                    <a:lnTo>
                      <a:pt x="125" y="187"/>
                    </a:lnTo>
                    <a:lnTo>
                      <a:pt x="115" y="213"/>
                    </a:lnTo>
                    <a:lnTo>
                      <a:pt x="104" y="237"/>
                    </a:lnTo>
                    <a:lnTo>
                      <a:pt x="92" y="261"/>
                    </a:lnTo>
                    <a:lnTo>
                      <a:pt x="78" y="284"/>
                    </a:lnTo>
                    <a:lnTo>
                      <a:pt x="64" y="306"/>
                    </a:lnTo>
                    <a:lnTo>
                      <a:pt x="57" y="317"/>
                    </a:lnTo>
                    <a:lnTo>
                      <a:pt x="49" y="328"/>
                    </a:lnTo>
                    <a:lnTo>
                      <a:pt x="41" y="339"/>
                    </a:lnTo>
                    <a:lnTo>
                      <a:pt x="34" y="349"/>
                    </a:lnTo>
                    <a:lnTo>
                      <a:pt x="17" y="371"/>
                    </a:lnTo>
                    <a:lnTo>
                      <a:pt x="0" y="391"/>
                    </a:lnTo>
                    <a:lnTo>
                      <a:pt x="70" y="744"/>
                    </a:lnTo>
                    <a:lnTo>
                      <a:pt x="442" y="850"/>
                    </a:lnTo>
                    <a:lnTo>
                      <a:pt x="462" y="828"/>
                    </a:lnTo>
                    <a:lnTo>
                      <a:pt x="481" y="807"/>
                    </a:lnTo>
                    <a:lnTo>
                      <a:pt x="490" y="796"/>
                    </a:lnTo>
                    <a:lnTo>
                      <a:pt x="500" y="785"/>
                    </a:lnTo>
                    <a:lnTo>
                      <a:pt x="518" y="763"/>
                    </a:lnTo>
                    <a:lnTo>
                      <a:pt x="536" y="741"/>
                    </a:lnTo>
                    <a:lnTo>
                      <a:pt x="553" y="718"/>
                    </a:lnTo>
                    <a:lnTo>
                      <a:pt x="571" y="695"/>
                    </a:lnTo>
                    <a:lnTo>
                      <a:pt x="587" y="670"/>
                    </a:lnTo>
                    <a:lnTo>
                      <a:pt x="603" y="646"/>
                    </a:lnTo>
                    <a:lnTo>
                      <a:pt x="619" y="622"/>
                    </a:lnTo>
                    <a:lnTo>
                      <a:pt x="633" y="597"/>
                    </a:lnTo>
                    <a:lnTo>
                      <a:pt x="648" y="572"/>
                    </a:lnTo>
                    <a:lnTo>
                      <a:pt x="661" y="546"/>
                    </a:lnTo>
                    <a:lnTo>
                      <a:pt x="674" y="520"/>
                    </a:lnTo>
                    <a:lnTo>
                      <a:pt x="687" y="493"/>
                    </a:lnTo>
                    <a:lnTo>
                      <a:pt x="699" y="467"/>
                    </a:lnTo>
                    <a:lnTo>
                      <a:pt x="710" y="440"/>
                    </a:lnTo>
                    <a:lnTo>
                      <a:pt x="721" y="413"/>
                    </a:lnTo>
                    <a:lnTo>
                      <a:pt x="732" y="386"/>
                    </a:lnTo>
                    <a:lnTo>
                      <a:pt x="741" y="358"/>
                    </a:lnTo>
                    <a:lnTo>
                      <a:pt x="750" y="329"/>
                    </a:lnTo>
                    <a:lnTo>
                      <a:pt x="758" y="301"/>
                    </a:lnTo>
                    <a:lnTo>
                      <a:pt x="766" y="272"/>
                    </a:lnTo>
                    <a:lnTo>
                      <a:pt x="773" y="243"/>
                    </a:lnTo>
                    <a:lnTo>
                      <a:pt x="779" y="214"/>
                    </a:lnTo>
                    <a:lnTo>
                      <a:pt x="785" y="184"/>
                    </a:lnTo>
                    <a:lnTo>
                      <a:pt x="790" y="155"/>
                    </a:lnTo>
                    <a:lnTo>
                      <a:pt x="794" y="125"/>
                    </a:lnTo>
                    <a:lnTo>
                      <a:pt x="797" y="95"/>
                    </a:lnTo>
                    <a:lnTo>
                      <a:pt x="800" y="65"/>
                    </a:lnTo>
                    <a:lnTo>
                      <a:pt x="802" y="33"/>
                    </a:lnTo>
                    <a:lnTo>
                      <a:pt x="804" y="3"/>
                    </a:lnTo>
                    <a:lnTo>
                      <a:pt x="450" y="204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7" name="Freeform 40"/>
              <p:cNvSpPr>
                <a:spLocks noChangeAspect="1"/>
              </p:cNvSpPr>
              <p:nvPr/>
            </p:nvSpPr>
            <p:spPr bwMode="auto">
              <a:xfrm>
                <a:off x="3015" y="3084"/>
                <a:ext cx="979" cy="792"/>
              </a:xfrm>
              <a:custGeom>
                <a:avLst/>
                <a:gdLst>
                  <a:gd name="T0" fmla="*/ 191 w 979"/>
                  <a:gd name="T1" fmla="*/ 792 h 792"/>
                  <a:gd name="T2" fmla="*/ 0 w 979"/>
                  <a:gd name="T3" fmla="*/ 462 h 792"/>
                  <a:gd name="T4" fmla="*/ 194 w 979"/>
                  <a:gd name="T5" fmla="*/ 151 h 792"/>
                  <a:gd name="T6" fmla="*/ 217 w 979"/>
                  <a:gd name="T7" fmla="*/ 147 h 792"/>
                  <a:gd name="T8" fmla="*/ 240 w 979"/>
                  <a:gd name="T9" fmla="*/ 143 h 792"/>
                  <a:gd name="T10" fmla="*/ 252 w 979"/>
                  <a:gd name="T11" fmla="*/ 140 h 792"/>
                  <a:gd name="T12" fmla="*/ 263 w 979"/>
                  <a:gd name="T13" fmla="*/ 137 h 792"/>
                  <a:gd name="T14" fmla="*/ 286 w 979"/>
                  <a:gd name="T15" fmla="*/ 131 h 792"/>
                  <a:gd name="T16" fmla="*/ 308 w 979"/>
                  <a:gd name="T17" fmla="*/ 124 h 792"/>
                  <a:gd name="T18" fmla="*/ 330 w 979"/>
                  <a:gd name="T19" fmla="*/ 117 h 792"/>
                  <a:gd name="T20" fmla="*/ 353 w 979"/>
                  <a:gd name="T21" fmla="*/ 108 h 792"/>
                  <a:gd name="T22" fmla="*/ 374 w 979"/>
                  <a:gd name="T23" fmla="*/ 99 h 792"/>
                  <a:gd name="T24" fmla="*/ 395 w 979"/>
                  <a:gd name="T25" fmla="*/ 89 h 792"/>
                  <a:gd name="T26" fmla="*/ 415 w 979"/>
                  <a:gd name="T27" fmla="*/ 79 h 792"/>
                  <a:gd name="T28" fmla="*/ 435 w 979"/>
                  <a:gd name="T29" fmla="*/ 67 h 792"/>
                  <a:gd name="T30" fmla="*/ 454 w 979"/>
                  <a:gd name="T31" fmla="*/ 55 h 792"/>
                  <a:gd name="T32" fmla="*/ 464 w 979"/>
                  <a:gd name="T33" fmla="*/ 48 h 792"/>
                  <a:gd name="T34" fmla="*/ 473 w 979"/>
                  <a:gd name="T35" fmla="*/ 42 h 792"/>
                  <a:gd name="T36" fmla="*/ 492 w 979"/>
                  <a:gd name="T37" fmla="*/ 29 h 792"/>
                  <a:gd name="T38" fmla="*/ 511 w 979"/>
                  <a:gd name="T39" fmla="*/ 15 h 792"/>
                  <a:gd name="T40" fmla="*/ 528 w 979"/>
                  <a:gd name="T41" fmla="*/ 0 h 792"/>
                  <a:gd name="T42" fmla="*/ 586 w 979"/>
                  <a:gd name="T43" fmla="*/ 342 h 792"/>
                  <a:gd name="T44" fmla="*/ 979 w 979"/>
                  <a:gd name="T45" fmla="*/ 450 h 792"/>
                  <a:gd name="T46" fmla="*/ 959 w 979"/>
                  <a:gd name="T47" fmla="*/ 468 h 792"/>
                  <a:gd name="T48" fmla="*/ 939 w 979"/>
                  <a:gd name="T49" fmla="*/ 486 h 792"/>
                  <a:gd name="T50" fmla="*/ 918 w 979"/>
                  <a:gd name="T51" fmla="*/ 503 h 792"/>
                  <a:gd name="T52" fmla="*/ 897 w 979"/>
                  <a:gd name="T53" fmla="*/ 520 h 792"/>
                  <a:gd name="T54" fmla="*/ 876 w 979"/>
                  <a:gd name="T55" fmla="*/ 536 h 792"/>
                  <a:gd name="T56" fmla="*/ 855 w 979"/>
                  <a:gd name="T57" fmla="*/ 552 h 792"/>
                  <a:gd name="T58" fmla="*/ 833 w 979"/>
                  <a:gd name="T59" fmla="*/ 569 h 792"/>
                  <a:gd name="T60" fmla="*/ 810 w 979"/>
                  <a:gd name="T61" fmla="*/ 584 h 792"/>
                  <a:gd name="T62" fmla="*/ 787 w 979"/>
                  <a:gd name="T63" fmla="*/ 598 h 792"/>
                  <a:gd name="T64" fmla="*/ 764 w 979"/>
                  <a:gd name="T65" fmla="*/ 613 h 792"/>
                  <a:gd name="T66" fmla="*/ 741 w 979"/>
                  <a:gd name="T67" fmla="*/ 626 h 792"/>
                  <a:gd name="T68" fmla="*/ 718 w 979"/>
                  <a:gd name="T69" fmla="*/ 639 h 792"/>
                  <a:gd name="T70" fmla="*/ 694 w 979"/>
                  <a:gd name="T71" fmla="*/ 652 h 792"/>
                  <a:gd name="T72" fmla="*/ 670 w 979"/>
                  <a:gd name="T73" fmla="*/ 664 h 792"/>
                  <a:gd name="T74" fmla="*/ 645 w 979"/>
                  <a:gd name="T75" fmla="*/ 676 h 792"/>
                  <a:gd name="T76" fmla="*/ 620 w 979"/>
                  <a:gd name="T77" fmla="*/ 687 h 792"/>
                  <a:gd name="T78" fmla="*/ 595 w 979"/>
                  <a:gd name="T79" fmla="*/ 698 h 792"/>
                  <a:gd name="T80" fmla="*/ 570 w 979"/>
                  <a:gd name="T81" fmla="*/ 708 h 792"/>
                  <a:gd name="T82" fmla="*/ 544 w 979"/>
                  <a:gd name="T83" fmla="*/ 718 h 792"/>
                  <a:gd name="T84" fmla="*/ 532 w 979"/>
                  <a:gd name="T85" fmla="*/ 723 h 792"/>
                  <a:gd name="T86" fmla="*/ 519 w 979"/>
                  <a:gd name="T87" fmla="*/ 727 h 792"/>
                  <a:gd name="T88" fmla="*/ 492 w 979"/>
                  <a:gd name="T89" fmla="*/ 736 h 792"/>
                  <a:gd name="T90" fmla="*/ 466 w 979"/>
                  <a:gd name="T91" fmla="*/ 744 h 792"/>
                  <a:gd name="T92" fmla="*/ 439 w 979"/>
                  <a:gd name="T93" fmla="*/ 751 h 792"/>
                  <a:gd name="T94" fmla="*/ 426 w 979"/>
                  <a:gd name="T95" fmla="*/ 755 h 792"/>
                  <a:gd name="T96" fmla="*/ 413 w 979"/>
                  <a:gd name="T97" fmla="*/ 758 h 792"/>
                  <a:gd name="T98" fmla="*/ 386 w 979"/>
                  <a:gd name="T99" fmla="*/ 764 h 792"/>
                  <a:gd name="T100" fmla="*/ 359 w 979"/>
                  <a:gd name="T101" fmla="*/ 770 h 792"/>
                  <a:gd name="T102" fmla="*/ 303 w 979"/>
                  <a:gd name="T103" fmla="*/ 780 h 792"/>
                  <a:gd name="T104" fmla="*/ 275 w 979"/>
                  <a:gd name="T105" fmla="*/ 784 h 792"/>
                  <a:gd name="T106" fmla="*/ 247 w 979"/>
                  <a:gd name="T107" fmla="*/ 787 h 792"/>
                  <a:gd name="T108" fmla="*/ 219 w 979"/>
                  <a:gd name="T109" fmla="*/ 790 h 792"/>
                  <a:gd name="T110" fmla="*/ 191 w 979"/>
                  <a:gd name="T111" fmla="*/ 792 h 7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79"/>
                  <a:gd name="T169" fmla="*/ 0 h 792"/>
                  <a:gd name="T170" fmla="*/ 979 w 979"/>
                  <a:gd name="T171" fmla="*/ 792 h 7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79" h="792">
                    <a:moveTo>
                      <a:pt x="191" y="792"/>
                    </a:moveTo>
                    <a:lnTo>
                      <a:pt x="0" y="462"/>
                    </a:lnTo>
                    <a:lnTo>
                      <a:pt x="194" y="151"/>
                    </a:lnTo>
                    <a:lnTo>
                      <a:pt x="217" y="147"/>
                    </a:lnTo>
                    <a:lnTo>
                      <a:pt x="240" y="143"/>
                    </a:lnTo>
                    <a:lnTo>
                      <a:pt x="252" y="140"/>
                    </a:lnTo>
                    <a:lnTo>
                      <a:pt x="263" y="137"/>
                    </a:lnTo>
                    <a:lnTo>
                      <a:pt x="286" y="131"/>
                    </a:lnTo>
                    <a:lnTo>
                      <a:pt x="308" y="124"/>
                    </a:lnTo>
                    <a:lnTo>
                      <a:pt x="330" y="117"/>
                    </a:lnTo>
                    <a:lnTo>
                      <a:pt x="353" y="108"/>
                    </a:lnTo>
                    <a:lnTo>
                      <a:pt x="374" y="99"/>
                    </a:lnTo>
                    <a:lnTo>
                      <a:pt x="395" y="89"/>
                    </a:lnTo>
                    <a:lnTo>
                      <a:pt x="415" y="79"/>
                    </a:lnTo>
                    <a:lnTo>
                      <a:pt x="435" y="67"/>
                    </a:lnTo>
                    <a:lnTo>
                      <a:pt x="454" y="55"/>
                    </a:lnTo>
                    <a:lnTo>
                      <a:pt x="464" y="48"/>
                    </a:lnTo>
                    <a:lnTo>
                      <a:pt x="473" y="42"/>
                    </a:lnTo>
                    <a:lnTo>
                      <a:pt x="492" y="29"/>
                    </a:lnTo>
                    <a:lnTo>
                      <a:pt x="511" y="15"/>
                    </a:lnTo>
                    <a:lnTo>
                      <a:pt x="528" y="0"/>
                    </a:lnTo>
                    <a:lnTo>
                      <a:pt x="586" y="342"/>
                    </a:lnTo>
                    <a:lnTo>
                      <a:pt x="979" y="450"/>
                    </a:lnTo>
                    <a:lnTo>
                      <a:pt x="959" y="468"/>
                    </a:lnTo>
                    <a:lnTo>
                      <a:pt x="939" y="486"/>
                    </a:lnTo>
                    <a:lnTo>
                      <a:pt x="918" y="503"/>
                    </a:lnTo>
                    <a:lnTo>
                      <a:pt x="897" y="520"/>
                    </a:lnTo>
                    <a:lnTo>
                      <a:pt x="876" y="536"/>
                    </a:lnTo>
                    <a:lnTo>
                      <a:pt x="855" y="552"/>
                    </a:lnTo>
                    <a:lnTo>
                      <a:pt x="833" y="569"/>
                    </a:lnTo>
                    <a:lnTo>
                      <a:pt x="810" y="584"/>
                    </a:lnTo>
                    <a:lnTo>
                      <a:pt x="787" y="598"/>
                    </a:lnTo>
                    <a:lnTo>
                      <a:pt x="764" y="613"/>
                    </a:lnTo>
                    <a:lnTo>
                      <a:pt x="741" y="626"/>
                    </a:lnTo>
                    <a:lnTo>
                      <a:pt x="718" y="639"/>
                    </a:lnTo>
                    <a:lnTo>
                      <a:pt x="694" y="652"/>
                    </a:lnTo>
                    <a:lnTo>
                      <a:pt x="670" y="664"/>
                    </a:lnTo>
                    <a:lnTo>
                      <a:pt x="645" y="676"/>
                    </a:lnTo>
                    <a:lnTo>
                      <a:pt x="620" y="687"/>
                    </a:lnTo>
                    <a:lnTo>
                      <a:pt x="595" y="698"/>
                    </a:lnTo>
                    <a:lnTo>
                      <a:pt x="570" y="708"/>
                    </a:lnTo>
                    <a:lnTo>
                      <a:pt x="544" y="718"/>
                    </a:lnTo>
                    <a:lnTo>
                      <a:pt x="532" y="723"/>
                    </a:lnTo>
                    <a:lnTo>
                      <a:pt x="519" y="727"/>
                    </a:lnTo>
                    <a:lnTo>
                      <a:pt x="492" y="736"/>
                    </a:lnTo>
                    <a:lnTo>
                      <a:pt x="466" y="744"/>
                    </a:lnTo>
                    <a:lnTo>
                      <a:pt x="439" y="751"/>
                    </a:lnTo>
                    <a:lnTo>
                      <a:pt x="426" y="755"/>
                    </a:lnTo>
                    <a:lnTo>
                      <a:pt x="413" y="758"/>
                    </a:lnTo>
                    <a:lnTo>
                      <a:pt x="386" y="764"/>
                    </a:lnTo>
                    <a:lnTo>
                      <a:pt x="359" y="770"/>
                    </a:lnTo>
                    <a:lnTo>
                      <a:pt x="303" y="780"/>
                    </a:lnTo>
                    <a:lnTo>
                      <a:pt x="275" y="784"/>
                    </a:lnTo>
                    <a:lnTo>
                      <a:pt x="247" y="787"/>
                    </a:lnTo>
                    <a:lnTo>
                      <a:pt x="219" y="790"/>
                    </a:lnTo>
                    <a:lnTo>
                      <a:pt x="191" y="792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8" name="Freeform 41"/>
              <p:cNvSpPr>
                <a:spLocks noChangeAspect="1"/>
              </p:cNvSpPr>
              <p:nvPr/>
            </p:nvSpPr>
            <p:spPr bwMode="auto">
              <a:xfrm>
                <a:off x="2274" y="3109"/>
                <a:ext cx="867" cy="769"/>
              </a:xfrm>
              <a:custGeom>
                <a:avLst/>
                <a:gdLst>
                  <a:gd name="T0" fmla="*/ 866 w 867"/>
                  <a:gd name="T1" fmla="*/ 769 h 769"/>
                  <a:gd name="T2" fmla="*/ 847 w 867"/>
                  <a:gd name="T3" fmla="*/ 769 h 769"/>
                  <a:gd name="T4" fmla="*/ 817 w 867"/>
                  <a:gd name="T5" fmla="*/ 769 h 769"/>
                  <a:gd name="T6" fmla="*/ 787 w 867"/>
                  <a:gd name="T7" fmla="*/ 768 h 769"/>
                  <a:gd name="T8" fmla="*/ 756 w 867"/>
                  <a:gd name="T9" fmla="*/ 766 h 769"/>
                  <a:gd name="T10" fmla="*/ 726 w 867"/>
                  <a:gd name="T11" fmla="*/ 764 h 769"/>
                  <a:gd name="T12" fmla="*/ 697 w 867"/>
                  <a:gd name="T13" fmla="*/ 760 h 769"/>
                  <a:gd name="T14" fmla="*/ 667 w 867"/>
                  <a:gd name="T15" fmla="*/ 757 h 769"/>
                  <a:gd name="T16" fmla="*/ 653 w 867"/>
                  <a:gd name="T17" fmla="*/ 755 h 769"/>
                  <a:gd name="T18" fmla="*/ 638 w 867"/>
                  <a:gd name="T19" fmla="*/ 752 h 769"/>
                  <a:gd name="T20" fmla="*/ 610 w 867"/>
                  <a:gd name="T21" fmla="*/ 747 h 769"/>
                  <a:gd name="T22" fmla="*/ 580 w 867"/>
                  <a:gd name="T23" fmla="*/ 742 h 769"/>
                  <a:gd name="T24" fmla="*/ 552 w 867"/>
                  <a:gd name="T25" fmla="*/ 735 h 769"/>
                  <a:gd name="T26" fmla="*/ 523 w 867"/>
                  <a:gd name="T27" fmla="*/ 728 h 769"/>
                  <a:gd name="T28" fmla="*/ 496 w 867"/>
                  <a:gd name="T29" fmla="*/ 721 h 769"/>
                  <a:gd name="T30" fmla="*/ 482 w 867"/>
                  <a:gd name="T31" fmla="*/ 717 h 769"/>
                  <a:gd name="T32" fmla="*/ 468 w 867"/>
                  <a:gd name="T33" fmla="*/ 712 h 769"/>
                  <a:gd name="T34" fmla="*/ 440 w 867"/>
                  <a:gd name="T35" fmla="*/ 704 h 769"/>
                  <a:gd name="T36" fmla="*/ 413 w 867"/>
                  <a:gd name="T37" fmla="*/ 694 h 769"/>
                  <a:gd name="T38" fmla="*/ 386 w 867"/>
                  <a:gd name="T39" fmla="*/ 683 h 769"/>
                  <a:gd name="T40" fmla="*/ 359 w 867"/>
                  <a:gd name="T41" fmla="*/ 673 h 769"/>
                  <a:gd name="T42" fmla="*/ 333 w 867"/>
                  <a:gd name="T43" fmla="*/ 662 h 769"/>
                  <a:gd name="T44" fmla="*/ 307 w 867"/>
                  <a:gd name="T45" fmla="*/ 650 h 769"/>
                  <a:gd name="T46" fmla="*/ 281 w 867"/>
                  <a:gd name="T47" fmla="*/ 638 h 769"/>
                  <a:gd name="T48" fmla="*/ 255 w 867"/>
                  <a:gd name="T49" fmla="*/ 625 h 769"/>
                  <a:gd name="T50" fmla="*/ 230 w 867"/>
                  <a:gd name="T51" fmla="*/ 611 h 769"/>
                  <a:gd name="T52" fmla="*/ 206 w 867"/>
                  <a:gd name="T53" fmla="*/ 598 h 769"/>
                  <a:gd name="T54" fmla="*/ 182 w 867"/>
                  <a:gd name="T55" fmla="*/ 583 h 769"/>
                  <a:gd name="T56" fmla="*/ 158 w 867"/>
                  <a:gd name="T57" fmla="*/ 568 h 769"/>
                  <a:gd name="T58" fmla="*/ 134 w 867"/>
                  <a:gd name="T59" fmla="*/ 553 h 769"/>
                  <a:gd name="T60" fmla="*/ 110 w 867"/>
                  <a:gd name="T61" fmla="*/ 537 h 769"/>
                  <a:gd name="T62" fmla="*/ 87 w 867"/>
                  <a:gd name="T63" fmla="*/ 519 h 769"/>
                  <a:gd name="T64" fmla="*/ 65 w 867"/>
                  <a:gd name="T65" fmla="*/ 502 h 769"/>
                  <a:gd name="T66" fmla="*/ 43 w 867"/>
                  <a:gd name="T67" fmla="*/ 485 h 769"/>
                  <a:gd name="T68" fmla="*/ 21 w 867"/>
                  <a:gd name="T69" fmla="*/ 467 h 769"/>
                  <a:gd name="T70" fmla="*/ 0 w 867"/>
                  <a:gd name="T71" fmla="*/ 449 h 769"/>
                  <a:gd name="T72" fmla="*/ 96 w 867"/>
                  <a:gd name="T73" fmla="*/ 84 h 769"/>
                  <a:gd name="T74" fmla="*/ 454 w 867"/>
                  <a:gd name="T75" fmla="*/ 0 h 769"/>
                  <a:gd name="T76" fmla="*/ 474 w 867"/>
                  <a:gd name="T77" fmla="*/ 15 h 769"/>
                  <a:gd name="T78" fmla="*/ 485 w 867"/>
                  <a:gd name="T79" fmla="*/ 22 h 769"/>
                  <a:gd name="T80" fmla="*/ 495 w 867"/>
                  <a:gd name="T81" fmla="*/ 29 h 769"/>
                  <a:gd name="T82" fmla="*/ 517 w 867"/>
                  <a:gd name="T83" fmla="*/ 43 h 769"/>
                  <a:gd name="T84" fmla="*/ 540 w 867"/>
                  <a:gd name="T85" fmla="*/ 56 h 769"/>
                  <a:gd name="T86" fmla="*/ 563 w 867"/>
                  <a:gd name="T87" fmla="*/ 68 h 769"/>
                  <a:gd name="T88" fmla="*/ 574 w 867"/>
                  <a:gd name="T89" fmla="*/ 74 h 769"/>
                  <a:gd name="T90" fmla="*/ 586 w 867"/>
                  <a:gd name="T91" fmla="*/ 79 h 769"/>
                  <a:gd name="T92" fmla="*/ 611 w 867"/>
                  <a:gd name="T93" fmla="*/ 89 h 769"/>
                  <a:gd name="T94" fmla="*/ 623 w 867"/>
                  <a:gd name="T95" fmla="*/ 93 h 769"/>
                  <a:gd name="T96" fmla="*/ 636 w 867"/>
                  <a:gd name="T97" fmla="*/ 98 h 769"/>
                  <a:gd name="T98" fmla="*/ 660 w 867"/>
                  <a:gd name="T99" fmla="*/ 106 h 769"/>
                  <a:gd name="T100" fmla="*/ 686 w 867"/>
                  <a:gd name="T101" fmla="*/ 113 h 769"/>
                  <a:gd name="T102" fmla="*/ 699 w 867"/>
                  <a:gd name="T103" fmla="*/ 116 h 769"/>
                  <a:gd name="T104" fmla="*/ 712 w 867"/>
                  <a:gd name="T105" fmla="*/ 119 h 769"/>
                  <a:gd name="T106" fmla="*/ 738 w 867"/>
                  <a:gd name="T107" fmla="*/ 124 h 769"/>
                  <a:gd name="T108" fmla="*/ 751 w 867"/>
                  <a:gd name="T109" fmla="*/ 126 h 769"/>
                  <a:gd name="T110" fmla="*/ 764 w 867"/>
                  <a:gd name="T111" fmla="*/ 127 h 769"/>
                  <a:gd name="T112" fmla="*/ 792 w 867"/>
                  <a:gd name="T113" fmla="*/ 130 h 769"/>
                  <a:gd name="T114" fmla="*/ 819 w 867"/>
                  <a:gd name="T115" fmla="*/ 132 h 769"/>
                  <a:gd name="T116" fmla="*/ 833 w 867"/>
                  <a:gd name="T117" fmla="*/ 132 h 769"/>
                  <a:gd name="T118" fmla="*/ 847 w 867"/>
                  <a:gd name="T119" fmla="*/ 133 h 769"/>
                  <a:gd name="T120" fmla="*/ 867 w 867"/>
                  <a:gd name="T121" fmla="*/ 132 h 769"/>
                  <a:gd name="T122" fmla="*/ 667 w 867"/>
                  <a:gd name="T123" fmla="*/ 428 h 769"/>
                  <a:gd name="T124" fmla="*/ 866 w 867"/>
                  <a:gd name="T125" fmla="*/ 769 h 76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67"/>
                  <a:gd name="T190" fmla="*/ 0 h 769"/>
                  <a:gd name="T191" fmla="*/ 867 w 867"/>
                  <a:gd name="T192" fmla="*/ 769 h 76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67" h="769">
                    <a:moveTo>
                      <a:pt x="866" y="769"/>
                    </a:moveTo>
                    <a:lnTo>
                      <a:pt x="847" y="769"/>
                    </a:lnTo>
                    <a:lnTo>
                      <a:pt x="817" y="769"/>
                    </a:lnTo>
                    <a:lnTo>
                      <a:pt x="787" y="768"/>
                    </a:lnTo>
                    <a:lnTo>
                      <a:pt x="756" y="766"/>
                    </a:lnTo>
                    <a:lnTo>
                      <a:pt x="726" y="764"/>
                    </a:lnTo>
                    <a:lnTo>
                      <a:pt x="697" y="760"/>
                    </a:lnTo>
                    <a:lnTo>
                      <a:pt x="667" y="757"/>
                    </a:lnTo>
                    <a:lnTo>
                      <a:pt x="653" y="755"/>
                    </a:lnTo>
                    <a:lnTo>
                      <a:pt x="638" y="752"/>
                    </a:lnTo>
                    <a:lnTo>
                      <a:pt x="610" y="747"/>
                    </a:lnTo>
                    <a:lnTo>
                      <a:pt x="580" y="742"/>
                    </a:lnTo>
                    <a:lnTo>
                      <a:pt x="552" y="735"/>
                    </a:lnTo>
                    <a:lnTo>
                      <a:pt x="523" y="728"/>
                    </a:lnTo>
                    <a:lnTo>
                      <a:pt x="496" y="721"/>
                    </a:lnTo>
                    <a:lnTo>
                      <a:pt x="482" y="717"/>
                    </a:lnTo>
                    <a:lnTo>
                      <a:pt x="468" y="712"/>
                    </a:lnTo>
                    <a:lnTo>
                      <a:pt x="440" y="704"/>
                    </a:lnTo>
                    <a:lnTo>
                      <a:pt x="413" y="694"/>
                    </a:lnTo>
                    <a:lnTo>
                      <a:pt x="386" y="683"/>
                    </a:lnTo>
                    <a:lnTo>
                      <a:pt x="359" y="673"/>
                    </a:lnTo>
                    <a:lnTo>
                      <a:pt x="333" y="662"/>
                    </a:lnTo>
                    <a:lnTo>
                      <a:pt x="307" y="650"/>
                    </a:lnTo>
                    <a:lnTo>
                      <a:pt x="281" y="638"/>
                    </a:lnTo>
                    <a:lnTo>
                      <a:pt x="255" y="625"/>
                    </a:lnTo>
                    <a:lnTo>
                      <a:pt x="230" y="611"/>
                    </a:lnTo>
                    <a:lnTo>
                      <a:pt x="206" y="598"/>
                    </a:lnTo>
                    <a:lnTo>
                      <a:pt x="182" y="583"/>
                    </a:lnTo>
                    <a:lnTo>
                      <a:pt x="158" y="568"/>
                    </a:lnTo>
                    <a:lnTo>
                      <a:pt x="134" y="553"/>
                    </a:lnTo>
                    <a:lnTo>
                      <a:pt x="110" y="537"/>
                    </a:lnTo>
                    <a:lnTo>
                      <a:pt x="87" y="519"/>
                    </a:lnTo>
                    <a:lnTo>
                      <a:pt x="65" y="502"/>
                    </a:lnTo>
                    <a:lnTo>
                      <a:pt x="43" y="485"/>
                    </a:lnTo>
                    <a:lnTo>
                      <a:pt x="21" y="467"/>
                    </a:lnTo>
                    <a:lnTo>
                      <a:pt x="0" y="449"/>
                    </a:lnTo>
                    <a:lnTo>
                      <a:pt x="96" y="84"/>
                    </a:lnTo>
                    <a:lnTo>
                      <a:pt x="454" y="0"/>
                    </a:lnTo>
                    <a:lnTo>
                      <a:pt x="474" y="15"/>
                    </a:lnTo>
                    <a:lnTo>
                      <a:pt x="485" y="22"/>
                    </a:lnTo>
                    <a:lnTo>
                      <a:pt x="495" y="29"/>
                    </a:lnTo>
                    <a:lnTo>
                      <a:pt x="517" y="43"/>
                    </a:lnTo>
                    <a:lnTo>
                      <a:pt x="540" y="56"/>
                    </a:lnTo>
                    <a:lnTo>
                      <a:pt x="563" y="68"/>
                    </a:lnTo>
                    <a:lnTo>
                      <a:pt x="574" y="74"/>
                    </a:lnTo>
                    <a:lnTo>
                      <a:pt x="586" y="79"/>
                    </a:lnTo>
                    <a:lnTo>
                      <a:pt x="611" y="89"/>
                    </a:lnTo>
                    <a:lnTo>
                      <a:pt x="623" y="93"/>
                    </a:lnTo>
                    <a:lnTo>
                      <a:pt x="636" y="98"/>
                    </a:lnTo>
                    <a:lnTo>
                      <a:pt x="660" y="106"/>
                    </a:lnTo>
                    <a:lnTo>
                      <a:pt x="686" y="113"/>
                    </a:lnTo>
                    <a:lnTo>
                      <a:pt x="699" y="116"/>
                    </a:lnTo>
                    <a:lnTo>
                      <a:pt x="712" y="119"/>
                    </a:lnTo>
                    <a:lnTo>
                      <a:pt x="738" y="124"/>
                    </a:lnTo>
                    <a:lnTo>
                      <a:pt x="751" y="126"/>
                    </a:lnTo>
                    <a:lnTo>
                      <a:pt x="764" y="127"/>
                    </a:lnTo>
                    <a:lnTo>
                      <a:pt x="792" y="130"/>
                    </a:lnTo>
                    <a:lnTo>
                      <a:pt x="819" y="132"/>
                    </a:lnTo>
                    <a:lnTo>
                      <a:pt x="833" y="132"/>
                    </a:lnTo>
                    <a:lnTo>
                      <a:pt x="847" y="133"/>
                    </a:lnTo>
                    <a:lnTo>
                      <a:pt x="867" y="132"/>
                    </a:lnTo>
                    <a:lnTo>
                      <a:pt x="667" y="428"/>
                    </a:lnTo>
                    <a:lnTo>
                      <a:pt x="866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89" name="Freeform 42"/>
              <p:cNvSpPr>
                <a:spLocks noChangeAspect="1"/>
              </p:cNvSpPr>
              <p:nvPr/>
            </p:nvSpPr>
            <p:spPr bwMode="auto">
              <a:xfrm>
                <a:off x="1845" y="2514"/>
                <a:ext cx="831" cy="1000"/>
              </a:xfrm>
              <a:custGeom>
                <a:avLst/>
                <a:gdLst>
                  <a:gd name="T0" fmla="*/ 641 w 831"/>
                  <a:gd name="T1" fmla="*/ 195 h 1000"/>
                  <a:gd name="T2" fmla="*/ 322 w 831"/>
                  <a:gd name="T3" fmla="*/ 0 h 1000"/>
                  <a:gd name="T4" fmla="*/ 0 w 831"/>
                  <a:gd name="T5" fmla="*/ 194 h 1000"/>
                  <a:gd name="T6" fmla="*/ 2 w 831"/>
                  <a:gd name="T7" fmla="*/ 224 h 1000"/>
                  <a:gd name="T8" fmla="*/ 6 w 831"/>
                  <a:gd name="T9" fmla="*/ 253 h 1000"/>
                  <a:gd name="T10" fmla="*/ 10 w 831"/>
                  <a:gd name="T11" fmla="*/ 282 h 1000"/>
                  <a:gd name="T12" fmla="*/ 15 w 831"/>
                  <a:gd name="T13" fmla="*/ 310 h 1000"/>
                  <a:gd name="T14" fmla="*/ 20 w 831"/>
                  <a:gd name="T15" fmla="*/ 340 h 1000"/>
                  <a:gd name="T16" fmla="*/ 26 w 831"/>
                  <a:gd name="T17" fmla="*/ 368 h 1000"/>
                  <a:gd name="T18" fmla="*/ 33 w 831"/>
                  <a:gd name="T19" fmla="*/ 396 h 1000"/>
                  <a:gd name="T20" fmla="*/ 40 w 831"/>
                  <a:gd name="T21" fmla="*/ 423 h 1000"/>
                  <a:gd name="T22" fmla="*/ 48 w 831"/>
                  <a:gd name="T23" fmla="*/ 451 h 1000"/>
                  <a:gd name="T24" fmla="*/ 56 w 831"/>
                  <a:gd name="T25" fmla="*/ 478 h 1000"/>
                  <a:gd name="T26" fmla="*/ 65 w 831"/>
                  <a:gd name="T27" fmla="*/ 506 h 1000"/>
                  <a:gd name="T28" fmla="*/ 76 w 831"/>
                  <a:gd name="T29" fmla="*/ 533 h 1000"/>
                  <a:gd name="T30" fmla="*/ 86 w 831"/>
                  <a:gd name="T31" fmla="*/ 559 h 1000"/>
                  <a:gd name="T32" fmla="*/ 97 w 831"/>
                  <a:gd name="T33" fmla="*/ 585 h 1000"/>
                  <a:gd name="T34" fmla="*/ 108 w 831"/>
                  <a:gd name="T35" fmla="*/ 611 h 1000"/>
                  <a:gd name="T36" fmla="*/ 120 w 831"/>
                  <a:gd name="T37" fmla="*/ 636 h 1000"/>
                  <a:gd name="T38" fmla="*/ 133 w 831"/>
                  <a:gd name="T39" fmla="*/ 663 h 1000"/>
                  <a:gd name="T40" fmla="*/ 146 w 831"/>
                  <a:gd name="T41" fmla="*/ 687 h 1000"/>
                  <a:gd name="T42" fmla="*/ 159 w 831"/>
                  <a:gd name="T43" fmla="*/ 712 h 1000"/>
                  <a:gd name="T44" fmla="*/ 173 w 831"/>
                  <a:gd name="T45" fmla="*/ 736 h 1000"/>
                  <a:gd name="T46" fmla="*/ 188 w 831"/>
                  <a:gd name="T47" fmla="*/ 760 h 1000"/>
                  <a:gd name="T48" fmla="*/ 203 w 831"/>
                  <a:gd name="T49" fmla="*/ 783 h 1000"/>
                  <a:gd name="T50" fmla="*/ 218 w 831"/>
                  <a:gd name="T51" fmla="*/ 808 h 1000"/>
                  <a:gd name="T52" fmla="*/ 234 w 831"/>
                  <a:gd name="T53" fmla="*/ 830 h 1000"/>
                  <a:gd name="T54" fmla="*/ 252 w 831"/>
                  <a:gd name="T55" fmla="*/ 853 h 1000"/>
                  <a:gd name="T56" fmla="*/ 269 w 831"/>
                  <a:gd name="T57" fmla="*/ 875 h 1000"/>
                  <a:gd name="T58" fmla="*/ 286 w 831"/>
                  <a:gd name="T59" fmla="*/ 897 h 1000"/>
                  <a:gd name="T60" fmla="*/ 304 w 831"/>
                  <a:gd name="T61" fmla="*/ 918 h 1000"/>
                  <a:gd name="T62" fmla="*/ 323 w 831"/>
                  <a:gd name="T63" fmla="*/ 939 h 1000"/>
                  <a:gd name="T64" fmla="*/ 342 w 831"/>
                  <a:gd name="T65" fmla="*/ 959 h 1000"/>
                  <a:gd name="T66" fmla="*/ 361 w 831"/>
                  <a:gd name="T67" fmla="*/ 980 h 1000"/>
                  <a:gd name="T68" fmla="*/ 381 w 831"/>
                  <a:gd name="T69" fmla="*/ 1000 h 1000"/>
                  <a:gd name="T70" fmla="*/ 479 w 831"/>
                  <a:gd name="T71" fmla="*/ 619 h 1000"/>
                  <a:gd name="T72" fmla="*/ 831 w 831"/>
                  <a:gd name="T73" fmla="*/ 550 h 1000"/>
                  <a:gd name="T74" fmla="*/ 813 w 831"/>
                  <a:gd name="T75" fmla="*/ 532 h 1000"/>
                  <a:gd name="T76" fmla="*/ 796 w 831"/>
                  <a:gd name="T77" fmla="*/ 514 h 1000"/>
                  <a:gd name="T78" fmla="*/ 780 w 831"/>
                  <a:gd name="T79" fmla="*/ 495 h 1000"/>
                  <a:gd name="T80" fmla="*/ 764 w 831"/>
                  <a:gd name="T81" fmla="*/ 474 h 1000"/>
                  <a:gd name="T82" fmla="*/ 749 w 831"/>
                  <a:gd name="T83" fmla="*/ 454 h 1000"/>
                  <a:gd name="T84" fmla="*/ 735 w 831"/>
                  <a:gd name="T85" fmla="*/ 433 h 1000"/>
                  <a:gd name="T86" fmla="*/ 722 w 831"/>
                  <a:gd name="T87" fmla="*/ 411 h 1000"/>
                  <a:gd name="T88" fmla="*/ 708 w 831"/>
                  <a:gd name="T89" fmla="*/ 389 h 1000"/>
                  <a:gd name="T90" fmla="*/ 696 w 831"/>
                  <a:gd name="T91" fmla="*/ 367 h 1000"/>
                  <a:gd name="T92" fmla="*/ 686 w 831"/>
                  <a:gd name="T93" fmla="*/ 344 h 1000"/>
                  <a:gd name="T94" fmla="*/ 676 w 831"/>
                  <a:gd name="T95" fmla="*/ 319 h 1000"/>
                  <a:gd name="T96" fmla="*/ 667 w 831"/>
                  <a:gd name="T97" fmla="*/ 295 h 1000"/>
                  <a:gd name="T98" fmla="*/ 659 w 831"/>
                  <a:gd name="T99" fmla="*/ 270 h 1000"/>
                  <a:gd name="T100" fmla="*/ 652 w 831"/>
                  <a:gd name="T101" fmla="*/ 246 h 1000"/>
                  <a:gd name="T102" fmla="*/ 649 w 831"/>
                  <a:gd name="T103" fmla="*/ 233 h 1000"/>
                  <a:gd name="T104" fmla="*/ 646 w 831"/>
                  <a:gd name="T105" fmla="*/ 220 h 1000"/>
                  <a:gd name="T106" fmla="*/ 641 w 831"/>
                  <a:gd name="T107" fmla="*/ 195 h 100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31"/>
                  <a:gd name="T163" fmla="*/ 0 h 1000"/>
                  <a:gd name="T164" fmla="*/ 831 w 831"/>
                  <a:gd name="T165" fmla="*/ 1000 h 100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31" h="1000">
                    <a:moveTo>
                      <a:pt x="641" y="195"/>
                    </a:moveTo>
                    <a:lnTo>
                      <a:pt x="322" y="0"/>
                    </a:lnTo>
                    <a:lnTo>
                      <a:pt x="0" y="194"/>
                    </a:lnTo>
                    <a:lnTo>
                      <a:pt x="2" y="224"/>
                    </a:lnTo>
                    <a:lnTo>
                      <a:pt x="6" y="253"/>
                    </a:lnTo>
                    <a:lnTo>
                      <a:pt x="10" y="282"/>
                    </a:lnTo>
                    <a:lnTo>
                      <a:pt x="15" y="310"/>
                    </a:lnTo>
                    <a:lnTo>
                      <a:pt x="20" y="340"/>
                    </a:lnTo>
                    <a:lnTo>
                      <a:pt x="26" y="368"/>
                    </a:lnTo>
                    <a:lnTo>
                      <a:pt x="33" y="396"/>
                    </a:lnTo>
                    <a:lnTo>
                      <a:pt x="40" y="423"/>
                    </a:lnTo>
                    <a:lnTo>
                      <a:pt x="48" y="451"/>
                    </a:lnTo>
                    <a:lnTo>
                      <a:pt x="56" y="478"/>
                    </a:lnTo>
                    <a:lnTo>
                      <a:pt x="65" y="506"/>
                    </a:lnTo>
                    <a:lnTo>
                      <a:pt x="76" y="533"/>
                    </a:lnTo>
                    <a:lnTo>
                      <a:pt x="86" y="559"/>
                    </a:lnTo>
                    <a:lnTo>
                      <a:pt x="97" y="585"/>
                    </a:lnTo>
                    <a:lnTo>
                      <a:pt x="108" y="611"/>
                    </a:lnTo>
                    <a:lnTo>
                      <a:pt x="120" y="636"/>
                    </a:lnTo>
                    <a:lnTo>
                      <a:pt x="133" y="663"/>
                    </a:lnTo>
                    <a:lnTo>
                      <a:pt x="146" y="687"/>
                    </a:lnTo>
                    <a:lnTo>
                      <a:pt x="159" y="712"/>
                    </a:lnTo>
                    <a:lnTo>
                      <a:pt x="173" y="736"/>
                    </a:lnTo>
                    <a:lnTo>
                      <a:pt x="188" y="760"/>
                    </a:lnTo>
                    <a:lnTo>
                      <a:pt x="203" y="783"/>
                    </a:lnTo>
                    <a:lnTo>
                      <a:pt x="218" y="808"/>
                    </a:lnTo>
                    <a:lnTo>
                      <a:pt x="234" y="830"/>
                    </a:lnTo>
                    <a:lnTo>
                      <a:pt x="252" y="853"/>
                    </a:lnTo>
                    <a:lnTo>
                      <a:pt x="269" y="875"/>
                    </a:lnTo>
                    <a:lnTo>
                      <a:pt x="286" y="897"/>
                    </a:lnTo>
                    <a:lnTo>
                      <a:pt x="304" y="918"/>
                    </a:lnTo>
                    <a:lnTo>
                      <a:pt x="323" y="939"/>
                    </a:lnTo>
                    <a:lnTo>
                      <a:pt x="342" y="959"/>
                    </a:lnTo>
                    <a:lnTo>
                      <a:pt x="361" y="980"/>
                    </a:lnTo>
                    <a:lnTo>
                      <a:pt x="381" y="1000"/>
                    </a:lnTo>
                    <a:lnTo>
                      <a:pt x="479" y="619"/>
                    </a:lnTo>
                    <a:lnTo>
                      <a:pt x="831" y="550"/>
                    </a:lnTo>
                    <a:lnTo>
                      <a:pt x="813" y="532"/>
                    </a:lnTo>
                    <a:lnTo>
                      <a:pt x="796" y="514"/>
                    </a:lnTo>
                    <a:lnTo>
                      <a:pt x="780" y="495"/>
                    </a:lnTo>
                    <a:lnTo>
                      <a:pt x="764" y="474"/>
                    </a:lnTo>
                    <a:lnTo>
                      <a:pt x="749" y="454"/>
                    </a:lnTo>
                    <a:lnTo>
                      <a:pt x="735" y="433"/>
                    </a:lnTo>
                    <a:lnTo>
                      <a:pt x="722" y="411"/>
                    </a:lnTo>
                    <a:lnTo>
                      <a:pt x="708" y="389"/>
                    </a:lnTo>
                    <a:lnTo>
                      <a:pt x="696" y="367"/>
                    </a:lnTo>
                    <a:lnTo>
                      <a:pt x="686" y="344"/>
                    </a:lnTo>
                    <a:lnTo>
                      <a:pt x="676" y="319"/>
                    </a:lnTo>
                    <a:lnTo>
                      <a:pt x="667" y="295"/>
                    </a:lnTo>
                    <a:lnTo>
                      <a:pt x="659" y="270"/>
                    </a:lnTo>
                    <a:lnTo>
                      <a:pt x="652" y="246"/>
                    </a:lnTo>
                    <a:lnTo>
                      <a:pt x="649" y="233"/>
                    </a:lnTo>
                    <a:lnTo>
                      <a:pt x="646" y="220"/>
                    </a:lnTo>
                    <a:lnTo>
                      <a:pt x="641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90" name="Freeform 43"/>
              <p:cNvSpPr>
                <a:spLocks noChangeAspect="1"/>
              </p:cNvSpPr>
              <p:nvPr/>
            </p:nvSpPr>
            <p:spPr bwMode="auto">
              <a:xfrm>
                <a:off x="1840" y="1772"/>
                <a:ext cx="754" cy="872"/>
              </a:xfrm>
              <a:custGeom>
                <a:avLst/>
                <a:gdLst>
                  <a:gd name="T0" fmla="*/ 335 w 754"/>
                  <a:gd name="T1" fmla="*/ 675 h 872"/>
                  <a:gd name="T2" fmla="*/ 637 w 754"/>
                  <a:gd name="T3" fmla="*/ 849 h 872"/>
                  <a:gd name="T4" fmla="*/ 637 w 754"/>
                  <a:gd name="T5" fmla="*/ 826 h 872"/>
                  <a:gd name="T6" fmla="*/ 638 w 754"/>
                  <a:gd name="T7" fmla="*/ 787 h 872"/>
                  <a:gd name="T8" fmla="*/ 641 w 754"/>
                  <a:gd name="T9" fmla="*/ 750 h 872"/>
                  <a:gd name="T10" fmla="*/ 645 w 754"/>
                  <a:gd name="T11" fmla="*/ 724 h 872"/>
                  <a:gd name="T12" fmla="*/ 651 w 754"/>
                  <a:gd name="T13" fmla="*/ 687 h 872"/>
                  <a:gd name="T14" fmla="*/ 660 w 754"/>
                  <a:gd name="T15" fmla="*/ 651 h 872"/>
                  <a:gd name="T16" fmla="*/ 675 w 754"/>
                  <a:gd name="T17" fmla="*/ 605 h 872"/>
                  <a:gd name="T18" fmla="*/ 694 w 754"/>
                  <a:gd name="T19" fmla="*/ 559 h 872"/>
                  <a:gd name="T20" fmla="*/ 710 w 754"/>
                  <a:gd name="T21" fmla="*/ 527 h 872"/>
                  <a:gd name="T22" fmla="*/ 722 w 754"/>
                  <a:gd name="T23" fmla="*/ 506 h 872"/>
                  <a:gd name="T24" fmla="*/ 734 w 754"/>
                  <a:gd name="T25" fmla="*/ 485 h 872"/>
                  <a:gd name="T26" fmla="*/ 747 w 754"/>
                  <a:gd name="T27" fmla="*/ 465 h 872"/>
                  <a:gd name="T28" fmla="*/ 665 w 754"/>
                  <a:gd name="T29" fmla="*/ 91 h 872"/>
                  <a:gd name="T30" fmla="*/ 285 w 754"/>
                  <a:gd name="T31" fmla="*/ 21 h 872"/>
                  <a:gd name="T32" fmla="*/ 252 w 754"/>
                  <a:gd name="T33" fmla="*/ 64 h 872"/>
                  <a:gd name="T34" fmla="*/ 219 w 754"/>
                  <a:gd name="T35" fmla="*/ 109 h 872"/>
                  <a:gd name="T36" fmla="*/ 190 w 754"/>
                  <a:gd name="T37" fmla="*/ 155 h 872"/>
                  <a:gd name="T38" fmla="*/ 162 w 754"/>
                  <a:gd name="T39" fmla="*/ 202 h 872"/>
                  <a:gd name="T40" fmla="*/ 136 w 754"/>
                  <a:gd name="T41" fmla="*/ 251 h 872"/>
                  <a:gd name="T42" fmla="*/ 112 w 754"/>
                  <a:gd name="T43" fmla="*/ 301 h 872"/>
                  <a:gd name="T44" fmla="*/ 91 w 754"/>
                  <a:gd name="T45" fmla="*/ 352 h 872"/>
                  <a:gd name="T46" fmla="*/ 71 w 754"/>
                  <a:gd name="T47" fmla="*/ 404 h 872"/>
                  <a:gd name="T48" fmla="*/ 53 w 754"/>
                  <a:gd name="T49" fmla="*/ 458 h 872"/>
                  <a:gd name="T50" fmla="*/ 39 w 754"/>
                  <a:gd name="T51" fmla="*/ 512 h 872"/>
                  <a:gd name="T52" fmla="*/ 26 w 754"/>
                  <a:gd name="T53" fmla="*/ 567 h 872"/>
                  <a:gd name="T54" fmla="*/ 16 w 754"/>
                  <a:gd name="T55" fmla="*/ 623 h 872"/>
                  <a:gd name="T56" fmla="*/ 8 w 754"/>
                  <a:gd name="T57" fmla="*/ 680 h 872"/>
                  <a:gd name="T58" fmla="*/ 3 w 754"/>
                  <a:gd name="T59" fmla="*/ 737 h 872"/>
                  <a:gd name="T60" fmla="*/ 0 w 754"/>
                  <a:gd name="T61" fmla="*/ 796 h 872"/>
                  <a:gd name="T62" fmla="*/ 0 w 754"/>
                  <a:gd name="T63" fmla="*/ 837 h 872"/>
                  <a:gd name="T64" fmla="*/ 3 w 754"/>
                  <a:gd name="T65" fmla="*/ 871 h 8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4"/>
                  <a:gd name="T100" fmla="*/ 0 h 872"/>
                  <a:gd name="T101" fmla="*/ 754 w 754"/>
                  <a:gd name="T102" fmla="*/ 872 h 87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4" h="872">
                    <a:moveTo>
                      <a:pt x="3" y="871"/>
                    </a:moveTo>
                    <a:lnTo>
                      <a:pt x="335" y="675"/>
                    </a:lnTo>
                    <a:lnTo>
                      <a:pt x="639" y="872"/>
                    </a:lnTo>
                    <a:lnTo>
                      <a:pt x="637" y="849"/>
                    </a:lnTo>
                    <a:lnTo>
                      <a:pt x="637" y="837"/>
                    </a:lnTo>
                    <a:lnTo>
                      <a:pt x="637" y="826"/>
                    </a:lnTo>
                    <a:lnTo>
                      <a:pt x="637" y="800"/>
                    </a:lnTo>
                    <a:lnTo>
                      <a:pt x="638" y="787"/>
                    </a:lnTo>
                    <a:lnTo>
                      <a:pt x="639" y="775"/>
                    </a:lnTo>
                    <a:lnTo>
                      <a:pt x="641" y="750"/>
                    </a:lnTo>
                    <a:lnTo>
                      <a:pt x="643" y="736"/>
                    </a:lnTo>
                    <a:lnTo>
                      <a:pt x="645" y="724"/>
                    </a:lnTo>
                    <a:lnTo>
                      <a:pt x="649" y="699"/>
                    </a:lnTo>
                    <a:lnTo>
                      <a:pt x="651" y="687"/>
                    </a:lnTo>
                    <a:lnTo>
                      <a:pt x="654" y="675"/>
                    </a:lnTo>
                    <a:lnTo>
                      <a:pt x="660" y="651"/>
                    </a:lnTo>
                    <a:lnTo>
                      <a:pt x="667" y="628"/>
                    </a:lnTo>
                    <a:lnTo>
                      <a:pt x="675" y="605"/>
                    </a:lnTo>
                    <a:lnTo>
                      <a:pt x="684" y="581"/>
                    </a:lnTo>
                    <a:lnTo>
                      <a:pt x="694" y="559"/>
                    </a:lnTo>
                    <a:lnTo>
                      <a:pt x="704" y="537"/>
                    </a:lnTo>
                    <a:lnTo>
                      <a:pt x="710" y="527"/>
                    </a:lnTo>
                    <a:lnTo>
                      <a:pt x="715" y="516"/>
                    </a:lnTo>
                    <a:lnTo>
                      <a:pt x="722" y="506"/>
                    </a:lnTo>
                    <a:lnTo>
                      <a:pt x="728" y="495"/>
                    </a:lnTo>
                    <a:lnTo>
                      <a:pt x="734" y="485"/>
                    </a:lnTo>
                    <a:lnTo>
                      <a:pt x="741" y="475"/>
                    </a:lnTo>
                    <a:lnTo>
                      <a:pt x="747" y="465"/>
                    </a:lnTo>
                    <a:lnTo>
                      <a:pt x="754" y="455"/>
                    </a:lnTo>
                    <a:lnTo>
                      <a:pt x="665" y="91"/>
                    </a:lnTo>
                    <a:lnTo>
                      <a:pt x="302" y="0"/>
                    </a:lnTo>
                    <a:lnTo>
                      <a:pt x="285" y="21"/>
                    </a:lnTo>
                    <a:lnTo>
                      <a:pt x="268" y="42"/>
                    </a:lnTo>
                    <a:lnTo>
                      <a:pt x="252" y="64"/>
                    </a:lnTo>
                    <a:lnTo>
                      <a:pt x="235" y="86"/>
                    </a:lnTo>
                    <a:lnTo>
                      <a:pt x="219" y="109"/>
                    </a:lnTo>
                    <a:lnTo>
                      <a:pt x="204" y="132"/>
                    </a:lnTo>
                    <a:lnTo>
                      <a:pt x="190" y="155"/>
                    </a:lnTo>
                    <a:lnTo>
                      <a:pt x="175" y="178"/>
                    </a:lnTo>
                    <a:lnTo>
                      <a:pt x="162" y="202"/>
                    </a:lnTo>
                    <a:lnTo>
                      <a:pt x="149" y="226"/>
                    </a:lnTo>
                    <a:lnTo>
                      <a:pt x="136" y="251"/>
                    </a:lnTo>
                    <a:lnTo>
                      <a:pt x="124" y="276"/>
                    </a:lnTo>
                    <a:lnTo>
                      <a:pt x="112" y="301"/>
                    </a:lnTo>
                    <a:lnTo>
                      <a:pt x="101" y="326"/>
                    </a:lnTo>
                    <a:lnTo>
                      <a:pt x="91" y="352"/>
                    </a:lnTo>
                    <a:lnTo>
                      <a:pt x="81" y="378"/>
                    </a:lnTo>
                    <a:lnTo>
                      <a:pt x="71" y="404"/>
                    </a:lnTo>
                    <a:lnTo>
                      <a:pt x="62" y="431"/>
                    </a:lnTo>
                    <a:lnTo>
                      <a:pt x="53" y="458"/>
                    </a:lnTo>
                    <a:lnTo>
                      <a:pt x="46" y="485"/>
                    </a:lnTo>
                    <a:lnTo>
                      <a:pt x="39" y="512"/>
                    </a:lnTo>
                    <a:lnTo>
                      <a:pt x="32" y="539"/>
                    </a:lnTo>
                    <a:lnTo>
                      <a:pt x="26" y="567"/>
                    </a:lnTo>
                    <a:lnTo>
                      <a:pt x="21" y="595"/>
                    </a:lnTo>
                    <a:lnTo>
                      <a:pt x="16" y="623"/>
                    </a:lnTo>
                    <a:lnTo>
                      <a:pt x="12" y="652"/>
                    </a:lnTo>
                    <a:lnTo>
                      <a:pt x="8" y="680"/>
                    </a:lnTo>
                    <a:lnTo>
                      <a:pt x="5" y="709"/>
                    </a:lnTo>
                    <a:lnTo>
                      <a:pt x="3" y="737"/>
                    </a:lnTo>
                    <a:lnTo>
                      <a:pt x="1" y="767"/>
                    </a:lnTo>
                    <a:lnTo>
                      <a:pt x="0" y="796"/>
                    </a:lnTo>
                    <a:lnTo>
                      <a:pt x="0" y="826"/>
                    </a:lnTo>
                    <a:lnTo>
                      <a:pt x="0" y="837"/>
                    </a:lnTo>
                    <a:lnTo>
                      <a:pt x="1" y="848"/>
                    </a:lnTo>
                    <a:lnTo>
                      <a:pt x="3" y="871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97" name="Oval 96"/>
            <p:cNvSpPr/>
            <p:nvPr/>
          </p:nvSpPr>
          <p:spPr>
            <a:xfrm>
              <a:off x="7855830" y="4291396"/>
              <a:ext cx="801044" cy="80104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16877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reisdiagram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0:50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ung 37"/>
          <p:cNvGrpSpPr/>
          <p:nvPr/>
        </p:nvGrpSpPr>
        <p:grpSpPr>
          <a:xfrm>
            <a:off x="1271464" y="1809642"/>
            <a:ext cx="10105186" cy="3131526"/>
            <a:chOff x="177814" y="1860720"/>
            <a:chExt cx="5702162" cy="1767060"/>
          </a:xfrm>
        </p:grpSpPr>
        <p:grpSp>
          <p:nvGrpSpPr>
            <p:cNvPr id="32" name="Gruppierung 31"/>
            <p:cNvGrpSpPr/>
            <p:nvPr/>
          </p:nvGrpSpPr>
          <p:grpSpPr>
            <a:xfrm>
              <a:off x="1966547" y="1860720"/>
              <a:ext cx="2050504" cy="1767060"/>
              <a:chOff x="644772" y="1844675"/>
              <a:chExt cx="2898099" cy="2497492"/>
            </a:xfrm>
          </p:grpSpPr>
          <p:sp>
            <p:nvSpPr>
              <p:cNvPr id="4" name="Oval 3"/>
              <p:cNvSpPr/>
              <p:nvPr/>
            </p:nvSpPr>
            <p:spPr>
              <a:xfrm>
                <a:off x="1527998" y="2526115"/>
                <a:ext cx="1121375" cy="1121376"/>
              </a:xfrm>
              <a:prstGeom prst="ellips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Freihandform 108"/>
              <p:cNvSpPr/>
              <p:nvPr/>
            </p:nvSpPr>
            <p:spPr>
              <a:xfrm rot="16200000">
                <a:off x="219830" y="2472431"/>
                <a:ext cx="2491946" cy="1247143"/>
              </a:xfrm>
              <a:custGeom>
                <a:avLst/>
                <a:gdLst>
                  <a:gd name="connsiteX0" fmla="*/ 720000 w 1440000"/>
                  <a:gd name="connsiteY0" fmla="*/ 0 h 720676"/>
                  <a:gd name="connsiteX1" fmla="*/ 1440000 w 1440000"/>
                  <a:gd name="connsiteY1" fmla="*/ 720000 h 720676"/>
                  <a:gd name="connsiteX2" fmla="*/ 1439966 w 1440000"/>
                  <a:gd name="connsiteY2" fmla="*/ 720676 h 720676"/>
                  <a:gd name="connsiteX3" fmla="*/ 1130929 w 1440000"/>
                  <a:gd name="connsiteY3" fmla="*/ 720676 h 720676"/>
                  <a:gd name="connsiteX4" fmla="*/ 1130997 w 1440000"/>
                  <a:gd name="connsiteY4" fmla="*/ 720000 h 720676"/>
                  <a:gd name="connsiteX5" fmla="*/ 720000 w 1440000"/>
                  <a:gd name="connsiteY5" fmla="*/ 309003 h 720676"/>
                  <a:gd name="connsiteX6" fmla="*/ 309003 w 1440000"/>
                  <a:gd name="connsiteY6" fmla="*/ 720000 h 720676"/>
                  <a:gd name="connsiteX7" fmla="*/ 309071 w 1440000"/>
                  <a:gd name="connsiteY7" fmla="*/ 720676 h 720676"/>
                  <a:gd name="connsiteX8" fmla="*/ 34 w 1440000"/>
                  <a:gd name="connsiteY8" fmla="*/ 720676 h 720676"/>
                  <a:gd name="connsiteX9" fmla="*/ 0 w 1440000"/>
                  <a:gd name="connsiteY9" fmla="*/ 720000 h 720676"/>
                  <a:gd name="connsiteX10" fmla="*/ 720000 w 1440000"/>
                  <a:gd name="connsiteY10" fmla="*/ 0 h 72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40000" h="720676">
                    <a:moveTo>
                      <a:pt x="720000" y="0"/>
                    </a:moveTo>
                    <a:cubicBezTo>
                      <a:pt x="1117645" y="0"/>
                      <a:pt x="1440000" y="322355"/>
                      <a:pt x="1440000" y="720000"/>
                    </a:cubicBezTo>
                    <a:lnTo>
                      <a:pt x="1439966" y="720676"/>
                    </a:lnTo>
                    <a:lnTo>
                      <a:pt x="1130929" y="720676"/>
                    </a:lnTo>
                    <a:lnTo>
                      <a:pt x="1130997" y="720000"/>
                    </a:lnTo>
                    <a:cubicBezTo>
                      <a:pt x="1130997" y="493012"/>
                      <a:pt x="946988" y="309003"/>
                      <a:pt x="720000" y="309003"/>
                    </a:cubicBezTo>
                    <a:cubicBezTo>
                      <a:pt x="493012" y="309003"/>
                      <a:pt x="309003" y="493012"/>
                      <a:pt x="309003" y="720000"/>
                    </a:cubicBezTo>
                    <a:lnTo>
                      <a:pt x="309071" y="720676"/>
                    </a:lnTo>
                    <a:lnTo>
                      <a:pt x="34" y="720676"/>
                    </a:lnTo>
                    <a:lnTo>
                      <a:pt x="0" y="720000"/>
                    </a:lnTo>
                    <a:cubicBezTo>
                      <a:pt x="0" y="322355"/>
                      <a:pt x="322355" y="0"/>
                      <a:pt x="720000" y="0"/>
                    </a:cubicBezTo>
                    <a:close/>
                  </a:path>
                </a:pathLst>
              </a:cu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5" name="Freihandform 104"/>
              <p:cNvSpPr/>
              <p:nvPr/>
            </p:nvSpPr>
            <p:spPr>
              <a:xfrm rot="16200000">
                <a:off x="1470323" y="2476716"/>
                <a:ext cx="2491198" cy="1238573"/>
              </a:xfrm>
              <a:custGeom>
                <a:avLst/>
                <a:gdLst>
                  <a:gd name="connsiteX0" fmla="*/ 0 w 1439568"/>
                  <a:gd name="connsiteY0" fmla="*/ 0 h 715724"/>
                  <a:gd name="connsiteX1" fmla="*/ 309218 w 1439568"/>
                  <a:gd name="connsiteY1" fmla="*/ 0 h 715724"/>
                  <a:gd name="connsiteX2" fmla="*/ 317137 w 1439568"/>
                  <a:gd name="connsiteY2" fmla="*/ 78554 h 715724"/>
                  <a:gd name="connsiteX3" fmla="*/ 719784 w 1439568"/>
                  <a:gd name="connsiteY3" fmla="*/ 406721 h 715724"/>
                  <a:gd name="connsiteX4" fmla="*/ 1122431 w 1439568"/>
                  <a:gd name="connsiteY4" fmla="*/ 78554 h 715724"/>
                  <a:gd name="connsiteX5" fmla="*/ 1130350 w 1439568"/>
                  <a:gd name="connsiteY5" fmla="*/ 0 h 715724"/>
                  <a:gd name="connsiteX6" fmla="*/ 1439568 w 1439568"/>
                  <a:gd name="connsiteY6" fmla="*/ 0 h 715724"/>
                  <a:gd name="connsiteX7" fmla="*/ 1436067 w 1439568"/>
                  <a:gd name="connsiteY7" fmla="*/ 69340 h 715724"/>
                  <a:gd name="connsiteX8" fmla="*/ 719784 w 1439568"/>
                  <a:gd name="connsiteY8" fmla="*/ 715724 h 715724"/>
                  <a:gd name="connsiteX9" fmla="*/ 3501 w 1439568"/>
                  <a:gd name="connsiteY9" fmla="*/ 69340 h 715724"/>
                  <a:gd name="connsiteX10" fmla="*/ 0 w 1439568"/>
                  <a:gd name="connsiteY10" fmla="*/ 0 h 71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9568" h="715724">
                    <a:moveTo>
                      <a:pt x="0" y="0"/>
                    </a:moveTo>
                    <a:lnTo>
                      <a:pt x="309218" y="0"/>
                    </a:lnTo>
                    <a:lnTo>
                      <a:pt x="317137" y="78554"/>
                    </a:lnTo>
                    <a:cubicBezTo>
                      <a:pt x="355461" y="265839"/>
                      <a:pt x="521170" y="406721"/>
                      <a:pt x="719784" y="406721"/>
                    </a:cubicBezTo>
                    <a:cubicBezTo>
                      <a:pt x="918399" y="406721"/>
                      <a:pt x="1084107" y="265839"/>
                      <a:pt x="1122431" y="78554"/>
                    </a:cubicBezTo>
                    <a:lnTo>
                      <a:pt x="1130350" y="0"/>
                    </a:lnTo>
                    <a:lnTo>
                      <a:pt x="1439568" y="0"/>
                    </a:lnTo>
                    <a:lnTo>
                      <a:pt x="1436067" y="69340"/>
                    </a:lnTo>
                    <a:cubicBezTo>
                      <a:pt x="1399196" y="432404"/>
                      <a:pt x="1092576" y="715724"/>
                      <a:pt x="719784" y="715724"/>
                    </a:cubicBezTo>
                    <a:cubicBezTo>
                      <a:pt x="346992" y="715724"/>
                      <a:pt x="40373" y="432404"/>
                      <a:pt x="3501" y="6934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Oval 120"/>
              <p:cNvSpPr/>
              <p:nvPr/>
            </p:nvSpPr>
            <p:spPr>
              <a:xfrm>
                <a:off x="1840067" y="3800169"/>
                <a:ext cx="541998" cy="541998"/>
              </a:xfrm>
              <a:prstGeom prst="ellipse">
                <a:avLst/>
              </a:pr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Oval 121"/>
              <p:cNvSpPr/>
              <p:nvPr/>
            </p:nvSpPr>
            <p:spPr>
              <a:xfrm>
                <a:off x="1840067" y="1844675"/>
                <a:ext cx="541998" cy="541998"/>
              </a:xfrm>
              <a:prstGeom prst="ellipse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4" name="Dreieck 123"/>
              <p:cNvSpPr/>
              <p:nvPr/>
            </p:nvSpPr>
            <p:spPr>
              <a:xfrm rot="5400000">
                <a:off x="3185996" y="2989004"/>
                <a:ext cx="466683" cy="247066"/>
              </a:xfrm>
              <a:prstGeom prst="triangle">
                <a:avLst/>
              </a:pr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5" name="Dreieck 124"/>
              <p:cNvSpPr/>
              <p:nvPr/>
            </p:nvSpPr>
            <p:spPr>
              <a:xfrm rot="16200000">
                <a:off x="534963" y="2989004"/>
                <a:ext cx="466683" cy="247066"/>
              </a:xfrm>
              <a:prstGeom prst="triangle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95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415915" y="2562243"/>
              <a:ext cx="1392053" cy="121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de-DE" alt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atensatz 2</a:t>
              </a:r>
            </a:p>
          </p:txBody>
        </p:sp>
        <p:cxnSp>
          <p:nvCxnSpPr>
            <p:cNvPr id="197" name="Gerade Verbindung mit Pfeil 196"/>
            <p:cNvCxnSpPr/>
            <p:nvPr/>
          </p:nvCxnSpPr>
          <p:spPr>
            <a:xfrm flipH="1">
              <a:off x="4258539" y="2759109"/>
              <a:ext cx="1621437" cy="0"/>
            </a:xfrm>
            <a:prstGeom prst="straightConnector1">
              <a:avLst/>
            </a:prstGeom>
            <a:ln w="19050">
              <a:solidFill>
                <a:srgbClr val="FFBC04"/>
              </a:solidFill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9079" y="2562243"/>
              <a:ext cx="1392053" cy="121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atensatz 1</a:t>
              </a:r>
            </a:p>
          </p:txBody>
        </p:sp>
        <p:cxnSp>
          <p:nvCxnSpPr>
            <p:cNvPr id="199" name="Gerade Verbindung mit Pfeil 198"/>
            <p:cNvCxnSpPr/>
            <p:nvPr/>
          </p:nvCxnSpPr>
          <p:spPr>
            <a:xfrm rot="10800000" flipH="1">
              <a:off x="177814" y="2759109"/>
              <a:ext cx="1621437" cy="0"/>
            </a:xfrm>
            <a:prstGeom prst="straightConnector1">
              <a:avLst/>
            </a:prstGeom>
            <a:ln w="19050">
              <a:solidFill>
                <a:srgbClr val="FFBC04"/>
              </a:solidFill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59937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reisdiagram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0:30:30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3" name="Dreieck 122"/>
          <p:cNvSpPr/>
          <p:nvPr/>
        </p:nvSpPr>
        <p:spPr>
          <a:xfrm rot="10800000">
            <a:off x="6943663" y="7653977"/>
            <a:ext cx="306386" cy="162204"/>
          </a:xfrm>
          <a:prstGeom prst="triangle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7" name="Freihandform 126"/>
          <p:cNvSpPr/>
          <p:nvPr/>
        </p:nvSpPr>
        <p:spPr>
          <a:xfrm>
            <a:off x="6601739" y="5876331"/>
            <a:ext cx="6286" cy="594"/>
          </a:xfrm>
          <a:custGeom>
            <a:avLst/>
            <a:gdLst>
              <a:gd name="connsiteX0" fmla="*/ 6286 w 6286"/>
              <a:gd name="connsiteY0" fmla="*/ 0 h 594"/>
              <a:gd name="connsiteX1" fmla="*/ 6286 w 6286"/>
              <a:gd name="connsiteY1" fmla="*/ 594 h 594"/>
              <a:gd name="connsiteX2" fmla="*/ 0 w 6286"/>
              <a:gd name="connsiteY2" fmla="*/ 594 h 594"/>
              <a:gd name="connsiteX3" fmla="*/ 6286 w 6286"/>
              <a:gd name="connsiteY3" fmla="*/ 0 h 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6" h="594">
                <a:moveTo>
                  <a:pt x="6286" y="0"/>
                </a:moveTo>
                <a:lnTo>
                  <a:pt x="6286" y="594"/>
                </a:lnTo>
                <a:lnTo>
                  <a:pt x="0" y="594"/>
                </a:lnTo>
                <a:lnTo>
                  <a:pt x="62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0" name="Gruppierung 29"/>
          <p:cNvGrpSpPr/>
          <p:nvPr/>
        </p:nvGrpSpPr>
        <p:grpSpPr>
          <a:xfrm>
            <a:off x="4636786" y="1790774"/>
            <a:ext cx="3187406" cy="3438426"/>
            <a:chOff x="3848240" y="2418047"/>
            <a:chExt cx="2028795" cy="2188568"/>
          </a:xfrm>
        </p:grpSpPr>
        <p:sp>
          <p:nvSpPr>
            <p:cNvPr id="180" name="Freihandform 179"/>
            <p:cNvSpPr/>
            <p:nvPr/>
          </p:nvSpPr>
          <p:spPr>
            <a:xfrm rot="16200000">
              <a:off x="3588037" y="2693763"/>
              <a:ext cx="1545407" cy="993976"/>
            </a:xfrm>
            <a:custGeom>
              <a:avLst/>
              <a:gdLst>
                <a:gd name="connsiteX0" fmla="*/ 1545407 w 1545407"/>
                <a:gd name="connsiteY0" fmla="*/ 993976 h 993976"/>
                <a:gd name="connsiteX1" fmla="*/ 1117051 w 1545407"/>
                <a:gd name="connsiteY1" fmla="*/ 993976 h 993976"/>
                <a:gd name="connsiteX2" fmla="*/ 1105853 w 1545407"/>
                <a:gd name="connsiteY2" fmla="*/ 882898 h 993976"/>
                <a:gd name="connsiteX3" fmla="*/ 547924 w 1545407"/>
                <a:gd name="connsiteY3" fmla="*/ 428172 h 993976"/>
                <a:gd name="connsiteX4" fmla="*/ 326249 w 1545407"/>
                <a:gd name="connsiteY4" fmla="*/ 472926 h 993976"/>
                <a:gd name="connsiteX5" fmla="*/ 253040 w 1545407"/>
                <a:gd name="connsiteY5" fmla="*/ 512663 h 993976"/>
                <a:gd name="connsiteX6" fmla="*/ 0 w 1545407"/>
                <a:gd name="connsiteY6" fmla="*/ 164383 h 993976"/>
                <a:gd name="connsiteX7" fmla="*/ 72375 w 1545407"/>
                <a:gd name="connsiteY7" fmla="*/ 120414 h 993976"/>
                <a:gd name="connsiteX8" fmla="*/ 547924 w 1545407"/>
                <a:gd name="connsiteY8" fmla="*/ 0 h 993976"/>
                <a:gd name="connsiteX9" fmla="*/ 1540443 w 1545407"/>
                <a:gd name="connsiteY9" fmla="*/ 895666 h 993976"/>
                <a:gd name="connsiteX10" fmla="*/ 1545407 w 1545407"/>
                <a:gd name="connsiteY10" fmla="*/ 993976 h 993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5407" h="993976">
                  <a:moveTo>
                    <a:pt x="1545407" y="993976"/>
                  </a:moveTo>
                  <a:lnTo>
                    <a:pt x="1117051" y="993976"/>
                  </a:lnTo>
                  <a:lnTo>
                    <a:pt x="1105853" y="882898"/>
                  </a:lnTo>
                  <a:cubicBezTo>
                    <a:pt x="1052750" y="623386"/>
                    <a:pt x="823135" y="428172"/>
                    <a:pt x="547924" y="428172"/>
                  </a:cubicBezTo>
                  <a:cubicBezTo>
                    <a:pt x="469292" y="428172"/>
                    <a:pt x="394383" y="444108"/>
                    <a:pt x="326249" y="472926"/>
                  </a:cubicBezTo>
                  <a:lnTo>
                    <a:pt x="253040" y="512663"/>
                  </a:lnTo>
                  <a:lnTo>
                    <a:pt x="0" y="164383"/>
                  </a:lnTo>
                  <a:lnTo>
                    <a:pt x="72375" y="120414"/>
                  </a:lnTo>
                  <a:cubicBezTo>
                    <a:pt x="213738" y="43621"/>
                    <a:pt x="375737" y="0"/>
                    <a:pt x="547924" y="0"/>
                  </a:cubicBezTo>
                  <a:cubicBezTo>
                    <a:pt x="1064485" y="0"/>
                    <a:pt x="1489353" y="392584"/>
                    <a:pt x="1540443" y="895666"/>
                  </a:cubicBezTo>
                  <a:lnTo>
                    <a:pt x="1545407" y="993976"/>
                  </a:lnTo>
                  <a:close/>
                </a:path>
              </a:pathLst>
            </a:cu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4" name="Freihandform 183"/>
            <p:cNvSpPr/>
            <p:nvPr/>
          </p:nvSpPr>
          <p:spPr>
            <a:xfrm rot="16200000">
              <a:off x="4489081" y="3254538"/>
              <a:ext cx="699595" cy="1617733"/>
            </a:xfrm>
            <a:custGeom>
              <a:avLst/>
              <a:gdLst>
                <a:gd name="connsiteX0" fmla="*/ 638707 w 699595"/>
                <a:gd name="connsiteY0" fmla="*/ 1273972 h 1617733"/>
                <a:gd name="connsiteX1" fmla="*/ 388950 w 699595"/>
                <a:gd name="connsiteY1" fmla="*/ 1617733 h 1617733"/>
                <a:gd name="connsiteX2" fmla="*/ 326860 w 699595"/>
                <a:gd name="connsiteY2" fmla="*/ 1570731 h 1617733"/>
                <a:gd name="connsiteX3" fmla="*/ 5151 w 699595"/>
                <a:gd name="connsiteY3" fmla="*/ 934244 h 1617733"/>
                <a:gd name="connsiteX4" fmla="*/ 299 w 699595"/>
                <a:gd name="connsiteY4" fmla="*/ 838163 h 1617733"/>
                <a:gd name="connsiteX5" fmla="*/ 428769 w 699595"/>
                <a:gd name="connsiteY5" fmla="*/ 838163 h 1617733"/>
                <a:gd name="connsiteX6" fmla="*/ 439742 w 699595"/>
                <a:gd name="connsiteY6" fmla="*/ 947012 h 1617733"/>
                <a:gd name="connsiteX7" fmla="*/ 635417 w 699595"/>
                <a:gd name="connsiteY7" fmla="*/ 1271692 h 1617733"/>
                <a:gd name="connsiteX8" fmla="*/ 699595 w 699595"/>
                <a:gd name="connsiteY8" fmla="*/ 348136 h 1617733"/>
                <a:gd name="connsiteX9" fmla="*/ 679258 w 699595"/>
                <a:gd name="connsiteY9" fmla="*/ 359174 h 1617733"/>
                <a:gd name="connsiteX10" fmla="*/ 428171 w 699595"/>
                <a:gd name="connsiteY10" fmla="*/ 831413 h 1617733"/>
                <a:gd name="connsiteX11" fmla="*/ 428266 w 699595"/>
                <a:gd name="connsiteY11" fmla="*/ 832349 h 1617733"/>
                <a:gd name="connsiteX12" fmla="*/ 47 w 699595"/>
                <a:gd name="connsiteY12" fmla="*/ 832349 h 1617733"/>
                <a:gd name="connsiteX13" fmla="*/ 0 w 699595"/>
                <a:gd name="connsiteY13" fmla="*/ 831413 h 1617733"/>
                <a:gd name="connsiteX14" fmla="*/ 439864 w 699595"/>
                <a:gd name="connsiteY14" fmla="*/ 4128 h 1617733"/>
                <a:gd name="connsiteX15" fmla="*/ 446660 w 699595"/>
                <a:gd name="connsiteY15" fmla="*/ 0 h 1617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99595" h="1617733">
                  <a:moveTo>
                    <a:pt x="638707" y="1273972"/>
                  </a:moveTo>
                  <a:lnTo>
                    <a:pt x="388950" y="1617733"/>
                  </a:lnTo>
                  <a:lnTo>
                    <a:pt x="326860" y="1570731"/>
                  </a:lnTo>
                  <a:cubicBezTo>
                    <a:pt x="149687" y="1409700"/>
                    <a:pt x="30697" y="1185784"/>
                    <a:pt x="5151" y="934244"/>
                  </a:cubicBezTo>
                  <a:lnTo>
                    <a:pt x="299" y="838163"/>
                  </a:lnTo>
                  <a:lnTo>
                    <a:pt x="428769" y="838163"/>
                  </a:lnTo>
                  <a:lnTo>
                    <a:pt x="439742" y="947012"/>
                  </a:lnTo>
                  <a:cubicBezTo>
                    <a:pt x="466294" y="1076768"/>
                    <a:pt x="536973" y="1190449"/>
                    <a:pt x="635417" y="1271692"/>
                  </a:cubicBezTo>
                  <a:close/>
                  <a:moveTo>
                    <a:pt x="699595" y="348136"/>
                  </a:moveTo>
                  <a:lnTo>
                    <a:pt x="679258" y="359174"/>
                  </a:lnTo>
                  <a:cubicBezTo>
                    <a:pt x="527770" y="461518"/>
                    <a:pt x="428171" y="634834"/>
                    <a:pt x="428171" y="831413"/>
                  </a:cubicBezTo>
                  <a:lnTo>
                    <a:pt x="428266" y="832349"/>
                  </a:lnTo>
                  <a:lnTo>
                    <a:pt x="47" y="832349"/>
                  </a:lnTo>
                  <a:lnTo>
                    <a:pt x="0" y="831413"/>
                  </a:lnTo>
                  <a:cubicBezTo>
                    <a:pt x="0" y="487039"/>
                    <a:pt x="174482" y="183417"/>
                    <a:pt x="439864" y="4128"/>
                  </a:cubicBezTo>
                  <a:lnTo>
                    <a:pt x="446660" y="0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5" name="Freihandform 174"/>
            <p:cNvSpPr/>
            <p:nvPr/>
          </p:nvSpPr>
          <p:spPr>
            <a:xfrm rot="16200000">
              <a:off x="4562437" y="2723898"/>
              <a:ext cx="1603221" cy="991745"/>
            </a:xfrm>
            <a:custGeom>
              <a:avLst/>
              <a:gdLst>
                <a:gd name="connsiteX0" fmla="*/ 1603221 w 1603221"/>
                <a:gd name="connsiteY0" fmla="*/ 0 h 991745"/>
                <a:gd name="connsiteX1" fmla="*/ 1598370 w 1603221"/>
                <a:gd name="connsiteY1" fmla="*/ 96081 h 991745"/>
                <a:gd name="connsiteX2" fmla="*/ 605850 w 1603221"/>
                <a:gd name="connsiteY2" fmla="*/ 991745 h 991745"/>
                <a:gd name="connsiteX3" fmla="*/ 78278 w 1603221"/>
                <a:gd name="connsiteY3" fmla="*/ 841000 h 991745"/>
                <a:gd name="connsiteX4" fmla="*/ 0 w 1603221"/>
                <a:gd name="connsiteY4" fmla="*/ 781743 h 991745"/>
                <a:gd name="connsiteX5" fmla="*/ 249846 w 1603221"/>
                <a:gd name="connsiteY5" fmla="*/ 437860 h 991745"/>
                <a:gd name="connsiteX6" fmla="*/ 322378 w 1603221"/>
                <a:gd name="connsiteY6" fmla="*/ 488122 h 991745"/>
                <a:gd name="connsiteX7" fmla="*/ 605850 w 1603221"/>
                <a:gd name="connsiteY7" fmla="*/ 563574 h 991745"/>
                <a:gd name="connsiteX8" fmla="*/ 1163779 w 1603221"/>
                <a:gd name="connsiteY8" fmla="*/ 108849 h 991745"/>
                <a:gd name="connsiteX9" fmla="*/ 1174752 w 1603221"/>
                <a:gd name="connsiteY9" fmla="*/ 0 h 991745"/>
                <a:gd name="connsiteX10" fmla="*/ 1603221 w 1603221"/>
                <a:gd name="connsiteY10" fmla="*/ 0 h 99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3221" h="991745">
                  <a:moveTo>
                    <a:pt x="1603221" y="0"/>
                  </a:moveTo>
                  <a:lnTo>
                    <a:pt x="1598370" y="96081"/>
                  </a:lnTo>
                  <a:cubicBezTo>
                    <a:pt x="1547280" y="599162"/>
                    <a:pt x="1122411" y="991745"/>
                    <a:pt x="605850" y="991745"/>
                  </a:cubicBezTo>
                  <a:cubicBezTo>
                    <a:pt x="412140" y="991745"/>
                    <a:pt x="231324" y="936538"/>
                    <a:pt x="78278" y="841000"/>
                  </a:cubicBezTo>
                  <a:lnTo>
                    <a:pt x="0" y="781743"/>
                  </a:lnTo>
                  <a:lnTo>
                    <a:pt x="249846" y="437860"/>
                  </a:lnTo>
                  <a:lnTo>
                    <a:pt x="322378" y="488122"/>
                  </a:lnTo>
                  <a:cubicBezTo>
                    <a:pt x="405854" y="536122"/>
                    <a:pt x="502646" y="563574"/>
                    <a:pt x="605850" y="563574"/>
                  </a:cubicBezTo>
                  <a:cubicBezTo>
                    <a:pt x="881062" y="563574"/>
                    <a:pt x="1110676" y="368361"/>
                    <a:pt x="1163779" y="108849"/>
                  </a:cubicBezTo>
                  <a:lnTo>
                    <a:pt x="1174752" y="0"/>
                  </a:lnTo>
                  <a:lnTo>
                    <a:pt x="1603221" y="0"/>
                  </a:ln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5" name="Oval 184"/>
            <p:cNvSpPr/>
            <p:nvPr/>
          </p:nvSpPr>
          <p:spPr>
            <a:xfrm>
              <a:off x="5252028" y="3700659"/>
              <a:ext cx="424872" cy="418821"/>
            </a:xfrm>
            <a:prstGeom prst="ellipse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6" name="Oval 185"/>
            <p:cNvSpPr/>
            <p:nvPr/>
          </p:nvSpPr>
          <p:spPr>
            <a:xfrm>
              <a:off x="3995676" y="3643726"/>
              <a:ext cx="429093" cy="422982"/>
            </a:xfrm>
            <a:prstGeom prst="ellips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7" name="Oval 186"/>
            <p:cNvSpPr/>
            <p:nvPr/>
          </p:nvSpPr>
          <p:spPr>
            <a:xfrm>
              <a:off x="4653628" y="2420503"/>
              <a:ext cx="429093" cy="422982"/>
            </a:xfrm>
            <a:prstGeom prst="ellipse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8" name="Oval 187"/>
            <p:cNvSpPr/>
            <p:nvPr/>
          </p:nvSpPr>
          <p:spPr>
            <a:xfrm>
              <a:off x="4653628" y="3984030"/>
              <a:ext cx="429093" cy="422982"/>
            </a:xfrm>
            <a:prstGeom prst="ellips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0" name="Dreieck 189"/>
            <p:cNvSpPr/>
            <p:nvPr/>
          </p:nvSpPr>
          <p:spPr>
            <a:xfrm rot="18270226">
              <a:off x="3738431" y="2678163"/>
              <a:ext cx="466683" cy="247066"/>
            </a:xfrm>
            <a:prstGeom prst="triangle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1" name="Dreieck 190"/>
            <p:cNvSpPr/>
            <p:nvPr/>
          </p:nvSpPr>
          <p:spPr>
            <a:xfrm rot="3277360">
              <a:off x="5520160" y="2678163"/>
              <a:ext cx="466683" cy="247066"/>
            </a:xfrm>
            <a:prstGeom prst="triangle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2" name="Dreieck 191"/>
            <p:cNvSpPr/>
            <p:nvPr/>
          </p:nvSpPr>
          <p:spPr>
            <a:xfrm rot="10800000">
              <a:off x="4605536" y="4359549"/>
              <a:ext cx="466683" cy="247066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3" name="Oval 192"/>
            <p:cNvSpPr/>
            <p:nvPr/>
          </p:nvSpPr>
          <p:spPr>
            <a:xfrm>
              <a:off x="4424874" y="2976211"/>
              <a:ext cx="879006" cy="879006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1" name="Freeform 9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39416" y="177281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63" name="Freeform 11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>
            <a:off x="8000602" y="177281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cxnSp>
        <p:nvCxnSpPr>
          <p:cNvPr id="64" name="Gerade Verbindung mit Pfeil 63"/>
          <p:cNvCxnSpPr/>
          <p:nvPr/>
        </p:nvCxnSpPr>
        <p:spPr>
          <a:xfrm flipV="1">
            <a:off x="6168008" y="5373216"/>
            <a:ext cx="0" cy="503709"/>
          </a:xfrm>
          <a:prstGeom prst="straightConnector1">
            <a:avLst/>
          </a:prstGeom>
          <a:ln w="19050">
            <a:solidFill>
              <a:srgbClr val="FFB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6168008" y="5876331"/>
            <a:ext cx="4392042" cy="0"/>
          </a:xfrm>
          <a:prstGeom prst="line">
            <a:avLst/>
          </a:prstGeom>
          <a:ln w="19050">
            <a:solidFill>
              <a:srgbClr val="FFBC0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1826" y="1468683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tensatz 1</a:t>
            </a:r>
          </a:p>
        </p:txBody>
      </p:sp>
      <p:sp>
        <p:nvSpPr>
          <p:cNvPr id="69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58287" y="1468683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tensatz 2</a:t>
            </a:r>
          </a:p>
        </p:txBody>
      </p:sp>
      <p:sp>
        <p:nvSpPr>
          <p:cNvPr id="7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968208" y="5573851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tensatz 3</a:t>
            </a:r>
          </a:p>
        </p:txBody>
      </p:sp>
      <p:sp>
        <p:nvSpPr>
          <p:cNvPr id="34" name="Fußzeilenplatzhalter 4"/>
          <p:cNvSpPr txBox="1">
            <a:spLocks/>
          </p:cNvSpPr>
          <p:nvPr/>
        </p:nvSpPr>
        <p:spPr>
          <a:xfrm>
            <a:off x="687964" y="643203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</p:spTree>
    <p:extLst>
      <p:ext uri="{BB962C8B-B14F-4D97-AF65-F5344CB8AC3E}">
        <p14:creationId xmlns:p14="http://schemas.microsoft.com/office/powerpoint/2010/main" val="214556759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reisdiagram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5:25:25:25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uppierung 26"/>
          <p:cNvGrpSpPr/>
          <p:nvPr/>
        </p:nvGrpSpPr>
        <p:grpSpPr>
          <a:xfrm>
            <a:off x="4583832" y="1916832"/>
            <a:ext cx="3254378" cy="3240956"/>
            <a:chOff x="5879976" y="4443480"/>
            <a:chExt cx="1439569" cy="1433632"/>
          </a:xfrm>
        </p:grpSpPr>
        <p:sp>
          <p:nvSpPr>
            <p:cNvPr id="129" name="Freihandform 128"/>
            <p:cNvSpPr/>
            <p:nvPr/>
          </p:nvSpPr>
          <p:spPr>
            <a:xfrm>
              <a:off x="5879976" y="5161388"/>
              <a:ext cx="721763" cy="715724"/>
            </a:xfrm>
            <a:custGeom>
              <a:avLst/>
              <a:gdLst>
                <a:gd name="connsiteX0" fmla="*/ 0 w 721763"/>
                <a:gd name="connsiteY0" fmla="*/ 0 h 715724"/>
                <a:gd name="connsiteX1" fmla="*/ 309218 w 721763"/>
                <a:gd name="connsiteY1" fmla="*/ 0 h 715724"/>
                <a:gd name="connsiteX2" fmla="*/ 317137 w 721763"/>
                <a:gd name="connsiteY2" fmla="*/ 78554 h 715724"/>
                <a:gd name="connsiteX3" fmla="*/ 719784 w 721763"/>
                <a:gd name="connsiteY3" fmla="*/ 406721 h 715724"/>
                <a:gd name="connsiteX4" fmla="*/ 720849 w 721763"/>
                <a:gd name="connsiteY4" fmla="*/ 406627 h 715724"/>
                <a:gd name="connsiteX5" fmla="*/ 720849 w 721763"/>
                <a:gd name="connsiteY5" fmla="*/ 715537 h 715724"/>
                <a:gd name="connsiteX6" fmla="*/ 721763 w 721763"/>
                <a:gd name="connsiteY6" fmla="*/ 715537 h 715724"/>
                <a:gd name="connsiteX7" fmla="*/ 719784 w 721763"/>
                <a:gd name="connsiteY7" fmla="*/ 715724 h 715724"/>
                <a:gd name="connsiteX8" fmla="*/ 3501 w 721763"/>
                <a:gd name="connsiteY8" fmla="*/ 69340 h 715724"/>
                <a:gd name="connsiteX9" fmla="*/ 0 w 721763"/>
                <a:gd name="connsiteY9" fmla="*/ 0 h 7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1763" h="715724">
                  <a:moveTo>
                    <a:pt x="0" y="0"/>
                  </a:moveTo>
                  <a:lnTo>
                    <a:pt x="309218" y="0"/>
                  </a:lnTo>
                  <a:lnTo>
                    <a:pt x="317137" y="78554"/>
                  </a:lnTo>
                  <a:cubicBezTo>
                    <a:pt x="355461" y="265839"/>
                    <a:pt x="521170" y="406721"/>
                    <a:pt x="719784" y="406721"/>
                  </a:cubicBezTo>
                  <a:lnTo>
                    <a:pt x="720849" y="406627"/>
                  </a:lnTo>
                  <a:lnTo>
                    <a:pt x="720849" y="715537"/>
                  </a:lnTo>
                  <a:lnTo>
                    <a:pt x="721763" y="715537"/>
                  </a:lnTo>
                  <a:lnTo>
                    <a:pt x="719784" y="715724"/>
                  </a:lnTo>
                  <a:cubicBezTo>
                    <a:pt x="346992" y="715724"/>
                    <a:pt x="40373" y="432404"/>
                    <a:pt x="3501" y="6934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8" name="Freihandform 127"/>
            <p:cNvSpPr/>
            <p:nvPr/>
          </p:nvSpPr>
          <p:spPr>
            <a:xfrm>
              <a:off x="6608025" y="5161389"/>
              <a:ext cx="711519" cy="714943"/>
            </a:xfrm>
            <a:custGeom>
              <a:avLst/>
              <a:gdLst>
                <a:gd name="connsiteX0" fmla="*/ 402301 w 711519"/>
                <a:gd name="connsiteY0" fmla="*/ 0 h 714943"/>
                <a:gd name="connsiteX1" fmla="*/ 711519 w 711519"/>
                <a:gd name="connsiteY1" fmla="*/ 0 h 714943"/>
                <a:gd name="connsiteX2" fmla="*/ 708018 w 711519"/>
                <a:gd name="connsiteY2" fmla="*/ 69340 h 714943"/>
                <a:gd name="connsiteX3" fmla="*/ 128033 w 711519"/>
                <a:gd name="connsiteY3" fmla="*/ 702841 h 714943"/>
                <a:gd name="connsiteX4" fmla="*/ 0 w 711519"/>
                <a:gd name="connsiteY4" fmla="*/ 714943 h 714943"/>
                <a:gd name="connsiteX5" fmla="*/ 0 w 711519"/>
                <a:gd name="connsiteY5" fmla="*/ 405992 h 714943"/>
                <a:gd name="connsiteX6" fmla="*/ 64489 w 711519"/>
                <a:gd name="connsiteY6" fmla="*/ 400302 h 714943"/>
                <a:gd name="connsiteX7" fmla="*/ 394382 w 711519"/>
                <a:gd name="connsiteY7" fmla="*/ 78554 h 714943"/>
                <a:gd name="connsiteX8" fmla="*/ 402301 w 711519"/>
                <a:gd name="connsiteY8" fmla="*/ 0 h 71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519" h="714943">
                  <a:moveTo>
                    <a:pt x="402301" y="0"/>
                  </a:moveTo>
                  <a:lnTo>
                    <a:pt x="711519" y="0"/>
                  </a:lnTo>
                  <a:lnTo>
                    <a:pt x="708018" y="69340"/>
                  </a:lnTo>
                  <a:cubicBezTo>
                    <a:pt x="675756" y="387021"/>
                    <a:pt x="436967" y="643648"/>
                    <a:pt x="128033" y="702841"/>
                  </a:cubicBezTo>
                  <a:lnTo>
                    <a:pt x="0" y="714943"/>
                  </a:lnTo>
                  <a:lnTo>
                    <a:pt x="0" y="405992"/>
                  </a:lnTo>
                  <a:lnTo>
                    <a:pt x="64489" y="400302"/>
                  </a:lnTo>
                  <a:cubicBezTo>
                    <a:pt x="229787" y="370776"/>
                    <a:pt x="360849" y="242429"/>
                    <a:pt x="394382" y="78554"/>
                  </a:cubicBezTo>
                  <a:lnTo>
                    <a:pt x="402301" y="0"/>
                  </a:lnTo>
                  <a:close/>
                </a:path>
              </a:pathLst>
            </a:cu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3" name="Freihandform 142"/>
            <p:cNvSpPr/>
            <p:nvPr/>
          </p:nvSpPr>
          <p:spPr>
            <a:xfrm rot="10800000">
              <a:off x="6597782" y="4443480"/>
              <a:ext cx="721763" cy="715724"/>
            </a:xfrm>
            <a:custGeom>
              <a:avLst/>
              <a:gdLst>
                <a:gd name="connsiteX0" fmla="*/ 0 w 721763"/>
                <a:gd name="connsiteY0" fmla="*/ 0 h 715724"/>
                <a:gd name="connsiteX1" fmla="*/ 309218 w 721763"/>
                <a:gd name="connsiteY1" fmla="*/ 0 h 715724"/>
                <a:gd name="connsiteX2" fmla="*/ 317137 w 721763"/>
                <a:gd name="connsiteY2" fmla="*/ 78554 h 715724"/>
                <a:gd name="connsiteX3" fmla="*/ 719784 w 721763"/>
                <a:gd name="connsiteY3" fmla="*/ 406721 h 715724"/>
                <a:gd name="connsiteX4" fmla="*/ 720849 w 721763"/>
                <a:gd name="connsiteY4" fmla="*/ 406627 h 715724"/>
                <a:gd name="connsiteX5" fmla="*/ 720849 w 721763"/>
                <a:gd name="connsiteY5" fmla="*/ 715537 h 715724"/>
                <a:gd name="connsiteX6" fmla="*/ 721763 w 721763"/>
                <a:gd name="connsiteY6" fmla="*/ 715537 h 715724"/>
                <a:gd name="connsiteX7" fmla="*/ 719784 w 721763"/>
                <a:gd name="connsiteY7" fmla="*/ 715724 h 715724"/>
                <a:gd name="connsiteX8" fmla="*/ 3501 w 721763"/>
                <a:gd name="connsiteY8" fmla="*/ 69340 h 715724"/>
                <a:gd name="connsiteX9" fmla="*/ 0 w 721763"/>
                <a:gd name="connsiteY9" fmla="*/ 0 h 71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1763" h="715724">
                  <a:moveTo>
                    <a:pt x="0" y="0"/>
                  </a:moveTo>
                  <a:lnTo>
                    <a:pt x="309218" y="0"/>
                  </a:lnTo>
                  <a:lnTo>
                    <a:pt x="317137" y="78554"/>
                  </a:lnTo>
                  <a:cubicBezTo>
                    <a:pt x="355461" y="265839"/>
                    <a:pt x="521170" y="406721"/>
                    <a:pt x="719784" y="406721"/>
                  </a:cubicBezTo>
                  <a:lnTo>
                    <a:pt x="720849" y="406627"/>
                  </a:lnTo>
                  <a:lnTo>
                    <a:pt x="720849" y="715537"/>
                  </a:lnTo>
                  <a:lnTo>
                    <a:pt x="721763" y="715537"/>
                  </a:lnTo>
                  <a:lnTo>
                    <a:pt x="719784" y="715724"/>
                  </a:lnTo>
                  <a:cubicBezTo>
                    <a:pt x="346992" y="715724"/>
                    <a:pt x="40373" y="432404"/>
                    <a:pt x="3501" y="6934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4" name="Freihandform 143"/>
            <p:cNvSpPr/>
            <p:nvPr/>
          </p:nvSpPr>
          <p:spPr>
            <a:xfrm rot="10800000">
              <a:off x="5879977" y="4444260"/>
              <a:ext cx="711519" cy="714943"/>
            </a:xfrm>
            <a:custGeom>
              <a:avLst/>
              <a:gdLst>
                <a:gd name="connsiteX0" fmla="*/ 402301 w 711519"/>
                <a:gd name="connsiteY0" fmla="*/ 0 h 714943"/>
                <a:gd name="connsiteX1" fmla="*/ 711519 w 711519"/>
                <a:gd name="connsiteY1" fmla="*/ 0 h 714943"/>
                <a:gd name="connsiteX2" fmla="*/ 708018 w 711519"/>
                <a:gd name="connsiteY2" fmla="*/ 69340 h 714943"/>
                <a:gd name="connsiteX3" fmla="*/ 128033 w 711519"/>
                <a:gd name="connsiteY3" fmla="*/ 702841 h 714943"/>
                <a:gd name="connsiteX4" fmla="*/ 0 w 711519"/>
                <a:gd name="connsiteY4" fmla="*/ 714943 h 714943"/>
                <a:gd name="connsiteX5" fmla="*/ 0 w 711519"/>
                <a:gd name="connsiteY5" fmla="*/ 405992 h 714943"/>
                <a:gd name="connsiteX6" fmla="*/ 64489 w 711519"/>
                <a:gd name="connsiteY6" fmla="*/ 400302 h 714943"/>
                <a:gd name="connsiteX7" fmla="*/ 394382 w 711519"/>
                <a:gd name="connsiteY7" fmla="*/ 78554 h 714943"/>
                <a:gd name="connsiteX8" fmla="*/ 402301 w 711519"/>
                <a:gd name="connsiteY8" fmla="*/ 0 h 71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519" h="714943">
                  <a:moveTo>
                    <a:pt x="402301" y="0"/>
                  </a:moveTo>
                  <a:lnTo>
                    <a:pt x="711519" y="0"/>
                  </a:lnTo>
                  <a:lnTo>
                    <a:pt x="708018" y="69340"/>
                  </a:lnTo>
                  <a:cubicBezTo>
                    <a:pt x="675756" y="387021"/>
                    <a:pt x="436967" y="643648"/>
                    <a:pt x="128033" y="702841"/>
                  </a:cubicBezTo>
                  <a:lnTo>
                    <a:pt x="0" y="714943"/>
                  </a:lnTo>
                  <a:lnTo>
                    <a:pt x="0" y="405992"/>
                  </a:lnTo>
                  <a:lnTo>
                    <a:pt x="64489" y="400302"/>
                  </a:lnTo>
                  <a:cubicBezTo>
                    <a:pt x="229787" y="370776"/>
                    <a:pt x="360849" y="242429"/>
                    <a:pt x="394382" y="78554"/>
                  </a:cubicBezTo>
                  <a:lnTo>
                    <a:pt x="402301" y="0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6" name="Dreieck 145"/>
            <p:cNvSpPr/>
            <p:nvPr/>
          </p:nvSpPr>
          <p:spPr>
            <a:xfrm rot="18779445">
              <a:off x="5851032" y="4595375"/>
              <a:ext cx="306386" cy="162204"/>
            </a:xfrm>
            <a:prstGeom prst="triangl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7" name="Dreieck 146"/>
            <p:cNvSpPr/>
            <p:nvPr/>
          </p:nvSpPr>
          <p:spPr>
            <a:xfrm rot="2730969">
              <a:off x="7044117" y="4594143"/>
              <a:ext cx="306386" cy="162204"/>
            </a:xfrm>
            <a:prstGeom prst="triangl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8" name="Dreieck 147"/>
            <p:cNvSpPr/>
            <p:nvPr/>
          </p:nvSpPr>
          <p:spPr>
            <a:xfrm rot="7979445">
              <a:off x="7003160" y="5556805"/>
              <a:ext cx="306386" cy="162204"/>
            </a:xfrm>
            <a:prstGeom prst="triangle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Dreieck 148"/>
            <p:cNvSpPr/>
            <p:nvPr/>
          </p:nvSpPr>
          <p:spPr>
            <a:xfrm rot="13530969">
              <a:off x="5849609" y="5558037"/>
              <a:ext cx="306386" cy="162204"/>
            </a:xfrm>
            <a:prstGeom prst="triangle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0" name="Oval 149"/>
            <p:cNvSpPr/>
            <p:nvPr/>
          </p:nvSpPr>
          <p:spPr>
            <a:xfrm>
              <a:off x="6251880" y="4823860"/>
              <a:ext cx="679233" cy="679233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2" name="Oval 151"/>
            <p:cNvSpPr/>
            <p:nvPr/>
          </p:nvSpPr>
          <p:spPr>
            <a:xfrm flipV="1">
              <a:off x="6452568" y="5567195"/>
              <a:ext cx="309730" cy="309730"/>
            </a:xfrm>
            <a:prstGeom prst="ellipse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3" name="Oval 152"/>
            <p:cNvSpPr/>
            <p:nvPr/>
          </p:nvSpPr>
          <p:spPr>
            <a:xfrm flipV="1">
              <a:off x="6452568" y="4443819"/>
              <a:ext cx="309730" cy="309730"/>
            </a:xfrm>
            <a:prstGeom prst="ellipse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4" name="Oval 153"/>
            <p:cNvSpPr/>
            <p:nvPr/>
          </p:nvSpPr>
          <p:spPr>
            <a:xfrm flipV="1">
              <a:off x="7001488" y="5013176"/>
              <a:ext cx="309730" cy="309730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5" name="Oval 154"/>
            <p:cNvSpPr/>
            <p:nvPr/>
          </p:nvSpPr>
          <p:spPr>
            <a:xfrm flipV="1">
              <a:off x="5880100" y="5013176"/>
              <a:ext cx="309730" cy="309730"/>
            </a:xfrm>
            <a:prstGeom prst="ellipse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Freeform 9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39416" y="177281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70" name="Freeform 11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>
            <a:off x="8000602" y="177281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7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1826" y="1468683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tensatz 1</a:t>
            </a:r>
          </a:p>
        </p:txBody>
      </p:sp>
      <p:sp>
        <p:nvSpPr>
          <p:cNvPr id="72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58287" y="1468683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tensatz 2</a:t>
            </a:r>
          </a:p>
        </p:txBody>
      </p:sp>
      <p:sp>
        <p:nvSpPr>
          <p:cNvPr id="7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05341" y="5211981"/>
            <a:ext cx="30912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3</a:t>
            </a:r>
          </a:p>
        </p:txBody>
      </p:sp>
      <p:sp>
        <p:nvSpPr>
          <p:cNvPr id="7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3319" y="5195873"/>
            <a:ext cx="309126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sp>
        <p:nvSpPr>
          <p:cNvPr id="79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 flipV="1">
            <a:off x="746995" y="505879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80" name="Freeform 12"/>
          <p:cNvSpPr>
            <a:spLocks/>
          </p:cNvSpPr>
          <p:nvPr>
            <p:custDataLst>
              <p:tags r:id="rId8"/>
            </p:custDataLst>
          </p:nvPr>
        </p:nvSpPr>
        <p:spPr bwMode="auto">
          <a:xfrm flipH="1" flipV="1">
            <a:off x="7830237" y="5085184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507642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alkendiagram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Gruppierung 139"/>
          <p:cNvGrpSpPr/>
          <p:nvPr/>
        </p:nvGrpSpPr>
        <p:grpSpPr>
          <a:xfrm>
            <a:off x="6828090" y="503094"/>
            <a:ext cx="3706709" cy="2309727"/>
            <a:chOff x="6828090" y="503094"/>
            <a:chExt cx="3706709" cy="2309727"/>
          </a:xfrm>
        </p:grpSpPr>
        <p:grpSp>
          <p:nvGrpSpPr>
            <p:cNvPr id="134" name="Gruppierung 133"/>
            <p:cNvGrpSpPr/>
            <p:nvPr/>
          </p:nvGrpSpPr>
          <p:grpSpPr>
            <a:xfrm>
              <a:off x="6828090" y="503094"/>
              <a:ext cx="3706709" cy="261610"/>
              <a:chOff x="6828090" y="503094"/>
              <a:chExt cx="3706709" cy="261610"/>
            </a:xfrm>
          </p:grpSpPr>
          <p:sp>
            <p:nvSpPr>
              <p:cNvPr id="49" name="Ecken des Rechtecks auf der gleichen Seite abrunden 48"/>
              <p:cNvSpPr/>
              <p:nvPr/>
            </p:nvSpPr>
            <p:spPr>
              <a:xfrm rot="5400000">
                <a:off x="8902583" y="-880844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6" name="Rechteck 55"/>
              <p:cNvSpPr/>
              <p:nvPr/>
            </p:nvSpPr>
            <p:spPr>
              <a:xfrm rot="5400000">
                <a:off x="8091029" y="-69290"/>
                <a:ext cx="229723" cy="1411647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6" name="Textfeld 105"/>
              <p:cNvSpPr txBox="1"/>
              <p:nvPr/>
            </p:nvSpPr>
            <p:spPr>
              <a:xfrm>
                <a:off x="6828090" y="503094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135" name="Gruppierung 134"/>
            <p:cNvGrpSpPr/>
            <p:nvPr/>
          </p:nvGrpSpPr>
          <p:grpSpPr>
            <a:xfrm>
              <a:off x="6828090" y="915783"/>
              <a:ext cx="3706709" cy="261610"/>
              <a:chOff x="6828090" y="915783"/>
              <a:chExt cx="3706709" cy="261610"/>
            </a:xfrm>
          </p:grpSpPr>
          <p:sp>
            <p:nvSpPr>
              <p:cNvPr id="50" name="Ecken des Rechtecks auf der gleichen Seite abrunden 49"/>
              <p:cNvSpPr/>
              <p:nvPr/>
            </p:nvSpPr>
            <p:spPr>
              <a:xfrm rot="5400000">
                <a:off x="8902583" y="-467280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Rechteck 54"/>
              <p:cNvSpPr/>
              <p:nvPr/>
            </p:nvSpPr>
            <p:spPr>
              <a:xfrm rot="5400000">
                <a:off x="8338020" y="97260"/>
                <a:ext cx="229723" cy="1905630"/>
              </a:xfrm>
              <a:prstGeom prst="rect">
                <a:avLst/>
              </a:pr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7" name="Textfeld 106"/>
              <p:cNvSpPr txBox="1"/>
              <p:nvPr/>
            </p:nvSpPr>
            <p:spPr>
              <a:xfrm>
                <a:off x="6828090" y="91578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136" name="Gruppierung 135"/>
            <p:cNvGrpSpPr/>
            <p:nvPr/>
          </p:nvGrpSpPr>
          <p:grpSpPr>
            <a:xfrm>
              <a:off x="6828090" y="1340649"/>
              <a:ext cx="3706709" cy="261610"/>
              <a:chOff x="6828090" y="1340649"/>
              <a:chExt cx="3706709" cy="261610"/>
            </a:xfrm>
          </p:grpSpPr>
          <p:sp>
            <p:nvSpPr>
              <p:cNvPr id="51" name="Ecken des Rechtecks auf der gleichen Seite abrunden 50"/>
              <p:cNvSpPr/>
              <p:nvPr/>
            </p:nvSpPr>
            <p:spPr>
              <a:xfrm rot="5400000">
                <a:off x="8902583" y="-53692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7" name="Rechteck 56"/>
              <p:cNvSpPr/>
              <p:nvPr/>
            </p:nvSpPr>
            <p:spPr>
              <a:xfrm rot="5400000">
                <a:off x="8196542" y="652303"/>
                <a:ext cx="229723" cy="1622673"/>
              </a:xfrm>
              <a:prstGeom prst="rect">
                <a:avLst/>
              </a:prstGeom>
              <a:solidFill>
                <a:srgbClr val="EBA80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Textfeld 107"/>
              <p:cNvSpPr txBox="1"/>
              <p:nvPr/>
            </p:nvSpPr>
            <p:spPr>
              <a:xfrm>
                <a:off x="6828090" y="1340649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137" name="Gruppierung 136"/>
            <p:cNvGrpSpPr/>
            <p:nvPr/>
          </p:nvGrpSpPr>
          <p:grpSpPr>
            <a:xfrm>
              <a:off x="6828090" y="1739553"/>
              <a:ext cx="3706709" cy="261610"/>
              <a:chOff x="6828090" y="1739553"/>
              <a:chExt cx="3706709" cy="261610"/>
            </a:xfrm>
          </p:grpSpPr>
          <p:sp>
            <p:nvSpPr>
              <p:cNvPr id="52" name="Ecken des Rechtecks auf der gleichen Seite abrunden 51"/>
              <p:cNvSpPr/>
              <p:nvPr/>
            </p:nvSpPr>
            <p:spPr>
              <a:xfrm rot="5400000">
                <a:off x="8902583" y="354313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8" name="Rechteck 57"/>
              <p:cNvSpPr/>
              <p:nvPr/>
            </p:nvSpPr>
            <p:spPr>
              <a:xfrm rot="5400000">
                <a:off x="8267451" y="989445"/>
                <a:ext cx="229723" cy="1764492"/>
              </a:xfrm>
              <a:prstGeom prst="rect">
                <a:avLst/>
              </a:prstGeom>
              <a:solidFill>
                <a:srgbClr val="1D226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Textfeld 108"/>
              <p:cNvSpPr txBox="1"/>
              <p:nvPr/>
            </p:nvSpPr>
            <p:spPr>
              <a:xfrm>
                <a:off x="6828090" y="173955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138" name="Gruppierung 137"/>
            <p:cNvGrpSpPr/>
            <p:nvPr/>
          </p:nvGrpSpPr>
          <p:grpSpPr>
            <a:xfrm>
              <a:off x="6828090" y="2154405"/>
              <a:ext cx="3706709" cy="261610"/>
              <a:chOff x="6828090" y="2154405"/>
              <a:chExt cx="3706709" cy="261610"/>
            </a:xfrm>
          </p:grpSpPr>
          <p:sp>
            <p:nvSpPr>
              <p:cNvPr id="53" name="Ecken des Rechtecks auf der gleichen Seite abrunden 52"/>
              <p:cNvSpPr/>
              <p:nvPr/>
            </p:nvSpPr>
            <p:spPr>
              <a:xfrm rot="5400000">
                <a:off x="8902583" y="767855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Rechteck 58"/>
              <p:cNvSpPr/>
              <p:nvPr/>
            </p:nvSpPr>
            <p:spPr>
              <a:xfrm rot="5400000">
                <a:off x="7914606" y="1755809"/>
                <a:ext cx="229723" cy="1058802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Textfeld 109"/>
              <p:cNvSpPr txBox="1"/>
              <p:nvPr/>
            </p:nvSpPr>
            <p:spPr>
              <a:xfrm>
                <a:off x="6828090" y="2154405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139" name="Gruppierung 138"/>
            <p:cNvGrpSpPr/>
            <p:nvPr/>
          </p:nvGrpSpPr>
          <p:grpSpPr>
            <a:xfrm>
              <a:off x="6828090" y="2551211"/>
              <a:ext cx="3706709" cy="261610"/>
              <a:chOff x="6828090" y="2551211"/>
              <a:chExt cx="3706709" cy="261610"/>
            </a:xfrm>
          </p:grpSpPr>
          <p:sp>
            <p:nvSpPr>
              <p:cNvPr id="54" name="Ecken des Rechtecks auf der gleichen Seite abrunden 53"/>
              <p:cNvSpPr/>
              <p:nvPr/>
            </p:nvSpPr>
            <p:spPr>
              <a:xfrm rot="5400000">
                <a:off x="8902583" y="1164166"/>
                <a:ext cx="229700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Rechteck 59"/>
              <p:cNvSpPr/>
              <p:nvPr/>
            </p:nvSpPr>
            <p:spPr>
              <a:xfrm rot="5400000">
                <a:off x="8761434" y="1305293"/>
                <a:ext cx="229723" cy="2752457"/>
              </a:xfrm>
              <a:prstGeom prst="rect">
                <a:avLst/>
              </a:prstGeom>
              <a:solidFill>
                <a:srgbClr val="1D226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Textfeld 110"/>
              <p:cNvSpPr txBox="1"/>
              <p:nvPr/>
            </p:nvSpPr>
            <p:spPr>
              <a:xfrm>
                <a:off x="6828090" y="2551211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</p:grpSp>
      <p:grpSp>
        <p:nvGrpSpPr>
          <p:cNvPr id="133" name="Gruppierung 132"/>
          <p:cNvGrpSpPr/>
          <p:nvPr/>
        </p:nvGrpSpPr>
        <p:grpSpPr>
          <a:xfrm>
            <a:off x="6672065" y="3573016"/>
            <a:ext cx="4342639" cy="2309727"/>
            <a:chOff x="6672065" y="3573016"/>
            <a:chExt cx="4342639" cy="2309727"/>
          </a:xfrm>
        </p:grpSpPr>
        <p:grpSp>
          <p:nvGrpSpPr>
            <p:cNvPr id="11" name="Gruppierung 10"/>
            <p:cNvGrpSpPr/>
            <p:nvPr/>
          </p:nvGrpSpPr>
          <p:grpSpPr>
            <a:xfrm>
              <a:off x="6915785" y="4016104"/>
              <a:ext cx="3619014" cy="229722"/>
              <a:chOff x="6915785" y="4016104"/>
              <a:chExt cx="3619014" cy="229722"/>
            </a:xfrm>
          </p:grpSpPr>
          <p:sp>
            <p:nvSpPr>
              <p:cNvPr id="84" name="Ecken des Rechtecks auf der gleichen Seite abrunden 83"/>
              <p:cNvSpPr/>
              <p:nvPr/>
            </p:nvSpPr>
            <p:spPr>
              <a:xfrm rot="5400000">
                <a:off x="8902583" y="2613609"/>
                <a:ext cx="229699" cy="3034733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9" name="Rechteck 88"/>
              <p:cNvSpPr/>
              <p:nvPr/>
            </p:nvSpPr>
            <p:spPr>
              <a:xfrm rot="5400000">
                <a:off x="8338020" y="3178150"/>
                <a:ext cx="229722" cy="1905630"/>
              </a:xfrm>
              <a:prstGeom prst="rect">
                <a:avLst/>
              </a:pr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5" name="Rechteck 94"/>
              <p:cNvSpPr/>
              <p:nvPr/>
            </p:nvSpPr>
            <p:spPr>
              <a:xfrm rot="5400000" flipH="1">
                <a:off x="7075149" y="3856740"/>
                <a:ext cx="229722" cy="548449"/>
              </a:xfrm>
              <a:prstGeom prst="rect">
                <a:avLst/>
              </a:prstGeom>
              <a:solidFill>
                <a:srgbClr val="00AAF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9" name="Gruppierung 18"/>
            <p:cNvGrpSpPr/>
            <p:nvPr/>
          </p:nvGrpSpPr>
          <p:grpSpPr>
            <a:xfrm>
              <a:off x="7057957" y="3573016"/>
              <a:ext cx="3956747" cy="261610"/>
              <a:chOff x="7057957" y="3573016"/>
              <a:chExt cx="3956747" cy="261610"/>
            </a:xfrm>
          </p:grpSpPr>
          <p:grpSp>
            <p:nvGrpSpPr>
              <p:cNvPr id="10" name="Gruppierung 9"/>
              <p:cNvGrpSpPr/>
              <p:nvPr/>
            </p:nvGrpSpPr>
            <p:grpSpPr>
              <a:xfrm>
                <a:off x="7057957" y="3602561"/>
                <a:ext cx="3476842" cy="229724"/>
                <a:chOff x="7057957" y="3602561"/>
                <a:chExt cx="3476842" cy="229724"/>
              </a:xfrm>
            </p:grpSpPr>
            <p:sp>
              <p:nvSpPr>
                <p:cNvPr id="83" name="Ecken des Rechtecks auf der gleichen Seite abrunden 82"/>
                <p:cNvSpPr/>
                <p:nvPr/>
              </p:nvSpPr>
              <p:spPr>
                <a:xfrm rot="5400000">
                  <a:off x="8902583" y="2200045"/>
                  <a:ext cx="229699" cy="3034733"/>
                </a:xfrm>
                <a:prstGeom prst="round2SameRect">
                  <a:avLst/>
                </a:prstGeom>
                <a:solidFill>
                  <a:srgbClr val="F7F7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0" name="Rechteck 89"/>
                <p:cNvSpPr/>
                <p:nvPr/>
              </p:nvSpPr>
              <p:spPr>
                <a:xfrm rot="5400000">
                  <a:off x="8091029" y="3011600"/>
                  <a:ext cx="229722" cy="1411647"/>
                </a:xfrm>
                <a:prstGeom prst="rect">
                  <a:avLst/>
                </a:prstGeom>
                <a:solidFill>
                  <a:srgbClr val="2F52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6" name="Rechteck 95"/>
                <p:cNvSpPr/>
                <p:nvPr/>
              </p:nvSpPr>
              <p:spPr>
                <a:xfrm rot="5400000" flipH="1">
                  <a:off x="7146234" y="3514284"/>
                  <a:ext cx="229723" cy="406278"/>
                </a:xfrm>
                <a:prstGeom prst="rect">
                  <a:avLst/>
                </a:prstGeom>
                <a:solidFill>
                  <a:srgbClr val="2F52A0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19" name="Textfeld 118"/>
              <p:cNvSpPr txBox="1"/>
              <p:nvPr/>
            </p:nvSpPr>
            <p:spPr>
              <a:xfrm>
                <a:off x="10534800" y="3573016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sp>
          <p:nvSpPr>
            <p:cNvPr id="120" name="Textfeld 119"/>
            <p:cNvSpPr txBox="1"/>
            <p:nvPr/>
          </p:nvSpPr>
          <p:spPr>
            <a:xfrm>
              <a:off x="10534800" y="3985705"/>
              <a:ext cx="47990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1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grpSp>
          <p:nvGrpSpPr>
            <p:cNvPr id="20" name="Gruppierung 19"/>
            <p:cNvGrpSpPr/>
            <p:nvPr/>
          </p:nvGrpSpPr>
          <p:grpSpPr>
            <a:xfrm>
              <a:off x="6997222" y="4410571"/>
              <a:ext cx="4017482" cy="261610"/>
              <a:chOff x="6997222" y="4410571"/>
              <a:chExt cx="4017482" cy="261610"/>
            </a:xfrm>
          </p:grpSpPr>
          <p:grpSp>
            <p:nvGrpSpPr>
              <p:cNvPr id="13" name="Gruppierung 12"/>
              <p:cNvGrpSpPr/>
              <p:nvPr/>
            </p:nvGrpSpPr>
            <p:grpSpPr>
              <a:xfrm>
                <a:off x="6997222" y="4429668"/>
                <a:ext cx="3537577" cy="229745"/>
                <a:chOff x="6997222" y="4429668"/>
                <a:chExt cx="3537577" cy="229745"/>
              </a:xfrm>
            </p:grpSpPr>
            <p:sp>
              <p:nvSpPr>
                <p:cNvPr id="85" name="Ecken des Rechtecks auf der gleichen Seite abrunden 84"/>
                <p:cNvSpPr/>
                <p:nvPr/>
              </p:nvSpPr>
              <p:spPr>
                <a:xfrm rot="5400000">
                  <a:off x="8902583" y="3027197"/>
                  <a:ext cx="229699" cy="3034733"/>
                </a:xfrm>
                <a:prstGeom prst="round2SameRect">
                  <a:avLst/>
                </a:prstGeom>
                <a:solidFill>
                  <a:srgbClr val="F7F7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1" name="Rechteck 90"/>
                <p:cNvSpPr/>
                <p:nvPr/>
              </p:nvSpPr>
              <p:spPr>
                <a:xfrm rot="5400000">
                  <a:off x="8196542" y="3733192"/>
                  <a:ext cx="229722" cy="1622673"/>
                </a:xfrm>
                <a:prstGeom prst="rect">
                  <a:avLst/>
                </a:prstGeom>
                <a:solidFill>
                  <a:srgbClr val="EBA80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7" name="Rechteck 96"/>
                <p:cNvSpPr/>
                <p:nvPr/>
              </p:nvSpPr>
              <p:spPr>
                <a:xfrm rot="5400000" flipH="1">
                  <a:off x="7115867" y="4311024"/>
                  <a:ext cx="229723" cy="467013"/>
                </a:xfrm>
                <a:prstGeom prst="rect">
                  <a:avLst/>
                </a:prstGeom>
                <a:solidFill>
                  <a:srgbClr val="EBA804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1" name="Textfeld 120"/>
              <p:cNvSpPr txBox="1"/>
              <p:nvPr/>
            </p:nvSpPr>
            <p:spPr>
              <a:xfrm>
                <a:off x="10534800" y="4410571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21" name="Gruppierung 20"/>
            <p:cNvGrpSpPr/>
            <p:nvPr/>
          </p:nvGrpSpPr>
          <p:grpSpPr>
            <a:xfrm>
              <a:off x="6956406" y="4809475"/>
              <a:ext cx="4058298" cy="261610"/>
              <a:chOff x="6956406" y="4809475"/>
              <a:chExt cx="4058298" cy="261610"/>
            </a:xfrm>
          </p:grpSpPr>
          <p:grpSp>
            <p:nvGrpSpPr>
              <p:cNvPr id="14" name="Gruppierung 13"/>
              <p:cNvGrpSpPr/>
              <p:nvPr/>
            </p:nvGrpSpPr>
            <p:grpSpPr>
              <a:xfrm>
                <a:off x="6956406" y="4837719"/>
                <a:ext cx="3578393" cy="229723"/>
                <a:chOff x="6956406" y="4837719"/>
                <a:chExt cx="3578393" cy="229723"/>
              </a:xfrm>
            </p:grpSpPr>
            <p:sp>
              <p:nvSpPr>
                <p:cNvPr id="86" name="Ecken des Rechtecks auf der gleichen Seite abrunden 85"/>
                <p:cNvSpPr/>
                <p:nvPr/>
              </p:nvSpPr>
              <p:spPr>
                <a:xfrm rot="5400000">
                  <a:off x="8902583" y="3435202"/>
                  <a:ext cx="229699" cy="3034733"/>
                </a:xfrm>
                <a:prstGeom prst="round2SameRect">
                  <a:avLst/>
                </a:prstGeom>
                <a:solidFill>
                  <a:srgbClr val="F7F7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2" name="Rechteck 91"/>
                <p:cNvSpPr/>
                <p:nvPr/>
              </p:nvSpPr>
              <p:spPr>
                <a:xfrm rot="5400000">
                  <a:off x="8267451" y="4070334"/>
                  <a:ext cx="229722" cy="1764492"/>
                </a:xfrm>
                <a:prstGeom prst="rect">
                  <a:avLst/>
                </a:prstGeom>
                <a:solidFill>
                  <a:srgbClr val="1D226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8" name="Rechteck 97"/>
                <p:cNvSpPr/>
                <p:nvPr/>
              </p:nvSpPr>
              <p:spPr>
                <a:xfrm rot="5400000" flipH="1">
                  <a:off x="7095459" y="4698666"/>
                  <a:ext cx="229723" cy="507829"/>
                </a:xfrm>
                <a:prstGeom prst="rect">
                  <a:avLst/>
                </a:prstGeom>
                <a:solidFill>
                  <a:srgbClr val="1D2262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2" name="Textfeld 121"/>
              <p:cNvSpPr txBox="1"/>
              <p:nvPr/>
            </p:nvSpPr>
            <p:spPr>
              <a:xfrm>
                <a:off x="10534800" y="4809475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22" name="Gruppierung 21"/>
            <p:cNvGrpSpPr/>
            <p:nvPr/>
          </p:nvGrpSpPr>
          <p:grpSpPr>
            <a:xfrm>
              <a:off x="7159507" y="5224327"/>
              <a:ext cx="3855197" cy="261610"/>
              <a:chOff x="7159507" y="5224327"/>
              <a:chExt cx="3855197" cy="261610"/>
            </a:xfrm>
          </p:grpSpPr>
          <p:grpSp>
            <p:nvGrpSpPr>
              <p:cNvPr id="17" name="Gruppierung 16"/>
              <p:cNvGrpSpPr/>
              <p:nvPr/>
            </p:nvGrpSpPr>
            <p:grpSpPr>
              <a:xfrm>
                <a:off x="7159507" y="5251237"/>
                <a:ext cx="3375292" cy="229723"/>
                <a:chOff x="7159507" y="5251237"/>
                <a:chExt cx="3375292" cy="229723"/>
              </a:xfrm>
            </p:grpSpPr>
            <p:sp>
              <p:nvSpPr>
                <p:cNvPr id="87" name="Ecken des Rechtecks auf der gleichen Seite abrunden 86"/>
                <p:cNvSpPr/>
                <p:nvPr/>
              </p:nvSpPr>
              <p:spPr>
                <a:xfrm rot="5400000">
                  <a:off x="8902583" y="3848744"/>
                  <a:ext cx="229699" cy="3034733"/>
                </a:xfrm>
                <a:prstGeom prst="round2SameRect">
                  <a:avLst/>
                </a:prstGeom>
                <a:solidFill>
                  <a:srgbClr val="F7F7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3" name="Rechteck 92"/>
                <p:cNvSpPr/>
                <p:nvPr/>
              </p:nvSpPr>
              <p:spPr>
                <a:xfrm rot="5400000">
                  <a:off x="7914606" y="4836698"/>
                  <a:ext cx="229722" cy="1058802"/>
                </a:xfrm>
                <a:prstGeom prst="rect">
                  <a:avLst/>
                </a:prstGeom>
                <a:solidFill>
                  <a:srgbClr val="2F52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9" name="Rechteck 98"/>
                <p:cNvSpPr/>
                <p:nvPr/>
              </p:nvSpPr>
              <p:spPr>
                <a:xfrm rot="5400000" flipH="1">
                  <a:off x="7197009" y="5213735"/>
                  <a:ext cx="229723" cy="304728"/>
                </a:xfrm>
                <a:prstGeom prst="rect">
                  <a:avLst/>
                </a:prstGeom>
                <a:solidFill>
                  <a:srgbClr val="2F52A0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3" name="Textfeld 122"/>
              <p:cNvSpPr txBox="1"/>
              <p:nvPr/>
            </p:nvSpPr>
            <p:spPr>
              <a:xfrm>
                <a:off x="10534800" y="5224327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  <p:grpSp>
          <p:nvGrpSpPr>
            <p:cNvPr id="25" name="Gruppierung 24"/>
            <p:cNvGrpSpPr/>
            <p:nvPr/>
          </p:nvGrpSpPr>
          <p:grpSpPr>
            <a:xfrm>
              <a:off x="6672065" y="5621133"/>
              <a:ext cx="4342639" cy="261610"/>
              <a:chOff x="6672065" y="5621133"/>
              <a:chExt cx="4342639" cy="261610"/>
            </a:xfrm>
          </p:grpSpPr>
          <p:grpSp>
            <p:nvGrpSpPr>
              <p:cNvPr id="18" name="Gruppierung 17"/>
              <p:cNvGrpSpPr/>
              <p:nvPr/>
            </p:nvGrpSpPr>
            <p:grpSpPr>
              <a:xfrm>
                <a:off x="6672065" y="5647547"/>
                <a:ext cx="3862734" cy="229724"/>
                <a:chOff x="6672065" y="5647547"/>
                <a:chExt cx="3862734" cy="229724"/>
              </a:xfrm>
            </p:grpSpPr>
            <p:sp>
              <p:nvSpPr>
                <p:cNvPr id="88" name="Ecken des Rechtecks auf der gleichen Seite abrunden 87"/>
                <p:cNvSpPr/>
                <p:nvPr/>
              </p:nvSpPr>
              <p:spPr>
                <a:xfrm rot="5400000">
                  <a:off x="8902583" y="4245054"/>
                  <a:ext cx="229699" cy="3034733"/>
                </a:xfrm>
                <a:prstGeom prst="round2SameRect">
                  <a:avLst/>
                </a:prstGeom>
                <a:solidFill>
                  <a:srgbClr val="F7F7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4" name="Rechteck 93"/>
                <p:cNvSpPr/>
                <p:nvPr/>
              </p:nvSpPr>
              <p:spPr>
                <a:xfrm rot="5400000">
                  <a:off x="8761434" y="4386181"/>
                  <a:ext cx="229722" cy="2752457"/>
                </a:xfrm>
                <a:prstGeom prst="rect">
                  <a:avLst/>
                </a:prstGeom>
                <a:solidFill>
                  <a:srgbClr val="1D226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0" name="Rechteck 99"/>
                <p:cNvSpPr/>
                <p:nvPr/>
              </p:nvSpPr>
              <p:spPr>
                <a:xfrm rot="5400000" flipH="1">
                  <a:off x="6953288" y="5366324"/>
                  <a:ext cx="229723" cy="792169"/>
                </a:xfrm>
                <a:prstGeom prst="rect">
                  <a:avLst/>
                </a:prstGeom>
                <a:solidFill>
                  <a:srgbClr val="1D2262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4" name="Textfeld 123"/>
              <p:cNvSpPr txBox="1"/>
              <p:nvPr/>
            </p:nvSpPr>
            <p:spPr>
              <a:xfrm>
                <a:off x="10534800" y="562113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</p:grpSp>
      <p:grpSp>
        <p:nvGrpSpPr>
          <p:cNvPr id="132" name="Gruppierung 131"/>
          <p:cNvGrpSpPr/>
          <p:nvPr/>
        </p:nvGrpSpPr>
        <p:grpSpPr>
          <a:xfrm>
            <a:off x="479426" y="1700808"/>
            <a:ext cx="4773186" cy="3501970"/>
            <a:chOff x="479426" y="1700808"/>
            <a:chExt cx="4773186" cy="3501970"/>
          </a:xfrm>
        </p:grpSpPr>
        <p:grpSp>
          <p:nvGrpSpPr>
            <p:cNvPr id="127" name="Gruppierung 126"/>
            <p:cNvGrpSpPr/>
            <p:nvPr/>
          </p:nvGrpSpPr>
          <p:grpSpPr>
            <a:xfrm>
              <a:off x="1316190" y="1700808"/>
              <a:ext cx="507187" cy="3497415"/>
              <a:chOff x="1316190" y="1700808"/>
              <a:chExt cx="507187" cy="3497415"/>
            </a:xfrm>
          </p:grpSpPr>
          <p:sp>
            <p:nvSpPr>
              <p:cNvPr id="102" name="Textfeld 101"/>
              <p:cNvSpPr txBox="1"/>
              <p:nvPr/>
            </p:nvSpPr>
            <p:spPr>
              <a:xfrm>
                <a:off x="1316190" y="493661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34" name="Ecken des Rechtecks auf der gleichen Seite abrunden 33"/>
              <p:cNvSpPr/>
              <p:nvPr/>
            </p:nvSpPr>
            <p:spPr>
              <a:xfrm>
                <a:off x="1343473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9" name="Rechteck 38"/>
              <p:cNvSpPr/>
              <p:nvPr/>
            </p:nvSpPr>
            <p:spPr>
              <a:xfrm>
                <a:off x="1343425" y="2852936"/>
                <a:ext cx="479952" cy="1944489"/>
              </a:xfrm>
              <a:prstGeom prst="rect">
                <a:avLst/>
              </a:prstGeom>
              <a:solidFill>
                <a:srgbClr val="00A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30" name="Gruppierung 129"/>
            <p:cNvGrpSpPr/>
            <p:nvPr/>
          </p:nvGrpSpPr>
          <p:grpSpPr>
            <a:xfrm>
              <a:off x="479426" y="1700808"/>
              <a:ext cx="479952" cy="3501970"/>
              <a:chOff x="479426" y="1700808"/>
              <a:chExt cx="479952" cy="3501970"/>
            </a:xfrm>
          </p:grpSpPr>
          <p:sp>
            <p:nvSpPr>
              <p:cNvPr id="6" name="Textfeld 5"/>
              <p:cNvSpPr txBox="1"/>
              <p:nvPr/>
            </p:nvSpPr>
            <p:spPr>
              <a:xfrm>
                <a:off x="479426" y="4941168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2" name="Ecken des Rechtecks auf der gleichen Seite abrunden 1"/>
              <p:cNvSpPr/>
              <p:nvPr/>
            </p:nvSpPr>
            <p:spPr>
              <a:xfrm>
                <a:off x="479426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Rechteck 39"/>
              <p:cNvSpPr/>
              <p:nvPr/>
            </p:nvSpPr>
            <p:spPr>
              <a:xfrm>
                <a:off x="479426" y="3356992"/>
                <a:ext cx="479952" cy="1440433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26" name="Gruppierung 125"/>
            <p:cNvGrpSpPr/>
            <p:nvPr/>
          </p:nvGrpSpPr>
          <p:grpSpPr>
            <a:xfrm>
              <a:off x="2183431" y="1700808"/>
              <a:ext cx="504042" cy="3497415"/>
              <a:chOff x="2183431" y="1700808"/>
              <a:chExt cx="504042" cy="3497415"/>
            </a:xfrm>
          </p:grpSpPr>
          <p:sp>
            <p:nvSpPr>
              <p:cNvPr id="103" name="Textfeld 102"/>
              <p:cNvSpPr txBox="1"/>
              <p:nvPr/>
            </p:nvSpPr>
            <p:spPr>
              <a:xfrm>
                <a:off x="2183431" y="493661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35" name="Ecken des Rechtecks auf der gleichen Seite abrunden 34"/>
              <p:cNvSpPr/>
              <p:nvPr/>
            </p:nvSpPr>
            <p:spPr>
              <a:xfrm>
                <a:off x="2207569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4" name="Rechteck 43"/>
              <p:cNvSpPr/>
              <p:nvPr/>
            </p:nvSpPr>
            <p:spPr>
              <a:xfrm>
                <a:off x="2207472" y="3141663"/>
                <a:ext cx="479952" cy="1655762"/>
              </a:xfrm>
              <a:prstGeom prst="rect">
                <a:avLst/>
              </a:prstGeom>
              <a:solidFill>
                <a:srgbClr val="EBA80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3" name="Gruppierung 32"/>
            <p:cNvGrpSpPr/>
            <p:nvPr/>
          </p:nvGrpSpPr>
          <p:grpSpPr>
            <a:xfrm>
              <a:off x="3043407" y="1700808"/>
              <a:ext cx="496546" cy="3497415"/>
              <a:chOff x="3043407" y="1700808"/>
              <a:chExt cx="496546" cy="3497415"/>
            </a:xfrm>
          </p:grpSpPr>
          <p:sp>
            <p:nvSpPr>
              <p:cNvPr id="104" name="Textfeld 103"/>
              <p:cNvSpPr txBox="1"/>
              <p:nvPr/>
            </p:nvSpPr>
            <p:spPr>
              <a:xfrm>
                <a:off x="3043407" y="493661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36" name="Ecken des Rechtecks auf der gleichen Seite abrunden 35"/>
              <p:cNvSpPr/>
              <p:nvPr/>
            </p:nvSpPr>
            <p:spPr>
              <a:xfrm>
                <a:off x="3060001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5" name="Rechteck 44"/>
              <p:cNvSpPr/>
              <p:nvPr/>
            </p:nvSpPr>
            <p:spPr>
              <a:xfrm>
                <a:off x="3060001" y="2996952"/>
                <a:ext cx="479952" cy="1800473"/>
              </a:xfrm>
              <a:prstGeom prst="rect">
                <a:avLst/>
              </a:prstGeom>
              <a:solidFill>
                <a:srgbClr val="1D226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2" name="Gruppierung 31"/>
            <p:cNvGrpSpPr/>
            <p:nvPr/>
          </p:nvGrpSpPr>
          <p:grpSpPr>
            <a:xfrm>
              <a:off x="3923953" y="1700808"/>
              <a:ext cx="479952" cy="3497415"/>
              <a:chOff x="3923953" y="1700808"/>
              <a:chExt cx="479952" cy="3497415"/>
            </a:xfrm>
          </p:grpSpPr>
          <p:sp>
            <p:nvSpPr>
              <p:cNvPr id="105" name="Textfeld 104"/>
              <p:cNvSpPr txBox="1"/>
              <p:nvPr/>
            </p:nvSpPr>
            <p:spPr>
              <a:xfrm>
                <a:off x="3924001" y="493661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  <p:sp>
            <p:nvSpPr>
              <p:cNvPr id="37" name="Ecken des Rechtecks auf der gleichen Seite abrunden 36"/>
              <p:cNvSpPr/>
              <p:nvPr/>
            </p:nvSpPr>
            <p:spPr>
              <a:xfrm>
                <a:off x="3924001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6" name="Rechteck 45"/>
              <p:cNvSpPr/>
              <p:nvPr/>
            </p:nvSpPr>
            <p:spPr>
              <a:xfrm>
                <a:off x="3923953" y="3717032"/>
                <a:ext cx="479952" cy="1080393"/>
              </a:xfrm>
              <a:prstGeom prst="rect">
                <a:avLst/>
              </a:prstGeom>
              <a:solidFill>
                <a:srgbClr val="2F52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1" name="Gruppierung 30"/>
            <p:cNvGrpSpPr/>
            <p:nvPr/>
          </p:nvGrpSpPr>
          <p:grpSpPr>
            <a:xfrm>
              <a:off x="4751953" y="1700808"/>
              <a:ext cx="500659" cy="3497415"/>
              <a:chOff x="4751953" y="1700808"/>
              <a:chExt cx="500659" cy="3497415"/>
            </a:xfrm>
          </p:grpSpPr>
          <p:sp>
            <p:nvSpPr>
              <p:cNvPr id="38" name="Ecken des Rechtecks auf der gleichen Seite abrunden 37"/>
              <p:cNvSpPr/>
              <p:nvPr/>
            </p:nvSpPr>
            <p:spPr>
              <a:xfrm>
                <a:off x="4752001" y="1700808"/>
                <a:ext cx="479904" cy="3096617"/>
              </a:xfrm>
              <a:prstGeom prst="round2Same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7" name="Rechteck 46"/>
              <p:cNvSpPr/>
              <p:nvPr/>
            </p:nvSpPr>
            <p:spPr>
              <a:xfrm>
                <a:off x="4751953" y="1988840"/>
                <a:ext cx="479952" cy="2808585"/>
              </a:xfrm>
              <a:prstGeom prst="rect">
                <a:avLst/>
              </a:prstGeom>
              <a:solidFill>
                <a:srgbClr val="1D226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5" name="Textfeld 124"/>
              <p:cNvSpPr txBox="1"/>
              <p:nvPr/>
            </p:nvSpPr>
            <p:spPr>
              <a:xfrm>
                <a:off x="4772708" y="4936613"/>
                <a:ext cx="47990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</p:grpSp>
      <p:sp>
        <p:nvSpPr>
          <p:cNvPr id="10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304720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2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Organigram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ung 8"/>
          <p:cNvGrpSpPr/>
          <p:nvPr/>
        </p:nvGrpSpPr>
        <p:grpSpPr>
          <a:xfrm>
            <a:off x="1313698" y="1909012"/>
            <a:ext cx="9865096" cy="3176172"/>
            <a:chOff x="1313698" y="1408866"/>
            <a:chExt cx="9865096" cy="3176172"/>
          </a:xfrm>
        </p:grpSpPr>
        <p:cxnSp>
          <p:nvCxnSpPr>
            <p:cNvPr id="6" name="Gerade Verbindung 5"/>
            <p:cNvCxnSpPr>
              <a:stCxn id="44" idx="2"/>
              <a:endCxn id="47" idx="0"/>
            </p:cNvCxnSpPr>
            <p:nvPr/>
          </p:nvCxnSpPr>
          <p:spPr>
            <a:xfrm>
              <a:off x="4200899" y="1844824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>
            <a:xfrm>
              <a:off x="6309026" y="1844824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>
            <a:xfrm>
              <a:off x="8328248" y="1844824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>
            <a:xfrm>
              <a:off x="4200899" y="3213100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>
            <a:xfrm>
              <a:off x="6309026" y="3213100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>
            <a:xfrm>
              <a:off x="8328248" y="3213100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/>
          </p:nvCxnSpPr>
          <p:spPr>
            <a:xfrm>
              <a:off x="2229768" y="1844824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/>
          </p:nvCxnSpPr>
          <p:spPr>
            <a:xfrm>
              <a:off x="10289570" y="1844824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rot="5400000">
              <a:off x="2691890" y="1378516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/>
          </p:nvCxnSpPr>
          <p:spPr>
            <a:xfrm rot="5400000">
              <a:off x="9802519" y="1378516"/>
              <a:ext cx="0" cy="932318"/>
            </a:xfrm>
            <a:prstGeom prst="line">
              <a:avLst/>
            </a:prstGeom>
            <a:ln w="12700">
              <a:solidFill>
                <a:srgbClr val="FFBC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Abgerundetes Rechteck 43"/>
            <p:cNvSpPr/>
            <p:nvPr/>
          </p:nvSpPr>
          <p:spPr>
            <a:xfrm>
              <a:off x="3311675" y="1408866"/>
              <a:ext cx="1778448" cy="435958"/>
            </a:xfrm>
            <a:prstGeom prst="roundRect">
              <a:avLst/>
            </a:prstGeom>
            <a:solidFill>
              <a:srgbClr val="2F52A0"/>
            </a:solidFill>
            <a:ln w="41275">
              <a:solidFill>
                <a:srgbClr val="00AA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5" name="Abgerundetes Rechteck 44"/>
            <p:cNvSpPr/>
            <p:nvPr/>
          </p:nvSpPr>
          <p:spPr>
            <a:xfrm>
              <a:off x="5419802" y="1408866"/>
              <a:ext cx="1778448" cy="435958"/>
            </a:xfrm>
            <a:prstGeom prst="roundRect">
              <a:avLst/>
            </a:prstGeom>
            <a:solidFill>
              <a:srgbClr val="2F52A0"/>
            </a:solidFill>
            <a:ln w="41275">
              <a:solidFill>
                <a:srgbClr val="00AA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Abgerundetes Rechteck 45"/>
            <p:cNvSpPr/>
            <p:nvPr/>
          </p:nvSpPr>
          <p:spPr>
            <a:xfrm>
              <a:off x="7440517" y="1408866"/>
              <a:ext cx="1778448" cy="435958"/>
            </a:xfrm>
            <a:prstGeom prst="roundRect">
              <a:avLst/>
            </a:prstGeom>
            <a:solidFill>
              <a:srgbClr val="2F52A0"/>
            </a:solidFill>
            <a:ln w="41275">
              <a:solidFill>
                <a:srgbClr val="00AA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7" name="Abgerundetes Rechteck 46"/>
            <p:cNvSpPr/>
            <p:nvPr/>
          </p:nvSpPr>
          <p:spPr>
            <a:xfrm>
              <a:off x="3311675" y="2777142"/>
              <a:ext cx="1778448" cy="435958"/>
            </a:xfrm>
            <a:prstGeom prst="roundRect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200" b="1" dirty="0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Abgerundetes Rechteck 47"/>
            <p:cNvSpPr/>
            <p:nvPr/>
          </p:nvSpPr>
          <p:spPr>
            <a:xfrm>
              <a:off x="5419802" y="2777142"/>
              <a:ext cx="1778448" cy="435958"/>
            </a:xfrm>
            <a:prstGeom prst="roundRect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2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9" name="Abgerundetes Rechteck 48"/>
            <p:cNvSpPr/>
            <p:nvPr/>
          </p:nvSpPr>
          <p:spPr>
            <a:xfrm>
              <a:off x="7440517" y="2777142"/>
              <a:ext cx="1778448" cy="435958"/>
            </a:xfrm>
            <a:prstGeom prst="roundRect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2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Abgerundetes Rechteck 49"/>
            <p:cNvSpPr/>
            <p:nvPr/>
          </p:nvSpPr>
          <p:spPr>
            <a:xfrm>
              <a:off x="1313698" y="2777142"/>
              <a:ext cx="1778448" cy="435958"/>
            </a:xfrm>
            <a:prstGeom prst="round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2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Abgerundetes Rechteck 50"/>
            <p:cNvSpPr/>
            <p:nvPr/>
          </p:nvSpPr>
          <p:spPr>
            <a:xfrm>
              <a:off x="9400346" y="2777142"/>
              <a:ext cx="1778448" cy="435958"/>
            </a:xfrm>
            <a:prstGeom prst="round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200" b="1"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Abgerundetes Rechteck 51"/>
            <p:cNvSpPr/>
            <p:nvPr/>
          </p:nvSpPr>
          <p:spPr>
            <a:xfrm>
              <a:off x="3311675" y="4149080"/>
              <a:ext cx="1778448" cy="435958"/>
            </a:xfrm>
            <a:prstGeom prst="round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3" name="Abgerundetes Rechteck 52"/>
            <p:cNvSpPr/>
            <p:nvPr/>
          </p:nvSpPr>
          <p:spPr>
            <a:xfrm>
              <a:off x="5419802" y="4149080"/>
              <a:ext cx="1778448" cy="435958"/>
            </a:xfrm>
            <a:prstGeom prst="round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1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4" name="Abgerundetes Rechteck 53"/>
            <p:cNvSpPr/>
            <p:nvPr/>
          </p:nvSpPr>
          <p:spPr>
            <a:xfrm>
              <a:off x="7440517" y="4149080"/>
              <a:ext cx="1778448" cy="435958"/>
            </a:xfrm>
            <a:prstGeom prst="round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05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05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49560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eitstrahl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41" name="Gruppierung 4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42" name="Gerade Verbindung 4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Gerade Verbindung 2"/>
          <p:cNvCxnSpPr/>
          <p:nvPr/>
        </p:nvCxnSpPr>
        <p:spPr>
          <a:xfrm>
            <a:off x="479425" y="3861048"/>
            <a:ext cx="10945813" cy="0"/>
          </a:xfrm>
          <a:prstGeom prst="line">
            <a:avLst/>
          </a:prstGeom>
          <a:ln w="19050">
            <a:solidFill>
              <a:srgbClr val="FFBC04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>
          <a:xfrm>
            <a:off x="2311116" y="3789040"/>
            <a:ext cx="144016" cy="144016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Oval 38"/>
          <p:cNvSpPr/>
          <p:nvPr/>
        </p:nvSpPr>
        <p:spPr>
          <a:xfrm>
            <a:off x="3247220" y="3645024"/>
            <a:ext cx="432048" cy="432048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Oval 39"/>
          <p:cNvSpPr/>
          <p:nvPr/>
        </p:nvSpPr>
        <p:spPr>
          <a:xfrm>
            <a:off x="3967300" y="3789040"/>
            <a:ext cx="144016" cy="144016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Oval 54"/>
          <p:cNvSpPr/>
          <p:nvPr/>
        </p:nvSpPr>
        <p:spPr>
          <a:xfrm>
            <a:off x="4696308" y="3685492"/>
            <a:ext cx="351112" cy="351112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Oval 64"/>
          <p:cNvSpPr/>
          <p:nvPr/>
        </p:nvSpPr>
        <p:spPr>
          <a:xfrm>
            <a:off x="5974596" y="3460540"/>
            <a:ext cx="801016" cy="80101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Oval 65"/>
          <p:cNvSpPr/>
          <p:nvPr/>
        </p:nvSpPr>
        <p:spPr>
          <a:xfrm>
            <a:off x="7392144" y="3645024"/>
            <a:ext cx="432048" cy="432048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Oval 66"/>
          <p:cNvSpPr/>
          <p:nvPr/>
        </p:nvSpPr>
        <p:spPr>
          <a:xfrm>
            <a:off x="8932892" y="3685492"/>
            <a:ext cx="351112" cy="351112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Oval 67"/>
          <p:cNvSpPr/>
          <p:nvPr/>
        </p:nvSpPr>
        <p:spPr>
          <a:xfrm>
            <a:off x="9889131" y="3789040"/>
            <a:ext cx="144016" cy="144016"/>
          </a:xfrm>
          <a:prstGeom prst="ellips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0697" y="3529789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4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eignis 1</a:t>
            </a:r>
            <a:endParaRPr lang="de-DE" altLang="de-DE" sz="14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913276" y="3529789"/>
            <a:ext cx="246695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4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eignis 2</a:t>
            </a:r>
          </a:p>
        </p:txBody>
      </p:sp>
      <p:grpSp>
        <p:nvGrpSpPr>
          <p:cNvPr id="57" name="Gruppierung 56"/>
          <p:cNvGrpSpPr/>
          <p:nvPr/>
        </p:nvGrpSpPr>
        <p:grpSpPr>
          <a:xfrm>
            <a:off x="5619834" y="2067964"/>
            <a:ext cx="1510540" cy="982586"/>
            <a:chOff x="2063750" y="2060848"/>
            <a:chExt cx="3744218" cy="2435564"/>
          </a:xfrm>
          <a:solidFill>
            <a:srgbClr val="E3E8EC"/>
          </a:solidFill>
        </p:grpSpPr>
        <p:sp>
          <p:nvSpPr>
            <p:cNvPr id="59" name="Abgerundetes Rechteck 58"/>
            <p:cNvSpPr/>
            <p:nvPr/>
          </p:nvSpPr>
          <p:spPr>
            <a:xfrm>
              <a:off x="2063750" y="2060848"/>
              <a:ext cx="3744218" cy="201622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de-DE" dirty="0">
                <a:solidFill>
                  <a:srgbClr val="2F52A0"/>
                </a:solidFill>
              </a:endParaRPr>
            </a:p>
          </p:txBody>
        </p:sp>
        <p:sp>
          <p:nvSpPr>
            <p:cNvPr id="60" name="Dreieck 59"/>
            <p:cNvSpPr/>
            <p:nvPr/>
          </p:nvSpPr>
          <p:spPr>
            <a:xfrm rot="10800000">
              <a:off x="3503713" y="4077071"/>
              <a:ext cx="792088" cy="419341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8" name="Rechteck 57"/>
          <p:cNvSpPr/>
          <p:nvPr/>
        </p:nvSpPr>
        <p:spPr>
          <a:xfrm>
            <a:off x="5636865" y="2067964"/>
            <a:ext cx="1493509" cy="813410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/>
            <a:r>
              <a:rPr lang="de-DE" sz="16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cxnSp>
        <p:nvCxnSpPr>
          <p:cNvPr id="62" name="Gerade Verbindung mit Pfeil 61"/>
          <p:cNvCxnSpPr/>
          <p:nvPr/>
        </p:nvCxnSpPr>
        <p:spPr>
          <a:xfrm flipV="1">
            <a:off x="6384032" y="4365105"/>
            <a:ext cx="0" cy="576783"/>
          </a:xfrm>
          <a:prstGeom prst="straightConnector1">
            <a:avLst/>
          </a:prstGeom>
          <a:ln w="19050">
            <a:solidFill>
              <a:srgbClr val="2F52A0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23"/>
          <p:cNvSpPr>
            <a:spLocks noChangeArrowheads="1"/>
          </p:cNvSpPr>
          <p:nvPr/>
        </p:nvSpPr>
        <p:spPr bwMode="auto">
          <a:xfrm>
            <a:off x="6359229" y="5045437"/>
            <a:ext cx="11049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ext zu einem Ereignis</a:t>
            </a:r>
          </a:p>
        </p:txBody>
      </p:sp>
      <p:sp>
        <p:nvSpPr>
          <p:cNvPr id="3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8050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F52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09D4FCC-A112-42A7-B884-218762E4B16D}"/>
              </a:ext>
            </a:extLst>
          </p:cNvPr>
          <p:cNvSpPr/>
          <p:nvPr/>
        </p:nvSpPr>
        <p:spPr>
          <a:xfrm>
            <a:off x="0" y="0"/>
            <a:ext cx="12288688" cy="7101408"/>
          </a:xfrm>
          <a:prstGeom prst="rect">
            <a:avLst/>
          </a:prstGeom>
          <a:solidFill>
            <a:srgbClr val="2F52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2490644"/>
            <a:ext cx="10515600" cy="2147858"/>
          </a:xfrm>
        </p:spPr>
        <p:txBody>
          <a:bodyPr anchor="ctr">
            <a:normAutofit/>
          </a:bodyPr>
          <a:lstStyle/>
          <a:p>
            <a:pPr marL="0" indent="0" algn="ctr">
              <a:lnSpc>
                <a:spcPts val="4540"/>
              </a:lnSpc>
              <a:buNone/>
            </a:pPr>
            <a:r>
              <a:rPr lang="de-DE" sz="3200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ichtige Aussagen und prägnante Sätze können vollflächig gesetzt werden</a:t>
            </a:r>
            <a:endParaRPr lang="de-DE" sz="3200" spc="3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ts val="45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3200" spc="3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147785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yrami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 Ebe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ung 1"/>
          <p:cNvGrpSpPr/>
          <p:nvPr/>
        </p:nvGrpSpPr>
        <p:grpSpPr>
          <a:xfrm>
            <a:off x="1919288" y="1484313"/>
            <a:ext cx="6121399" cy="4201052"/>
            <a:chOff x="2868759" y="1275291"/>
            <a:chExt cx="4219200" cy="4410075"/>
          </a:xfrm>
        </p:grpSpPr>
        <p:sp>
          <p:nvSpPr>
            <p:cNvPr id="34" name="Freeform 2"/>
            <p:cNvSpPr>
              <a:spLocks/>
            </p:cNvSpPr>
            <p:nvPr/>
          </p:nvSpPr>
          <p:spPr bwMode="blackWhite">
            <a:xfrm>
              <a:off x="4275333" y="1275291"/>
              <a:ext cx="1400493" cy="1470025"/>
            </a:xfrm>
            <a:custGeom>
              <a:avLst/>
              <a:gdLst>
                <a:gd name="T0" fmla="*/ 2147483647 w 891"/>
                <a:gd name="T1" fmla="*/ 2147483647 h 796"/>
                <a:gd name="T2" fmla="*/ 2147483647 w 891"/>
                <a:gd name="T3" fmla="*/ 0 h 796"/>
                <a:gd name="T4" fmla="*/ 0 w 891"/>
                <a:gd name="T5" fmla="*/ 2147483647 h 796"/>
                <a:gd name="T6" fmla="*/ 2147483647 w 891"/>
                <a:gd name="T7" fmla="*/ 2147483647 h 7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91"/>
                <a:gd name="T13" fmla="*/ 0 h 796"/>
                <a:gd name="T14" fmla="*/ 891 w 891"/>
                <a:gd name="T15" fmla="*/ 796 h 7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91" h="796">
                  <a:moveTo>
                    <a:pt x="890" y="795"/>
                  </a:moveTo>
                  <a:lnTo>
                    <a:pt x="445" y="0"/>
                  </a:lnTo>
                  <a:lnTo>
                    <a:pt x="0" y="795"/>
                  </a:lnTo>
                  <a:lnTo>
                    <a:pt x="890" y="795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5" name="Freeform 3"/>
            <p:cNvSpPr>
              <a:spLocks/>
            </p:cNvSpPr>
            <p:nvPr/>
          </p:nvSpPr>
          <p:spPr bwMode="blackWhite">
            <a:xfrm>
              <a:off x="3570290" y="2743728"/>
              <a:ext cx="2812828" cy="1470025"/>
            </a:xfrm>
            <a:custGeom>
              <a:avLst/>
              <a:gdLst>
                <a:gd name="T0" fmla="*/ 2147483647 w 1784"/>
                <a:gd name="T1" fmla="*/ 2147483647 h 796"/>
                <a:gd name="T2" fmla="*/ 2147483647 w 1784"/>
                <a:gd name="T3" fmla="*/ 0 h 796"/>
                <a:gd name="T4" fmla="*/ 2147483647 w 1784"/>
                <a:gd name="T5" fmla="*/ 0 h 796"/>
                <a:gd name="T6" fmla="*/ 0 w 1784"/>
                <a:gd name="T7" fmla="*/ 2147483647 h 796"/>
                <a:gd name="T8" fmla="*/ 2147483647 w 1784"/>
                <a:gd name="T9" fmla="*/ 2147483647 h 7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84"/>
                <a:gd name="T16" fmla="*/ 0 h 796"/>
                <a:gd name="T17" fmla="*/ 1784 w 1784"/>
                <a:gd name="T18" fmla="*/ 796 h 7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84" h="796">
                  <a:moveTo>
                    <a:pt x="1783" y="795"/>
                  </a:moveTo>
                  <a:lnTo>
                    <a:pt x="1337" y="0"/>
                  </a:lnTo>
                  <a:lnTo>
                    <a:pt x="447" y="0"/>
                  </a:lnTo>
                  <a:lnTo>
                    <a:pt x="0" y="795"/>
                  </a:lnTo>
                  <a:lnTo>
                    <a:pt x="1783" y="795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blackWhite">
            <a:xfrm>
              <a:off x="2868759" y="4212166"/>
              <a:ext cx="4219200" cy="1473200"/>
            </a:xfrm>
            <a:custGeom>
              <a:avLst/>
              <a:gdLst>
                <a:gd name="T0" fmla="*/ 2147483647 w 2676"/>
                <a:gd name="T1" fmla="*/ 0 h 798"/>
                <a:gd name="T2" fmla="*/ 2147483647 w 2676"/>
                <a:gd name="T3" fmla="*/ 0 h 798"/>
                <a:gd name="T4" fmla="*/ 0 w 2676"/>
                <a:gd name="T5" fmla="*/ 2147483647 h 798"/>
                <a:gd name="T6" fmla="*/ 2147483647 w 2676"/>
                <a:gd name="T7" fmla="*/ 2147483647 h 798"/>
                <a:gd name="T8" fmla="*/ 2147483647 w 2676"/>
                <a:gd name="T9" fmla="*/ 0 h 7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6"/>
                <a:gd name="T16" fmla="*/ 0 h 798"/>
                <a:gd name="T17" fmla="*/ 2676 w 2676"/>
                <a:gd name="T18" fmla="*/ 798 h 79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6" h="798">
                  <a:moveTo>
                    <a:pt x="2229" y="0"/>
                  </a:moveTo>
                  <a:lnTo>
                    <a:pt x="446" y="0"/>
                  </a:lnTo>
                  <a:lnTo>
                    <a:pt x="0" y="797"/>
                  </a:lnTo>
                  <a:lnTo>
                    <a:pt x="2675" y="797"/>
                  </a:lnTo>
                  <a:lnTo>
                    <a:pt x="2229" y="0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5880100" y="1948213"/>
            <a:ext cx="38211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6672263" y="3144838"/>
            <a:ext cx="38211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Zweite Ebene</a:t>
            </a:r>
          </a:p>
        </p:txBody>
      </p:sp>
      <p:sp>
        <p:nvSpPr>
          <p:cNvPr id="53" name="Rectangle 13"/>
          <p:cNvSpPr>
            <a:spLocks noChangeArrowheads="1"/>
          </p:cNvSpPr>
          <p:nvPr/>
        </p:nvSpPr>
        <p:spPr bwMode="auto">
          <a:xfrm>
            <a:off x="7896200" y="4581128"/>
            <a:ext cx="24907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Dritte Ebene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46542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yrami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Ebe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22"/>
          <p:cNvGrpSpPr>
            <a:grpSpLocks/>
          </p:cNvGrpSpPr>
          <p:nvPr/>
        </p:nvGrpSpPr>
        <p:grpSpPr bwMode="auto">
          <a:xfrm>
            <a:off x="1919288" y="1484313"/>
            <a:ext cx="6121400" cy="4176712"/>
            <a:chOff x="504490" y="1614031"/>
            <a:chExt cx="3772608" cy="4388563"/>
          </a:xfrm>
        </p:grpSpPr>
        <p:sp>
          <p:nvSpPr>
            <p:cNvPr id="14" name="Freeform 2"/>
            <p:cNvSpPr>
              <a:spLocks/>
            </p:cNvSpPr>
            <p:nvPr/>
          </p:nvSpPr>
          <p:spPr bwMode="blackWhite">
            <a:xfrm>
              <a:off x="1729089" y="1614031"/>
              <a:ext cx="1326649" cy="1541832"/>
            </a:xfrm>
            <a:custGeom>
              <a:avLst/>
              <a:gdLst>
                <a:gd name="T0" fmla="*/ 0 w 939"/>
                <a:gd name="T1" fmla="*/ 2147483647 h 839"/>
                <a:gd name="T2" fmla="*/ 2147483647 w 939"/>
                <a:gd name="T3" fmla="*/ 2147483647 h 839"/>
                <a:gd name="T4" fmla="*/ 2147483647 w 939"/>
                <a:gd name="T5" fmla="*/ 0 h 839"/>
                <a:gd name="T6" fmla="*/ 0 w 939"/>
                <a:gd name="T7" fmla="*/ 2147483647 h 8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39"/>
                <a:gd name="T13" fmla="*/ 0 h 839"/>
                <a:gd name="T14" fmla="*/ 939 w 939"/>
                <a:gd name="T15" fmla="*/ 839 h 8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39" h="839">
                  <a:moveTo>
                    <a:pt x="0" y="838"/>
                  </a:moveTo>
                  <a:lnTo>
                    <a:pt x="938" y="838"/>
                  </a:lnTo>
                  <a:lnTo>
                    <a:pt x="469" y="0"/>
                  </a:lnTo>
                  <a:lnTo>
                    <a:pt x="0" y="838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>
                  <a:solidFill>
                    <a:schemeClr val="bg1"/>
                  </a:solidFill>
                  <a:latin typeface="Trebuchet MS" panose="020B0603020202020204" pitchFamily="34" charset="0"/>
                  <a:ea typeface="SimSun" panose="02010600030101010101" pitchFamily="2" charset="-122"/>
                </a:rPr>
                <a:t>Text</a:t>
              </a:r>
            </a:p>
          </p:txBody>
        </p:sp>
        <p:sp>
          <p:nvSpPr>
            <p:cNvPr id="17" name="Freeform 3"/>
            <p:cNvSpPr>
              <a:spLocks/>
            </p:cNvSpPr>
            <p:nvPr/>
          </p:nvSpPr>
          <p:spPr bwMode="blackWhite">
            <a:xfrm>
              <a:off x="1311170" y="3154095"/>
              <a:ext cx="2164107" cy="979559"/>
            </a:xfrm>
            <a:custGeom>
              <a:avLst/>
              <a:gdLst>
                <a:gd name="T0" fmla="*/ 0 w 1536"/>
                <a:gd name="T1" fmla="*/ 2147483647 h 533"/>
                <a:gd name="T2" fmla="*/ 2147483647 w 1536"/>
                <a:gd name="T3" fmla="*/ 2147483647 h 533"/>
                <a:gd name="T4" fmla="*/ 2147483647 w 1536"/>
                <a:gd name="T5" fmla="*/ 0 h 533"/>
                <a:gd name="T6" fmla="*/ 2147483647 w 1536"/>
                <a:gd name="T7" fmla="*/ 0 h 533"/>
                <a:gd name="T8" fmla="*/ 0 w 1536"/>
                <a:gd name="T9" fmla="*/ 2147483647 h 5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36"/>
                <a:gd name="T16" fmla="*/ 0 h 533"/>
                <a:gd name="T17" fmla="*/ 1536 w 1536"/>
                <a:gd name="T18" fmla="*/ 533 h 5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36" h="533">
                  <a:moveTo>
                    <a:pt x="0" y="532"/>
                  </a:moveTo>
                  <a:lnTo>
                    <a:pt x="1535" y="532"/>
                  </a:lnTo>
                  <a:lnTo>
                    <a:pt x="1237" y="0"/>
                  </a:lnTo>
                  <a:lnTo>
                    <a:pt x="299" y="0"/>
                  </a:lnTo>
                  <a:lnTo>
                    <a:pt x="0" y="532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>
                  <a:solidFill>
                    <a:schemeClr val="bg1"/>
                  </a:solidFill>
                  <a:latin typeface="Trebuchet MS" panose="020B0603020202020204" pitchFamily="34" charset="0"/>
                  <a:ea typeface="SimSun" panose="02010600030101010101" pitchFamily="2" charset="-122"/>
                </a:rPr>
                <a:t>Text</a:t>
              </a:r>
            </a:p>
          </p:txBody>
        </p:sp>
        <p:sp>
          <p:nvSpPr>
            <p:cNvPr id="18" name="Freeform 4"/>
            <p:cNvSpPr>
              <a:spLocks/>
            </p:cNvSpPr>
            <p:nvPr/>
          </p:nvSpPr>
          <p:spPr bwMode="blackWhite">
            <a:xfrm>
              <a:off x="886772" y="4131885"/>
              <a:ext cx="3009664" cy="983094"/>
            </a:xfrm>
            <a:custGeom>
              <a:avLst/>
              <a:gdLst>
                <a:gd name="T0" fmla="*/ 2147483647 w 2134"/>
                <a:gd name="T1" fmla="*/ 0 h 535"/>
                <a:gd name="T2" fmla="*/ 0 w 2134"/>
                <a:gd name="T3" fmla="*/ 2147483647 h 535"/>
                <a:gd name="T4" fmla="*/ 2147483647 w 2134"/>
                <a:gd name="T5" fmla="*/ 2147483647 h 535"/>
                <a:gd name="T6" fmla="*/ 2147483647 w 2134"/>
                <a:gd name="T7" fmla="*/ 0 h 535"/>
                <a:gd name="T8" fmla="*/ 2147483647 w 2134"/>
                <a:gd name="T9" fmla="*/ 0 h 5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34"/>
                <a:gd name="T16" fmla="*/ 0 h 535"/>
                <a:gd name="T17" fmla="*/ 2134 w 2134"/>
                <a:gd name="T18" fmla="*/ 535 h 5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34" h="535">
                  <a:moveTo>
                    <a:pt x="299" y="0"/>
                  </a:moveTo>
                  <a:lnTo>
                    <a:pt x="0" y="534"/>
                  </a:lnTo>
                  <a:lnTo>
                    <a:pt x="2133" y="534"/>
                  </a:lnTo>
                  <a:lnTo>
                    <a:pt x="1834" y="0"/>
                  </a:lnTo>
                  <a:lnTo>
                    <a:pt x="299" y="0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>
                  <a:solidFill>
                    <a:schemeClr val="bg1"/>
                  </a:solidFill>
                  <a:latin typeface="Trebuchet MS" panose="020B0603020202020204" pitchFamily="34" charset="0"/>
                  <a:ea typeface="SimSun" panose="02010600030101010101" pitchFamily="2" charset="-122"/>
                </a:rPr>
                <a:t>Text</a:t>
              </a: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blackWhite">
            <a:xfrm>
              <a:off x="504490" y="5113211"/>
              <a:ext cx="3772608" cy="889383"/>
            </a:xfrm>
            <a:custGeom>
              <a:avLst/>
              <a:gdLst>
                <a:gd name="T0" fmla="*/ 2147483647 w 2676"/>
                <a:gd name="T1" fmla="*/ 0 h 484"/>
                <a:gd name="T2" fmla="*/ 0 w 2676"/>
                <a:gd name="T3" fmla="*/ 2147483647 h 484"/>
                <a:gd name="T4" fmla="*/ 2147483647 w 2676"/>
                <a:gd name="T5" fmla="*/ 2147483647 h 484"/>
                <a:gd name="T6" fmla="*/ 2147483647 w 2676"/>
                <a:gd name="T7" fmla="*/ 0 h 484"/>
                <a:gd name="T8" fmla="*/ 2147483647 w 2676"/>
                <a:gd name="T9" fmla="*/ 0 h 4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6"/>
                <a:gd name="T16" fmla="*/ 0 h 484"/>
                <a:gd name="T17" fmla="*/ 2676 w 2676"/>
                <a:gd name="T18" fmla="*/ 484 h 4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6" h="484">
                  <a:moveTo>
                    <a:pt x="271" y="0"/>
                  </a:moveTo>
                  <a:lnTo>
                    <a:pt x="0" y="483"/>
                  </a:lnTo>
                  <a:lnTo>
                    <a:pt x="2675" y="483"/>
                  </a:lnTo>
                  <a:lnTo>
                    <a:pt x="2404" y="0"/>
                  </a:lnTo>
                  <a:lnTo>
                    <a:pt x="271" y="0"/>
                  </a:lnTo>
                </a:path>
              </a:pathLst>
            </a:custGeom>
            <a:solidFill>
              <a:srgbClr val="2F52A0"/>
            </a:solidFill>
            <a:ln w="6350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400" b="1">
                  <a:solidFill>
                    <a:schemeClr val="bg1"/>
                  </a:solidFill>
                  <a:latin typeface="Trebuchet MS" panose="020B0603020202020204" pitchFamily="34" charset="0"/>
                  <a:ea typeface="SimSun" panose="02010600030101010101" pitchFamily="2" charset="-122"/>
                </a:rPr>
                <a:t>Text</a:t>
              </a:r>
            </a:p>
          </p:txBody>
        </p:sp>
      </p:grp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5879976" y="1944688"/>
            <a:ext cx="38195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6672064" y="3070671"/>
            <a:ext cx="3821113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Zweite Ebene</a:t>
            </a:r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auto">
          <a:xfrm>
            <a:off x="7392144" y="4077072"/>
            <a:ext cx="3819525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Dritte Ebene</a:t>
            </a:r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8060930" y="5013176"/>
            <a:ext cx="38211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Vierte Ebene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39951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yrami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9 Ebe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2"/>
          <p:cNvGrpSpPr/>
          <p:nvPr/>
        </p:nvGrpSpPr>
        <p:grpSpPr>
          <a:xfrm>
            <a:off x="1905530" y="1484784"/>
            <a:ext cx="6136722" cy="4176464"/>
            <a:chOff x="192088" y="1564188"/>
            <a:chExt cx="3698875" cy="4436562"/>
          </a:xfrm>
        </p:grpSpPr>
        <p:sp>
          <p:nvSpPr>
            <p:cNvPr id="17" name="Freeform 2"/>
            <p:cNvSpPr>
              <a:spLocks/>
            </p:cNvSpPr>
            <p:nvPr/>
          </p:nvSpPr>
          <p:spPr bwMode="blackWhite">
            <a:xfrm>
              <a:off x="192088" y="5564188"/>
              <a:ext cx="3698875" cy="436562"/>
            </a:xfrm>
            <a:custGeom>
              <a:avLst/>
              <a:gdLst>
                <a:gd name="T0" fmla="*/ 2147483647 w 2676"/>
                <a:gd name="T1" fmla="*/ 0 h 235"/>
                <a:gd name="T2" fmla="*/ 0 w 2676"/>
                <a:gd name="T3" fmla="*/ 2147483647 h 235"/>
                <a:gd name="T4" fmla="*/ 2147483647 w 2676"/>
                <a:gd name="T5" fmla="*/ 2147483647 h 235"/>
                <a:gd name="T6" fmla="*/ 2147483647 w 2676"/>
                <a:gd name="T7" fmla="*/ 0 h 235"/>
                <a:gd name="T8" fmla="*/ 2147483647 w 2676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6"/>
                <a:gd name="T16" fmla="*/ 0 h 235"/>
                <a:gd name="T17" fmla="*/ 2676 w 2676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6" h="235">
                  <a:moveTo>
                    <a:pt x="131" y="0"/>
                  </a:moveTo>
                  <a:lnTo>
                    <a:pt x="0" y="234"/>
                  </a:lnTo>
                  <a:lnTo>
                    <a:pt x="2675" y="234"/>
                  </a:lnTo>
                  <a:lnTo>
                    <a:pt x="2544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18" name="Freeform 3"/>
            <p:cNvSpPr>
              <a:spLocks/>
            </p:cNvSpPr>
            <p:nvPr/>
          </p:nvSpPr>
          <p:spPr bwMode="blackWhite">
            <a:xfrm>
              <a:off x="374650" y="5129213"/>
              <a:ext cx="3335338" cy="436562"/>
            </a:xfrm>
            <a:custGeom>
              <a:avLst/>
              <a:gdLst>
                <a:gd name="T0" fmla="*/ 2147483647 w 2414"/>
                <a:gd name="T1" fmla="*/ 0 h 235"/>
                <a:gd name="T2" fmla="*/ 0 w 2414"/>
                <a:gd name="T3" fmla="*/ 2147483647 h 235"/>
                <a:gd name="T4" fmla="*/ 2147483647 w 2414"/>
                <a:gd name="T5" fmla="*/ 2147483647 h 235"/>
                <a:gd name="T6" fmla="*/ 2147483647 w 2414"/>
                <a:gd name="T7" fmla="*/ 0 h 235"/>
                <a:gd name="T8" fmla="*/ 2147483647 w 2414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14"/>
                <a:gd name="T16" fmla="*/ 0 h 235"/>
                <a:gd name="T17" fmla="*/ 2414 w 2414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14" h="235">
                  <a:moveTo>
                    <a:pt x="131" y="0"/>
                  </a:moveTo>
                  <a:lnTo>
                    <a:pt x="0" y="234"/>
                  </a:lnTo>
                  <a:lnTo>
                    <a:pt x="2413" y="234"/>
                  </a:lnTo>
                  <a:lnTo>
                    <a:pt x="2282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19" name="Freeform 4"/>
            <p:cNvSpPr>
              <a:spLocks/>
            </p:cNvSpPr>
            <p:nvPr/>
          </p:nvSpPr>
          <p:spPr bwMode="blackWhite">
            <a:xfrm>
              <a:off x="554038" y="4695825"/>
              <a:ext cx="2973387" cy="436563"/>
            </a:xfrm>
            <a:custGeom>
              <a:avLst/>
              <a:gdLst>
                <a:gd name="T0" fmla="*/ 2147483647 w 2152"/>
                <a:gd name="T1" fmla="*/ 0 h 234"/>
                <a:gd name="T2" fmla="*/ 0 w 2152"/>
                <a:gd name="T3" fmla="*/ 2147483647 h 234"/>
                <a:gd name="T4" fmla="*/ 2147483647 w 2152"/>
                <a:gd name="T5" fmla="*/ 2147483647 h 234"/>
                <a:gd name="T6" fmla="*/ 2147483647 w 2152"/>
                <a:gd name="T7" fmla="*/ 0 h 234"/>
                <a:gd name="T8" fmla="*/ 2147483647 w 2152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52"/>
                <a:gd name="T16" fmla="*/ 0 h 234"/>
                <a:gd name="T17" fmla="*/ 2152 w 2152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52" h="234">
                  <a:moveTo>
                    <a:pt x="131" y="0"/>
                  </a:moveTo>
                  <a:lnTo>
                    <a:pt x="0" y="233"/>
                  </a:lnTo>
                  <a:lnTo>
                    <a:pt x="2151" y="233"/>
                  </a:lnTo>
                  <a:lnTo>
                    <a:pt x="2020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0" name="Freeform 5"/>
            <p:cNvSpPr>
              <a:spLocks/>
            </p:cNvSpPr>
            <p:nvPr/>
          </p:nvSpPr>
          <p:spPr bwMode="blackWhite">
            <a:xfrm>
              <a:off x="735013" y="4262438"/>
              <a:ext cx="2613025" cy="436562"/>
            </a:xfrm>
            <a:custGeom>
              <a:avLst/>
              <a:gdLst>
                <a:gd name="T0" fmla="*/ 2147483647 w 1890"/>
                <a:gd name="T1" fmla="*/ 0 h 234"/>
                <a:gd name="T2" fmla="*/ 0 w 1890"/>
                <a:gd name="T3" fmla="*/ 2147483647 h 234"/>
                <a:gd name="T4" fmla="*/ 2147483647 w 1890"/>
                <a:gd name="T5" fmla="*/ 2147483647 h 234"/>
                <a:gd name="T6" fmla="*/ 2147483647 w 1890"/>
                <a:gd name="T7" fmla="*/ 0 h 234"/>
                <a:gd name="T8" fmla="*/ 2147483647 w 1890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0"/>
                <a:gd name="T16" fmla="*/ 0 h 234"/>
                <a:gd name="T17" fmla="*/ 1890 w 1890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0" h="234">
                  <a:moveTo>
                    <a:pt x="131" y="0"/>
                  </a:moveTo>
                  <a:lnTo>
                    <a:pt x="0" y="233"/>
                  </a:lnTo>
                  <a:lnTo>
                    <a:pt x="1889" y="233"/>
                  </a:lnTo>
                  <a:lnTo>
                    <a:pt x="1758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blackWhite">
            <a:xfrm>
              <a:off x="915988" y="3829050"/>
              <a:ext cx="2252662" cy="434975"/>
            </a:xfrm>
            <a:custGeom>
              <a:avLst/>
              <a:gdLst>
                <a:gd name="T0" fmla="*/ 2147483647 w 1628"/>
                <a:gd name="T1" fmla="*/ 0 h 235"/>
                <a:gd name="T2" fmla="*/ 0 w 1628"/>
                <a:gd name="T3" fmla="*/ 2147483647 h 235"/>
                <a:gd name="T4" fmla="*/ 2147483647 w 1628"/>
                <a:gd name="T5" fmla="*/ 2147483647 h 235"/>
                <a:gd name="T6" fmla="*/ 2147483647 w 1628"/>
                <a:gd name="T7" fmla="*/ 0 h 235"/>
                <a:gd name="T8" fmla="*/ 2147483647 w 1628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28"/>
                <a:gd name="T16" fmla="*/ 0 h 235"/>
                <a:gd name="T17" fmla="*/ 1628 w 1628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28" h="235">
                  <a:moveTo>
                    <a:pt x="131" y="0"/>
                  </a:moveTo>
                  <a:lnTo>
                    <a:pt x="0" y="234"/>
                  </a:lnTo>
                  <a:lnTo>
                    <a:pt x="1627" y="234"/>
                  </a:lnTo>
                  <a:lnTo>
                    <a:pt x="1497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blackWhite">
            <a:xfrm>
              <a:off x="1096963" y="3394075"/>
              <a:ext cx="1892300" cy="436563"/>
            </a:xfrm>
            <a:custGeom>
              <a:avLst/>
              <a:gdLst>
                <a:gd name="T0" fmla="*/ 2147483647 w 1367"/>
                <a:gd name="T1" fmla="*/ 0 h 235"/>
                <a:gd name="T2" fmla="*/ 0 w 1367"/>
                <a:gd name="T3" fmla="*/ 2147483647 h 235"/>
                <a:gd name="T4" fmla="*/ 2147483647 w 1367"/>
                <a:gd name="T5" fmla="*/ 2147483647 h 235"/>
                <a:gd name="T6" fmla="*/ 2147483647 w 1367"/>
                <a:gd name="T7" fmla="*/ 0 h 235"/>
                <a:gd name="T8" fmla="*/ 2147483647 w 1367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7"/>
                <a:gd name="T16" fmla="*/ 0 h 235"/>
                <a:gd name="T17" fmla="*/ 1367 w 1367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7" h="235">
                  <a:moveTo>
                    <a:pt x="130" y="0"/>
                  </a:moveTo>
                  <a:lnTo>
                    <a:pt x="0" y="234"/>
                  </a:lnTo>
                  <a:lnTo>
                    <a:pt x="1366" y="234"/>
                  </a:lnTo>
                  <a:lnTo>
                    <a:pt x="1235" y="0"/>
                  </a:lnTo>
                  <a:lnTo>
                    <a:pt x="130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2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blackWhite">
            <a:xfrm>
              <a:off x="1639888" y="1564188"/>
              <a:ext cx="804862" cy="966787"/>
            </a:xfrm>
            <a:custGeom>
              <a:avLst/>
              <a:gdLst>
                <a:gd name="T0" fmla="*/ 0 w 582"/>
                <a:gd name="T1" fmla="*/ 2147483647 h 520"/>
                <a:gd name="T2" fmla="*/ 2147483647 w 582"/>
                <a:gd name="T3" fmla="*/ 2147483647 h 520"/>
                <a:gd name="T4" fmla="*/ 2147483647 w 582"/>
                <a:gd name="T5" fmla="*/ 0 h 520"/>
                <a:gd name="T6" fmla="*/ 0 w 582"/>
                <a:gd name="T7" fmla="*/ 2147483647 h 5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2"/>
                <a:gd name="T13" fmla="*/ 0 h 520"/>
                <a:gd name="T14" fmla="*/ 582 w 582"/>
                <a:gd name="T15" fmla="*/ 520 h 5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2" h="520">
                  <a:moveTo>
                    <a:pt x="0" y="519"/>
                  </a:moveTo>
                  <a:lnTo>
                    <a:pt x="581" y="519"/>
                  </a:lnTo>
                  <a:lnTo>
                    <a:pt x="291" y="0"/>
                  </a:lnTo>
                  <a:lnTo>
                    <a:pt x="0" y="519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de-DE" altLang="zh-CN" sz="11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blackWhite">
            <a:xfrm>
              <a:off x="1460500" y="2528888"/>
              <a:ext cx="1163638" cy="434975"/>
            </a:xfrm>
            <a:custGeom>
              <a:avLst/>
              <a:gdLst>
                <a:gd name="T0" fmla="*/ 0 w 843"/>
                <a:gd name="T1" fmla="*/ 2147483647 h 235"/>
                <a:gd name="T2" fmla="*/ 2147483647 w 843"/>
                <a:gd name="T3" fmla="*/ 2147483647 h 235"/>
                <a:gd name="T4" fmla="*/ 2147483647 w 843"/>
                <a:gd name="T5" fmla="*/ 0 h 235"/>
                <a:gd name="T6" fmla="*/ 2147483647 w 843"/>
                <a:gd name="T7" fmla="*/ 0 h 235"/>
                <a:gd name="T8" fmla="*/ 0 w 843"/>
                <a:gd name="T9" fmla="*/ 2147483647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43"/>
                <a:gd name="T16" fmla="*/ 0 h 235"/>
                <a:gd name="T17" fmla="*/ 843 w 843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43" h="235">
                  <a:moveTo>
                    <a:pt x="0" y="234"/>
                  </a:moveTo>
                  <a:lnTo>
                    <a:pt x="842" y="234"/>
                  </a:lnTo>
                  <a:lnTo>
                    <a:pt x="711" y="0"/>
                  </a:lnTo>
                  <a:lnTo>
                    <a:pt x="130" y="0"/>
                  </a:lnTo>
                  <a:lnTo>
                    <a:pt x="0" y="234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05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blackWhite">
            <a:xfrm>
              <a:off x="1277938" y="2962275"/>
              <a:ext cx="1527175" cy="433388"/>
            </a:xfrm>
            <a:custGeom>
              <a:avLst/>
              <a:gdLst>
                <a:gd name="T0" fmla="*/ 2147483647 w 1106"/>
                <a:gd name="T1" fmla="*/ 0 h 233"/>
                <a:gd name="T2" fmla="*/ 0 w 1106"/>
                <a:gd name="T3" fmla="*/ 2147483647 h 233"/>
                <a:gd name="T4" fmla="*/ 2147483647 w 1106"/>
                <a:gd name="T5" fmla="*/ 2147483647 h 233"/>
                <a:gd name="T6" fmla="*/ 2147483647 w 1106"/>
                <a:gd name="T7" fmla="*/ 0 h 233"/>
                <a:gd name="T8" fmla="*/ 2147483647 w 1106"/>
                <a:gd name="T9" fmla="*/ 0 h 2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06"/>
                <a:gd name="T16" fmla="*/ 0 h 233"/>
                <a:gd name="T17" fmla="*/ 1106 w 1106"/>
                <a:gd name="T18" fmla="*/ 233 h 2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06" h="233">
                  <a:moveTo>
                    <a:pt x="132" y="0"/>
                  </a:moveTo>
                  <a:lnTo>
                    <a:pt x="0" y="232"/>
                  </a:lnTo>
                  <a:lnTo>
                    <a:pt x="1105" y="232"/>
                  </a:lnTo>
                  <a:lnTo>
                    <a:pt x="974" y="0"/>
                  </a:lnTo>
                  <a:lnTo>
                    <a:pt x="132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05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8" name="Rectangle 23"/>
          <p:cNvSpPr>
            <a:spLocks noChangeArrowheads="1"/>
          </p:cNvSpPr>
          <p:nvPr/>
        </p:nvSpPr>
        <p:spPr bwMode="auto">
          <a:xfrm>
            <a:off x="5807968" y="1876182"/>
            <a:ext cx="59294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9" name="Rectangle 24"/>
          <p:cNvSpPr>
            <a:spLocks noChangeArrowheads="1"/>
          </p:cNvSpPr>
          <p:nvPr/>
        </p:nvSpPr>
        <p:spPr bwMode="auto">
          <a:xfrm>
            <a:off x="6140897" y="2348880"/>
            <a:ext cx="593176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Zweite Ebene</a:t>
            </a:r>
          </a:p>
        </p:txBody>
      </p:sp>
      <p:sp>
        <p:nvSpPr>
          <p:cNvPr id="30" name="Rectangle 25"/>
          <p:cNvSpPr>
            <a:spLocks noChangeArrowheads="1"/>
          </p:cNvSpPr>
          <p:nvPr/>
        </p:nvSpPr>
        <p:spPr bwMode="auto">
          <a:xfrm>
            <a:off x="6428927" y="2812286"/>
            <a:ext cx="5931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Dritte Ebene</a:t>
            </a:r>
          </a:p>
        </p:txBody>
      </p:sp>
      <p:sp>
        <p:nvSpPr>
          <p:cNvPr id="34" name="Rectangle 26"/>
          <p:cNvSpPr>
            <a:spLocks noChangeArrowheads="1"/>
          </p:cNvSpPr>
          <p:nvPr/>
        </p:nvSpPr>
        <p:spPr bwMode="auto">
          <a:xfrm>
            <a:off x="6716961" y="3244334"/>
            <a:ext cx="593176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Vierte Ebene</a:t>
            </a:r>
          </a:p>
        </p:txBody>
      </p:sp>
      <p:sp>
        <p:nvSpPr>
          <p:cNvPr id="35" name="Rectangle 27"/>
          <p:cNvSpPr>
            <a:spLocks noChangeArrowheads="1"/>
          </p:cNvSpPr>
          <p:nvPr/>
        </p:nvSpPr>
        <p:spPr bwMode="auto">
          <a:xfrm>
            <a:off x="6960096" y="3645024"/>
            <a:ext cx="5931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Fünfte Ebene</a:t>
            </a:r>
          </a:p>
        </p:txBody>
      </p:sp>
      <p:sp>
        <p:nvSpPr>
          <p:cNvPr id="36" name="Rectangle 28"/>
          <p:cNvSpPr>
            <a:spLocks noChangeArrowheads="1"/>
          </p:cNvSpPr>
          <p:nvPr/>
        </p:nvSpPr>
        <p:spPr bwMode="auto">
          <a:xfrm>
            <a:off x="7223325" y="4036422"/>
            <a:ext cx="59294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Sechste Ebene</a:t>
            </a:r>
          </a:p>
        </p:txBody>
      </p:sp>
      <p:sp>
        <p:nvSpPr>
          <p:cNvPr id="37" name="Rectangle 29"/>
          <p:cNvSpPr>
            <a:spLocks noChangeArrowheads="1"/>
          </p:cNvSpPr>
          <p:nvPr/>
        </p:nvSpPr>
        <p:spPr bwMode="auto">
          <a:xfrm>
            <a:off x="7513667" y="4468470"/>
            <a:ext cx="59271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Siebte Ebene</a:t>
            </a:r>
          </a:p>
        </p:txBody>
      </p:sp>
      <p:sp>
        <p:nvSpPr>
          <p:cNvPr id="38" name="Rectangle 30"/>
          <p:cNvSpPr>
            <a:spLocks noChangeArrowheads="1"/>
          </p:cNvSpPr>
          <p:nvPr/>
        </p:nvSpPr>
        <p:spPr bwMode="auto">
          <a:xfrm>
            <a:off x="7801697" y="4900518"/>
            <a:ext cx="592715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Achte Ebene</a:t>
            </a:r>
          </a:p>
        </p:txBody>
      </p:sp>
      <p:sp>
        <p:nvSpPr>
          <p:cNvPr id="40" name="Rectangle 31"/>
          <p:cNvSpPr>
            <a:spLocks noChangeArrowheads="1"/>
          </p:cNvSpPr>
          <p:nvPr/>
        </p:nvSpPr>
        <p:spPr bwMode="auto">
          <a:xfrm>
            <a:off x="8089731" y="5260558"/>
            <a:ext cx="59271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Neunte Ebene</a:t>
            </a: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20082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yrami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Hervorheben von Ebe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2"/>
          <p:cNvGrpSpPr/>
          <p:nvPr/>
        </p:nvGrpSpPr>
        <p:grpSpPr>
          <a:xfrm>
            <a:off x="1905530" y="1484784"/>
            <a:ext cx="6136722" cy="4176464"/>
            <a:chOff x="192088" y="1564188"/>
            <a:chExt cx="3698875" cy="4436562"/>
          </a:xfrm>
        </p:grpSpPr>
        <p:sp>
          <p:nvSpPr>
            <p:cNvPr id="17" name="Freeform 2"/>
            <p:cNvSpPr>
              <a:spLocks/>
            </p:cNvSpPr>
            <p:nvPr/>
          </p:nvSpPr>
          <p:spPr bwMode="blackWhite">
            <a:xfrm>
              <a:off x="192088" y="5564188"/>
              <a:ext cx="3698875" cy="436562"/>
            </a:xfrm>
            <a:custGeom>
              <a:avLst/>
              <a:gdLst>
                <a:gd name="T0" fmla="*/ 2147483647 w 2676"/>
                <a:gd name="T1" fmla="*/ 0 h 235"/>
                <a:gd name="T2" fmla="*/ 0 w 2676"/>
                <a:gd name="T3" fmla="*/ 2147483647 h 235"/>
                <a:gd name="T4" fmla="*/ 2147483647 w 2676"/>
                <a:gd name="T5" fmla="*/ 2147483647 h 235"/>
                <a:gd name="T6" fmla="*/ 2147483647 w 2676"/>
                <a:gd name="T7" fmla="*/ 0 h 235"/>
                <a:gd name="T8" fmla="*/ 2147483647 w 2676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6"/>
                <a:gd name="T16" fmla="*/ 0 h 235"/>
                <a:gd name="T17" fmla="*/ 2676 w 2676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6" h="235">
                  <a:moveTo>
                    <a:pt x="131" y="0"/>
                  </a:moveTo>
                  <a:lnTo>
                    <a:pt x="0" y="234"/>
                  </a:lnTo>
                  <a:lnTo>
                    <a:pt x="2675" y="234"/>
                  </a:lnTo>
                  <a:lnTo>
                    <a:pt x="2544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18" name="Freeform 3"/>
            <p:cNvSpPr>
              <a:spLocks/>
            </p:cNvSpPr>
            <p:nvPr/>
          </p:nvSpPr>
          <p:spPr bwMode="blackWhite">
            <a:xfrm>
              <a:off x="374650" y="5129213"/>
              <a:ext cx="3335338" cy="436562"/>
            </a:xfrm>
            <a:custGeom>
              <a:avLst/>
              <a:gdLst>
                <a:gd name="T0" fmla="*/ 2147483647 w 2414"/>
                <a:gd name="T1" fmla="*/ 0 h 235"/>
                <a:gd name="T2" fmla="*/ 0 w 2414"/>
                <a:gd name="T3" fmla="*/ 2147483647 h 235"/>
                <a:gd name="T4" fmla="*/ 2147483647 w 2414"/>
                <a:gd name="T5" fmla="*/ 2147483647 h 235"/>
                <a:gd name="T6" fmla="*/ 2147483647 w 2414"/>
                <a:gd name="T7" fmla="*/ 0 h 235"/>
                <a:gd name="T8" fmla="*/ 2147483647 w 2414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14"/>
                <a:gd name="T16" fmla="*/ 0 h 235"/>
                <a:gd name="T17" fmla="*/ 2414 w 2414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14" h="235">
                  <a:moveTo>
                    <a:pt x="131" y="0"/>
                  </a:moveTo>
                  <a:lnTo>
                    <a:pt x="0" y="234"/>
                  </a:lnTo>
                  <a:lnTo>
                    <a:pt x="2413" y="234"/>
                  </a:lnTo>
                  <a:lnTo>
                    <a:pt x="2282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19" name="Freeform 4"/>
            <p:cNvSpPr>
              <a:spLocks/>
            </p:cNvSpPr>
            <p:nvPr/>
          </p:nvSpPr>
          <p:spPr bwMode="blackWhite">
            <a:xfrm>
              <a:off x="554038" y="4695825"/>
              <a:ext cx="2973387" cy="436563"/>
            </a:xfrm>
            <a:custGeom>
              <a:avLst/>
              <a:gdLst>
                <a:gd name="T0" fmla="*/ 2147483647 w 2152"/>
                <a:gd name="T1" fmla="*/ 0 h 234"/>
                <a:gd name="T2" fmla="*/ 0 w 2152"/>
                <a:gd name="T3" fmla="*/ 2147483647 h 234"/>
                <a:gd name="T4" fmla="*/ 2147483647 w 2152"/>
                <a:gd name="T5" fmla="*/ 2147483647 h 234"/>
                <a:gd name="T6" fmla="*/ 2147483647 w 2152"/>
                <a:gd name="T7" fmla="*/ 0 h 234"/>
                <a:gd name="T8" fmla="*/ 2147483647 w 2152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52"/>
                <a:gd name="T16" fmla="*/ 0 h 234"/>
                <a:gd name="T17" fmla="*/ 2152 w 2152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52" h="234">
                  <a:moveTo>
                    <a:pt x="131" y="0"/>
                  </a:moveTo>
                  <a:lnTo>
                    <a:pt x="0" y="233"/>
                  </a:lnTo>
                  <a:lnTo>
                    <a:pt x="2151" y="233"/>
                  </a:lnTo>
                  <a:lnTo>
                    <a:pt x="2020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0" name="Freeform 5"/>
            <p:cNvSpPr>
              <a:spLocks/>
            </p:cNvSpPr>
            <p:nvPr/>
          </p:nvSpPr>
          <p:spPr bwMode="blackWhite">
            <a:xfrm>
              <a:off x="735013" y="4262438"/>
              <a:ext cx="2613025" cy="436562"/>
            </a:xfrm>
            <a:custGeom>
              <a:avLst/>
              <a:gdLst>
                <a:gd name="T0" fmla="*/ 2147483647 w 1890"/>
                <a:gd name="T1" fmla="*/ 0 h 234"/>
                <a:gd name="T2" fmla="*/ 0 w 1890"/>
                <a:gd name="T3" fmla="*/ 2147483647 h 234"/>
                <a:gd name="T4" fmla="*/ 2147483647 w 1890"/>
                <a:gd name="T5" fmla="*/ 2147483647 h 234"/>
                <a:gd name="T6" fmla="*/ 2147483647 w 1890"/>
                <a:gd name="T7" fmla="*/ 0 h 234"/>
                <a:gd name="T8" fmla="*/ 2147483647 w 1890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0"/>
                <a:gd name="T16" fmla="*/ 0 h 234"/>
                <a:gd name="T17" fmla="*/ 1890 w 1890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0" h="234">
                  <a:moveTo>
                    <a:pt x="131" y="0"/>
                  </a:moveTo>
                  <a:lnTo>
                    <a:pt x="0" y="233"/>
                  </a:lnTo>
                  <a:lnTo>
                    <a:pt x="1889" y="233"/>
                  </a:lnTo>
                  <a:lnTo>
                    <a:pt x="1758" y="0"/>
                  </a:lnTo>
                  <a:lnTo>
                    <a:pt x="131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blackWhite">
            <a:xfrm>
              <a:off x="915988" y="3829050"/>
              <a:ext cx="2252662" cy="434975"/>
            </a:xfrm>
            <a:custGeom>
              <a:avLst/>
              <a:gdLst>
                <a:gd name="T0" fmla="*/ 2147483647 w 1628"/>
                <a:gd name="T1" fmla="*/ 0 h 235"/>
                <a:gd name="T2" fmla="*/ 0 w 1628"/>
                <a:gd name="T3" fmla="*/ 2147483647 h 235"/>
                <a:gd name="T4" fmla="*/ 2147483647 w 1628"/>
                <a:gd name="T5" fmla="*/ 2147483647 h 235"/>
                <a:gd name="T6" fmla="*/ 2147483647 w 1628"/>
                <a:gd name="T7" fmla="*/ 0 h 235"/>
                <a:gd name="T8" fmla="*/ 2147483647 w 1628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28"/>
                <a:gd name="T16" fmla="*/ 0 h 235"/>
                <a:gd name="T17" fmla="*/ 1628 w 1628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28" h="235">
                  <a:moveTo>
                    <a:pt x="131" y="0"/>
                  </a:moveTo>
                  <a:lnTo>
                    <a:pt x="0" y="234"/>
                  </a:lnTo>
                  <a:lnTo>
                    <a:pt x="1627" y="234"/>
                  </a:lnTo>
                  <a:lnTo>
                    <a:pt x="1497" y="0"/>
                  </a:lnTo>
                  <a:lnTo>
                    <a:pt x="131" y="0"/>
                  </a:lnTo>
                </a:path>
              </a:pathLst>
            </a:custGeom>
            <a:solidFill>
              <a:srgbClr val="00AAFF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blackWhite">
            <a:xfrm>
              <a:off x="1096963" y="3394075"/>
              <a:ext cx="1892300" cy="436563"/>
            </a:xfrm>
            <a:custGeom>
              <a:avLst/>
              <a:gdLst>
                <a:gd name="T0" fmla="*/ 2147483647 w 1367"/>
                <a:gd name="T1" fmla="*/ 0 h 235"/>
                <a:gd name="T2" fmla="*/ 0 w 1367"/>
                <a:gd name="T3" fmla="*/ 2147483647 h 235"/>
                <a:gd name="T4" fmla="*/ 2147483647 w 1367"/>
                <a:gd name="T5" fmla="*/ 2147483647 h 235"/>
                <a:gd name="T6" fmla="*/ 2147483647 w 1367"/>
                <a:gd name="T7" fmla="*/ 0 h 235"/>
                <a:gd name="T8" fmla="*/ 2147483647 w 1367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7"/>
                <a:gd name="T16" fmla="*/ 0 h 235"/>
                <a:gd name="T17" fmla="*/ 1367 w 1367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7" h="235">
                  <a:moveTo>
                    <a:pt x="130" y="0"/>
                  </a:moveTo>
                  <a:lnTo>
                    <a:pt x="0" y="234"/>
                  </a:lnTo>
                  <a:lnTo>
                    <a:pt x="1366" y="234"/>
                  </a:lnTo>
                  <a:lnTo>
                    <a:pt x="1235" y="0"/>
                  </a:lnTo>
                  <a:lnTo>
                    <a:pt x="130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2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blackWhite">
            <a:xfrm>
              <a:off x="1639888" y="1564188"/>
              <a:ext cx="804862" cy="966787"/>
            </a:xfrm>
            <a:custGeom>
              <a:avLst/>
              <a:gdLst>
                <a:gd name="T0" fmla="*/ 0 w 582"/>
                <a:gd name="T1" fmla="*/ 2147483647 h 520"/>
                <a:gd name="T2" fmla="*/ 2147483647 w 582"/>
                <a:gd name="T3" fmla="*/ 2147483647 h 520"/>
                <a:gd name="T4" fmla="*/ 2147483647 w 582"/>
                <a:gd name="T5" fmla="*/ 0 h 520"/>
                <a:gd name="T6" fmla="*/ 0 w 582"/>
                <a:gd name="T7" fmla="*/ 2147483647 h 5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2"/>
                <a:gd name="T13" fmla="*/ 0 h 520"/>
                <a:gd name="T14" fmla="*/ 582 w 582"/>
                <a:gd name="T15" fmla="*/ 520 h 5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2" h="520">
                  <a:moveTo>
                    <a:pt x="0" y="519"/>
                  </a:moveTo>
                  <a:lnTo>
                    <a:pt x="581" y="519"/>
                  </a:lnTo>
                  <a:lnTo>
                    <a:pt x="291" y="0"/>
                  </a:lnTo>
                  <a:lnTo>
                    <a:pt x="0" y="519"/>
                  </a:lnTo>
                </a:path>
              </a:pathLst>
            </a:custGeom>
            <a:solidFill>
              <a:srgbClr val="FFBC04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de-DE" altLang="zh-CN" sz="11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/>
              <a:r>
                <a:rPr lang="de-DE" altLang="zh-CN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blackWhite">
            <a:xfrm>
              <a:off x="1460500" y="2528888"/>
              <a:ext cx="1163638" cy="434975"/>
            </a:xfrm>
            <a:custGeom>
              <a:avLst/>
              <a:gdLst>
                <a:gd name="T0" fmla="*/ 0 w 843"/>
                <a:gd name="T1" fmla="*/ 2147483647 h 235"/>
                <a:gd name="T2" fmla="*/ 2147483647 w 843"/>
                <a:gd name="T3" fmla="*/ 2147483647 h 235"/>
                <a:gd name="T4" fmla="*/ 2147483647 w 843"/>
                <a:gd name="T5" fmla="*/ 0 h 235"/>
                <a:gd name="T6" fmla="*/ 2147483647 w 843"/>
                <a:gd name="T7" fmla="*/ 0 h 235"/>
                <a:gd name="T8" fmla="*/ 0 w 843"/>
                <a:gd name="T9" fmla="*/ 2147483647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43"/>
                <a:gd name="T16" fmla="*/ 0 h 235"/>
                <a:gd name="T17" fmla="*/ 843 w 843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43" h="235">
                  <a:moveTo>
                    <a:pt x="0" y="234"/>
                  </a:moveTo>
                  <a:lnTo>
                    <a:pt x="842" y="234"/>
                  </a:lnTo>
                  <a:lnTo>
                    <a:pt x="711" y="0"/>
                  </a:lnTo>
                  <a:lnTo>
                    <a:pt x="130" y="0"/>
                  </a:lnTo>
                  <a:lnTo>
                    <a:pt x="0" y="234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05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blackWhite">
            <a:xfrm>
              <a:off x="1277938" y="2962275"/>
              <a:ext cx="1527175" cy="433388"/>
            </a:xfrm>
            <a:custGeom>
              <a:avLst/>
              <a:gdLst>
                <a:gd name="T0" fmla="*/ 2147483647 w 1106"/>
                <a:gd name="T1" fmla="*/ 0 h 233"/>
                <a:gd name="T2" fmla="*/ 0 w 1106"/>
                <a:gd name="T3" fmla="*/ 2147483647 h 233"/>
                <a:gd name="T4" fmla="*/ 2147483647 w 1106"/>
                <a:gd name="T5" fmla="*/ 2147483647 h 233"/>
                <a:gd name="T6" fmla="*/ 2147483647 w 1106"/>
                <a:gd name="T7" fmla="*/ 0 h 233"/>
                <a:gd name="T8" fmla="*/ 2147483647 w 1106"/>
                <a:gd name="T9" fmla="*/ 0 h 2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06"/>
                <a:gd name="T16" fmla="*/ 0 h 233"/>
                <a:gd name="T17" fmla="*/ 1106 w 1106"/>
                <a:gd name="T18" fmla="*/ 233 h 2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06" h="233">
                  <a:moveTo>
                    <a:pt x="132" y="0"/>
                  </a:moveTo>
                  <a:lnTo>
                    <a:pt x="0" y="232"/>
                  </a:lnTo>
                  <a:lnTo>
                    <a:pt x="1105" y="232"/>
                  </a:lnTo>
                  <a:lnTo>
                    <a:pt x="974" y="0"/>
                  </a:lnTo>
                  <a:lnTo>
                    <a:pt x="132" y="0"/>
                  </a:lnTo>
                </a:path>
              </a:pathLst>
            </a:custGeom>
            <a:solidFill>
              <a:srgbClr val="2F52A0"/>
            </a:solidFill>
            <a:ln w="44450">
              <a:solidFill>
                <a:srgbClr val="F7F7F7"/>
              </a:solidFill>
              <a:miter lim="800000"/>
              <a:headEnd/>
              <a:tailEnd/>
            </a:ln>
          </p:spPr>
          <p:txBody>
            <a:bodyPr lIns="72000" tIns="0" rIns="7200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de-DE" altLang="zh-CN" sz="105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8" name="Rectangle 23"/>
          <p:cNvSpPr>
            <a:spLocks noChangeArrowheads="1"/>
          </p:cNvSpPr>
          <p:nvPr/>
        </p:nvSpPr>
        <p:spPr bwMode="auto">
          <a:xfrm>
            <a:off x="5807968" y="1876182"/>
            <a:ext cx="59294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9" name="Rectangle 24"/>
          <p:cNvSpPr>
            <a:spLocks noChangeArrowheads="1"/>
          </p:cNvSpPr>
          <p:nvPr/>
        </p:nvSpPr>
        <p:spPr bwMode="auto">
          <a:xfrm>
            <a:off x="6140897" y="2348880"/>
            <a:ext cx="593176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Zweite Ebene</a:t>
            </a:r>
          </a:p>
        </p:txBody>
      </p:sp>
      <p:sp>
        <p:nvSpPr>
          <p:cNvPr id="30" name="Rectangle 25"/>
          <p:cNvSpPr>
            <a:spLocks noChangeArrowheads="1"/>
          </p:cNvSpPr>
          <p:nvPr/>
        </p:nvSpPr>
        <p:spPr bwMode="auto">
          <a:xfrm>
            <a:off x="6428927" y="2812286"/>
            <a:ext cx="5931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Dritte Ebene</a:t>
            </a:r>
          </a:p>
        </p:txBody>
      </p:sp>
      <p:sp>
        <p:nvSpPr>
          <p:cNvPr id="34" name="Rectangle 26"/>
          <p:cNvSpPr>
            <a:spLocks noChangeArrowheads="1"/>
          </p:cNvSpPr>
          <p:nvPr/>
        </p:nvSpPr>
        <p:spPr bwMode="auto">
          <a:xfrm>
            <a:off x="6716961" y="3244334"/>
            <a:ext cx="593176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Vierte Ebene</a:t>
            </a:r>
          </a:p>
        </p:txBody>
      </p:sp>
      <p:sp>
        <p:nvSpPr>
          <p:cNvPr id="35" name="Rectangle 27"/>
          <p:cNvSpPr>
            <a:spLocks noChangeArrowheads="1"/>
          </p:cNvSpPr>
          <p:nvPr/>
        </p:nvSpPr>
        <p:spPr bwMode="auto">
          <a:xfrm>
            <a:off x="6960096" y="3645024"/>
            <a:ext cx="5931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Fünfte Ebene</a:t>
            </a:r>
          </a:p>
        </p:txBody>
      </p:sp>
      <p:sp>
        <p:nvSpPr>
          <p:cNvPr id="36" name="Rectangle 28"/>
          <p:cNvSpPr>
            <a:spLocks noChangeArrowheads="1"/>
          </p:cNvSpPr>
          <p:nvPr/>
        </p:nvSpPr>
        <p:spPr bwMode="auto">
          <a:xfrm>
            <a:off x="7223325" y="4036422"/>
            <a:ext cx="59294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Sechste Ebene</a:t>
            </a:r>
          </a:p>
        </p:txBody>
      </p:sp>
      <p:sp>
        <p:nvSpPr>
          <p:cNvPr id="37" name="Rectangle 29"/>
          <p:cNvSpPr>
            <a:spLocks noChangeArrowheads="1"/>
          </p:cNvSpPr>
          <p:nvPr/>
        </p:nvSpPr>
        <p:spPr bwMode="auto">
          <a:xfrm>
            <a:off x="7513667" y="4468470"/>
            <a:ext cx="59271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Siebte Ebene</a:t>
            </a:r>
          </a:p>
        </p:txBody>
      </p:sp>
      <p:sp>
        <p:nvSpPr>
          <p:cNvPr id="38" name="Rectangle 30"/>
          <p:cNvSpPr>
            <a:spLocks noChangeArrowheads="1"/>
          </p:cNvSpPr>
          <p:nvPr/>
        </p:nvSpPr>
        <p:spPr bwMode="auto">
          <a:xfrm>
            <a:off x="7801697" y="4900518"/>
            <a:ext cx="592715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Achte Ebene</a:t>
            </a:r>
          </a:p>
        </p:txBody>
      </p:sp>
      <p:sp>
        <p:nvSpPr>
          <p:cNvPr id="40" name="Rectangle 31"/>
          <p:cNvSpPr>
            <a:spLocks noChangeArrowheads="1"/>
          </p:cNvSpPr>
          <p:nvPr/>
        </p:nvSpPr>
        <p:spPr bwMode="auto">
          <a:xfrm>
            <a:off x="8089731" y="5260558"/>
            <a:ext cx="592714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5738" indent="-185738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Neunte Ebene</a:t>
            </a: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81814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yrami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entriert</a:t>
            </a:r>
          </a:p>
        </p:txBody>
      </p:sp>
      <p:sp>
        <p:nvSpPr>
          <p:cNvPr id="39" name="Dreieck 38"/>
          <p:cNvSpPr/>
          <p:nvPr/>
        </p:nvSpPr>
        <p:spPr>
          <a:xfrm>
            <a:off x="2928153" y="1557338"/>
            <a:ext cx="6120175" cy="4103687"/>
          </a:xfrm>
          <a:prstGeom prst="triangle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AutoShape 11"/>
          <p:cNvSpPr>
            <a:spLocks noChangeArrowheads="1"/>
          </p:cNvSpPr>
          <p:nvPr/>
        </p:nvSpPr>
        <p:spPr bwMode="auto">
          <a:xfrm flipH="1" flipV="1">
            <a:off x="4512329" y="3570518"/>
            <a:ext cx="2952328" cy="2090505"/>
          </a:xfrm>
          <a:prstGeom prst="triangle">
            <a:avLst>
              <a:gd name="adj" fmla="val 50000"/>
            </a:avLst>
          </a:prstGeom>
          <a:solidFill>
            <a:srgbClr val="2F52A0"/>
          </a:solidFill>
          <a:ln w="127000" cap="rnd">
            <a:solidFill>
              <a:schemeClr val="bg1"/>
            </a:solidFill>
            <a:miter lim="800000"/>
            <a:headEnd/>
            <a:tailEnd/>
          </a:ln>
        </p:spPr>
        <p:txBody>
          <a:bodyPr lIns="72000" tIns="0" rIns="7200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de-DE" altLang="zh-CN" sz="1400" b="1">
              <a:solidFill>
                <a:schemeClr val="bg1"/>
              </a:solidFill>
              <a:latin typeface="Trebuchet MS" panose="020B0603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570625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/>
          <p:cNvGrpSpPr>
            <a:grpSpLocks/>
          </p:cNvGrpSpPr>
          <p:nvPr/>
        </p:nvGrpSpPr>
        <p:grpSpPr bwMode="auto">
          <a:xfrm>
            <a:off x="3771428" y="4141788"/>
            <a:ext cx="4700290" cy="1136650"/>
            <a:chOff x="2046" y="2559"/>
            <a:chExt cx="1537" cy="469"/>
          </a:xfrm>
        </p:grpSpPr>
        <p:sp>
          <p:nvSpPr>
            <p:cNvPr id="17" name="Line 5"/>
            <p:cNvSpPr>
              <a:spLocks noChangeShapeType="1"/>
            </p:cNvSpPr>
            <p:nvPr/>
          </p:nvSpPr>
          <p:spPr bwMode="blackWhite">
            <a:xfrm>
              <a:off x="2046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19" name="Line 7"/>
            <p:cNvSpPr>
              <a:spLocks noChangeShapeType="1"/>
            </p:cNvSpPr>
            <p:nvPr/>
          </p:nvSpPr>
          <p:spPr bwMode="blackWhite">
            <a:xfrm>
              <a:off x="2572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blackWhite">
            <a:xfrm>
              <a:off x="3077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5" name="Line 10"/>
            <p:cNvSpPr>
              <a:spLocks noChangeShapeType="1"/>
            </p:cNvSpPr>
            <p:nvPr/>
          </p:nvSpPr>
          <p:spPr bwMode="blackWhite">
            <a:xfrm>
              <a:off x="3583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</p:grpSp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8006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Blocka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ertikal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11"/>
          <p:cNvGrpSpPr>
            <a:grpSpLocks/>
          </p:cNvGrpSpPr>
          <p:nvPr/>
        </p:nvGrpSpPr>
        <p:grpSpPr bwMode="auto">
          <a:xfrm>
            <a:off x="3719934" y="2133600"/>
            <a:ext cx="4751784" cy="1114127"/>
            <a:chOff x="2046" y="1742"/>
            <a:chExt cx="668" cy="469"/>
          </a:xfrm>
        </p:grpSpPr>
        <p:sp>
          <p:nvSpPr>
            <p:cNvPr id="27" name="Line 12"/>
            <p:cNvSpPr>
              <a:spLocks noChangeShapeType="1"/>
            </p:cNvSpPr>
            <p:nvPr/>
          </p:nvSpPr>
          <p:spPr bwMode="blackWhite">
            <a:xfrm>
              <a:off x="2046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8" name="Line 13"/>
            <p:cNvSpPr>
              <a:spLocks noChangeShapeType="1"/>
            </p:cNvSpPr>
            <p:nvPr/>
          </p:nvSpPr>
          <p:spPr bwMode="blackWhite">
            <a:xfrm>
              <a:off x="2141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9" name="Line 14"/>
            <p:cNvSpPr>
              <a:spLocks noChangeShapeType="1"/>
            </p:cNvSpPr>
            <p:nvPr/>
          </p:nvSpPr>
          <p:spPr bwMode="blackWhite">
            <a:xfrm>
              <a:off x="2236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0" name="Line 15"/>
            <p:cNvSpPr>
              <a:spLocks noChangeShapeType="1"/>
            </p:cNvSpPr>
            <p:nvPr/>
          </p:nvSpPr>
          <p:spPr bwMode="blackWhite">
            <a:xfrm>
              <a:off x="2332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4" name="Line 16"/>
            <p:cNvSpPr>
              <a:spLocks noChangeShapeType="1"/>
            </p:cNvSpPr>
            <p:nvPr/>
          </p:nvSpPr>
          <p:spPr bwMode="blackWhite">
            <a:xfrm>
              <a:off x="2427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5" name="Line 17"/>
            <p:cNvSpPr>
              <a:spLocks noChangeShapeType="1"/>
            </p:cNvSpPr>
            <p:nvPr/>
          </p:nvSpPr>
          <p:spPr bwMode="blackWhite">
            <a:xfrm>
              <a:off x="2523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6" name="Line 18"/>
            <p:cNvSpPr>
              <a:spLocks noChangeShapeType="1"/>
            </p:cNvSpPr>
            <p:nvPr/>
          </p:nvSpPr>
          <p:spPr bwMode="blackWhite">
            <a:xfrm>
              <a:off x="2714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7" name="Line 19"/>
            <p:cNvSpPr>
              <a:spLocks noChangeShapeType="1"/>
            </p:cNvSpPr>
            <p:nvPr/>
          </p:nvSpPr>
          <p:spPr bwMode="blackWhite">
            <a:xfrm>
              <a:off x="2618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</p:grpSp>
      <p:sp>
        <p:nvSpPr>
          <p:cNvPr id="2" name="Abgerundetes Rechteck 1"/>
          <p:cNvSpPr/>
          <p:nvPr/>
        </p:nvSpPr>
        <p:spPr>
          <a:xfrm>
            <a:off x="2638822" y="3284538"/>
            <a:ext cx="6913562" cy="936625"/>
          </a:xfrm>
          <a:prstGeom prst="roundRect">
            <a:avLst/>
          </a:prstGeom>
          <a:solidFill>
            <a:srgbClr val="2F52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959997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/>
          <p:cNvGrpSpPr>
            <a:grpSpLocks/>
          </p:cNvGrpSpPr>
          <p:nvPr/>
        </p:nvGrpSpPr>
        <p:grpSpPr bwMode="auto">
          <a:xfrm>
            <a:off x="3771428" y="3228454"/>
            <a:ext cx="4700290" cy="704677"/>
            <a:chOff x="2046" y="2559"/>
            <a:chExt cx="1537" cy="469"/>
          </a:xfrm>
        </p:grpSpPr>
        <p:sp>
          <p:nvSpPr>
            <p:cNvPr id="17" name="Line 5"/>
            <p:cNvSpPr>
              <a:spLocks noChangeShapeType="1"/>
            </p:cNvSpPr>
            <p:nvPr/>
          </p:nvSpPr>
          <p:spPr bwMode="blackWhite">
            <a:xfrm>
              <a:off x="2046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19" name="Line 7"/>
            <p:cNvSpPr>
              <a:spLocks noChangeShapeType="1"/>
            </p:cNvSpPr>
            <p:nvPr/>
          </p:nvSpPr>
          <p:spPr bwMode="blackWhite">
            <a:xfrm>
              <a:off x="2572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blackWhite">
            <a:xfrm>
              <a:off x="3077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5" name="Line 10"/>
            <p:cNvSpPr>
              <a:spLocks noChangeShapeType="1"/>
            </p:cNvSpPr>
            <p:nvPr/>
          </p:nvSpPr>
          <p:spPr bwMode="blackWhite">
            <a:xfrm>
              <a:off x="3583" y="2559"/>
              <a:ext cx="0" cy="469"/>
            </a:xfrm>
            <a:prstGeom prst="line">
              <a:avLst/>
            </a:prstGeom>
            <a:noFill/>
            <a:ln w="41275">
              <a:solidFill>
                <a:srgbClr val="FFBC04"/>
              </a:solidFill>
              <a:prstDash val="sysDash"/>
              <a:round/>
              <a:headEnd type="none" w="lg" len="med"/>
              <a:tailEnd type="triangle" w="lg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</p:grpSp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Blocka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ertikal, 2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11"/>
          <p:cNvGrpSpPr>
            <a:grpSpLocks/>
          </p:cNvGrpSpPr>
          <p:nvPr/>
        </p:nvGrpSpPr>
        <p:grpSpPr bwMode="auto">
          <a:xfrm>
            <a:off x="3719934" y="1484784"/>
            <a:ext cx="4751784" cy="849609"/>
            <a:chOff x="2046" y="1742"/>
            <a:chExt cx="668" cy="469"/>
          </a:xfrm>
        </p:grpSpPr>
        <p:sp>
          <p:nvSpPr>
            <p:cNvPr id="27" name="Line 12"/>
            <p:cNvSpPr>
              <a:spLocks noChangeShapeType="1"/>
            </p:cNvSpPr>
            <p:nvPr/>
          </p:nvSpPr>
          <p:spPr bwMode="blackWhite">
            <a:xfrm>
              <a:off x="2046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8" name="Line 13"/>
            <p:cNvSpPr>
              <a:spLocks noChangeShapeType="1"/>
            </p:cNvSpPr>
            <p:nvPr/>
          </p:nvSpPr>
          <p:spPr bwMode="blackWhite">
            <a:xfrm>
              <a:off x="2141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29" name="Line 14"/>
            <p:cNvSpPr>
              <a:spLocks noChangeShapeType="1"/>
            </p:cNvSpPr>
            <p:nvPr/>
          </p:nvSpPr>
          <p:spPr bwMode="blackWhite">
            <a:xfrm>
              <a:off x="2236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0" name="Line 15"/>
            <p:cNvSpPr>
              <a:spLocks noChangeShapeType="1"/>
            </p:cNvSpPr>
            <p:nvPr/>
          </p:nvSpPr>
          <p:spPr bwMode="blackWhite">
            <a:xfrm>
              <a:off x="2332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4" name="Line 16"/>
            <p:cNvSpPr>
              <a:spLocks noChangeShapeType="1"/>
            </p:cNvSpPr>
            <p:nvPr/>
          </p:nvSpPr>
          <p:spPr bwMode="blackWhite">
            <a:xfrm>
              <a:off x="2427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5" name="Line 17"/>
            <p:cNvSpPr>
              <a:spLocks noChangeShapeType="1"/>
            </p:cNvSpPr>
            <p:nvPr/>
          </p:nvSpPr>
          <p:spPr bwMode="blackWhite">
            <a:xfrm>
              <a:off x="2523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6" name="Line 18"/>
            <p:cNvSpPr>
              <a:spLocks noChangeShapeType="1"/>
            </p:cNvSpPr>
            <p:nvPr/>
          </p:nvSpPr>
          <p:spPr bwMode="blackWhite">
            <a:xfrm>
              <a:off x="2714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37" name="Line 19"/>
            <p:cNvSpPr>
              <a:spLocks noChangeShapeType="1"/>
            </p:cNvSpPr>
            <p:nvPr/>
          </p:nvSpPr>
          <p:spPr bwMode="blackWhite">
            <a:xfrm>
              <a:off x="2618" y="1742"/>
              <a:ext cx="0" cy="469"/>
            </a:xfrm>
            <a:prstGeom prst="line">
              <a:avLst/>
            </a:prstGeom>
            <a:noFill/>
            <a:ln w="25400">
              <a:solidFill>
                <a:srgbClr val="00AAFF"/>
              </a:solidFill>
              <a:prstDash val="solid"/>
              <a:round/>
              <a:headEnd type="none" w="sm" len="sm"/>
              <a:tailEnd type="triangle" w="lg" len="sm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</p:grpSp>
      <p:sp>
        <p:nvSpPr>
          <p:cNvPr id="2" name="Abgerundetes Rechteck 1"/>
          <p:cNvSpPr/>
          <p:nvPr/>
        </p:nvSpPr>
        <p:spPr>
          <a:xfrm>
            <a:off x="2638822" y="2371204"/>
            <a:ext cx="6913562" cy="936625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38" name="Abgerundetes Rechteck 37"/>
          <p:cNvSpPr/>
          <p:nvPr/>
        </p:nvSpPr>
        <p:spPr>
          <a:xfrm>
            <a:off x="2638822" y="3980853"/>
            <a:ext cx="6913562" cy="936625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53" name="Line 10"/>
          <p:cNvSpPr>
            <a:spLocks noChangeShapeType="1"/>
          </p:cNvSpPr>
          <p:nvPr/>
        </p:nvSpPr>
        <p:spPr bwMode="blackWhite">
          <a:xfrm>
            <a:off x="6095454" y="4956348"/>
            <a:ext cx="0" cy="704677"/>
          </a:xfrm>
          <a:prstGeom prst="line">
            <a:avLst/>
          </a:prstGeom>
          <a:noFill/>
          <a:ln w="41275">
            <a:solidFill>
              <a:srgbClr val="FFBC04"/>
            </a:solidFill>
            <a:prstDash val="sysDash"/>
            <a:round/>
            <a:headEnd type="none" w="lg" len="med"/>
            <a:tailEnd type="triangl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979896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Tex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ung 8"/>
          <p:cNvGrpSpPr/>
          <p:nvPr/>
        </p:nvGrpSpPr>
        <p:grpSpPr>
          <a:xfrm>
            <a:off x="1970690" y="1497724"/>
            <a:ext cx="8888452" cy="3740770"/>
            <a:chOff x="623392" y="1484313"/>
            <a:chExt cx="9924300" cy="4176714"/>
          </a:xfrm>
        </p:grpSpPr>
        <p:sp>
          <p:nvSpPr>
            <p:cNvPr id="34" name="Freihandform 33"/>
            <p:cNvSpPr/>
            <p:nvPr/>
          </p:nvSpPr>
          <p:spPr>
            <a:xfrm>
              <a:off x="3719017" y="1484313"/>
              <a:ext cx="6828675" cy="4176714"/>
            </a:xfrm>
            <a:custGeom>
              <a:avLst/>
              <a:gdLst>
                <a:gd name="connsiteX0" fmla="*/ 0 w 6828675"/>
                <a:gd name="connsiteY0" fmla="*/ 0 h 4176714"/>
                <a:gd name="connsiteX1" fmla="*/ 4249737 w 6828675"/>
                <a:gd name="connsiteY1" fmla="*/ 0 h 4176714"/>
                <a:gd name="connsiteX2" fmla="*/ 4249737 w 6828675"/>
                <a:gd name="connsiteY2" fmla="*/ 2 h 4176714"/>
                <a:gd name="connsiteX3" fmla="*/ 6828675 w 6828675"/>
                <a:gd name="connsiteY3" fmla="*/ 2088358 h 4176714"/>
                <a:gd name="connsiteX4" fmla="*/ 4249737 w 6828675"/>
                <a:gd name="connsiteY4" fmla="*/ 4176714 h 4176714"/>
                <a:gd name="connsiteX5" fmla="*/ 4249737 w 6828675"/>
                <a:gd name="connsiteY5" fmla="*/ 4176712 h 4176714"/>
                <a:gd name="connsiteX6" fmla="*/ 0 w 6828675"/>
                <a:gd name="connsiteY6" fmla="*/ 4176712 h 417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28675" h="4176714">
                  <a:moveTo>
                    <a:pt x="0" y="0"/>
                  </a:moveTo>
                  <a:lnTo>
                    <a:pt x="4249737" y="0"/>
                  </a:lnTo>
                  <a:lnTo>
                    <a:pt x="4249737" y="2"/>
                  </a:lnTo>
                  <a:lnTo>
                    <a:pt x="6828675" y="2088358"/>
                  </a:lnTo>
                  <a:lnTo>
                    <a:pt x="4249737" y="4176714"/>
                  </a:lnTo>
                  <a:lnTo>
                    <a:pt x="4249737" y="4176712"/>
                  </a:lnTo>
                  <a:lnTo>
                    <a:pt x="0" y="4176712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684000" rtlCol="0" anchor="ctr"/>
            <a:lstStyle/>
            <a:p>
              <a:pPr algn="ctr"/>
              <a:r>
                <a:rPr lang="de-DE" sz="20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grpSp>
          <p:nvGrpSpPr>
            <p:cNvPr id="5" name="Gruppierung 4"/>
            <p:cNvGrpSpPr/>
            <p:nvPr/>
          </p:nvGrpSpPr>
          <p:grpSpPr>
            <a:xfrm>
              <a:off x="623392" y="2564903"/>
              <a:ext cx="4422542" cy="2515280"/>
              <a:chOff x="1919288" y="2564903"/>
              <a:chExt cx="4422542" cy="2515280"/>
            </a:xfrm>
          </p:grpSpPr>
          <p:sp>
            <p:nvSpPr>
              <p:cNvPr id="27" name="Freihandform 26"/>
              <p:cNvSpPr/>
              <p:nvPr/>
            </p:nvSpPr>
            <p:spPr>
              <a:xfrm rot="5400000">
                <a:off x="4421216" y="3159569"/>
                <a:ext cx="2515278" cy="1325950"/>
              </a:xfrm>
              <a:custGeom>
                <a:avLst/>
                <a:gdLst>
                  <a:gd name="connsiteX0" fmla="*/ 1296143 w 2515278"/>
                  <a:gd name="connsiteY0" fmla="*/ 1325950 h 1325950"/>
                  <a:gd name="connsiteX1" fmla="*/ 1296143 w 2515278"/>
                  <a:gd name="connsiteY1" fmla="*/ 0 h 1325950"/>
                  <a:gd name="connsiteX2" fmla="*/ 2515278 w 2515278"/>
                  <a:gd name="connsiteY2" fmla="*/ 1325950 h 1325950"/>
                  <a:gd name="connsiteX3" fmla="*/ 0 w 2515278"/>
                  <a:gd name="connsiteY3" fmla="*/ 1325950 h 1325950"/>
                  <a:gd name="connsiteX4" fmla="*/ 1213305 w 2515278"/>
                  <a:gd name="connsiteY4" fmla="*/ 6341 h 1325950"/>
                  <a:gd name="connsiteX5" fmla="*/ 1213305 w 2515278"/>
                  <a:gd name="connsiteY5" fmla="*/ 1325950 h 1325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15278" h="1325950">
                    <a:moveTo>
                      <a:pt x="1296143" y="1325950"/>
                    </a:moveTo>
                    <a:lnTo>
                      <a:pt x="1296143" y="0"/>
                    </a:lnTo>
                    <a:lnTo>
                      <a:pt x="2515278" y="1325950"/>
                    </a:lnTo>
                    <a:close/>
                    <a:moveTo>
                      <a:pt x="0" y="1325950"/>
                    </a:moveTo>
                    <a:lnTo>
                      <a:pt x="1213305" y="6341"/>
                    </a:lnTo>
                    <a:lnTo>
                      <a:pt x="1213305" y="132595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1919288" y="2564903"/>
                <a:ext cx="3096592" cy="121330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  <a:endPara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" name="Rechteck 21"/>
              <p:cNvSpPr/>
              <p:nvPr/>
            </p:nvSpPr>
            <p:spPr>
              <a:xfrm>
                <a:off x="1919288" y="3861048"/>
                <a:ext cx="3096592" cy="121330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6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Text</a:t>
                </a:r>
              </a:p>
            </p:txBody>
          </p:sp>
        </p:grpSp>
      </p:grpSp>
      <p:sp>
        <p:nvSpPr>
          <p:cNvPr id="1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946072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3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Tex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ung 8"/>
          <p:cNvGrpSpPr/>
          <p:nvPr/>
        </p:nvGrpSpPr>
        <p:grpSpPr>
          <a:xfrm>
            <a:off x="2002220" y="1481959"/>
            <a:ext cx="8894380" cy="3743265"/>
            <a:chOff x="623392" y="1484313"/>
            <a:chExt cx="9924300" cy="4176714"/>
          </a:xfrm>
        </p:grpSpPr>
        <p:sp>
          <p:nvSpPr>
            <p:cNvPr id="34" name="Freihandform 33"/>
            <p:cNvSpPr/>
            <p:nvPr/>
          </p:nvSpPr>
          <p:spPr>
            <a:xfrm>
              <a:off x="3719017" y="1484313"/>
              <a:ext cx="6828675" cy="4176714"/>
            </a:xfrm>
            <a:custGeom>
              <a:avLst/>
              <a:gdLst>
                <a:gd name="connsiteX0" fmla="*/ 0 w 6828675"/>
                <a:gd name="connsiteY0" fmla="*/ 0 h 4176714"/>
                <a:gd name="connsiteX1" fmla="*/ 4249737 w 6828675"/>
                <a:gd name="connsiteY1" fmla="*/ 0 h 4176714"/>
                <a:gd name="connsiteX2" fmla="*/ 4249737 w 6828675"/>
                <a:gd name="connsiteY2" fmla="*/ 2 h 4176714"/>
                <a:gd name="connsiteX3" fmla="*/ 6828675 w 6828675"/>
                <a:gd name="connsiteY3" fmla="*/ 2088358 h 4176714"/>
                <a:gd name="connsiteX4" fmla="*/ 4249737 w 6828675"/>
                <a:gd name="connsiteY4" fmla="*/ 4176714 h 4176714"/>
                <a:gd name="connsiteX5" fmla="*/ 4249737 w 6828675"/>
                <a:gd name="connsiteY5" fmla="*/ 4176712 h 4176714"/>
                <a:gd name="connsiteX6" fmla="*/ 0 w 6828675"/>
                <a:gd name="connsiteY6" fmla="*/ 4176712 h 417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28675" h="4176714">
                  <a:moveTo>
                    <a:pt x="0" y="0"/>
                  </a:moveTo>
                  <a:lnTo>
                    <a:pt x="4249737" y="0"/>
                  </a:lnTo>
                  <a:lnTo>
                    <a:pt x="4249737" y="2"/>
                  </a:lnTo>
                  <a:lnTo>
                    <a:pt x="6828675" y="2088358"/>
                  </a:lnTo>
                  <a:lnTo>
                    <a:pt x="4249737" y="4176714"/>
                  </a:lnTo>
                  <a:lnTo>
                    <a:pt x="4249737" y="4176712"/>
                  </a:lnTo>
                  <a:lnTo>
                    <a:pt x="0" y="4176712"/>
                  </a:lnTo>
                  <a:close/>
                </a:path>
              </a:pathLst>
            </a:cu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684000" rtlCol="0" anchor="ctr"/>
            <a:lstStyle/>
            <a:p>
              <a:pPr algn="ctr"/>
              <a:r>
                <a:rPr lang="de-DE" sz="20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4" name="Freihandform 53"/>
            <p:cNvSpPr/>
            <p:nvPr/>
          </p:nvSpPr>
          <p:spPr>
            <a:xfrm rot="5400000">
              <a:off x="3731328" y="2549855"/>
              <a:ext cx="801176" cy="831278"/>
            </a:xfrm>
            <a:custGeom>
              <a:avLst/>
              <a:gdLst>
                <a:gd name="connsiteX0" fmla="*/ 0 w 801176"/>
                <a:gd name="connsiteY0" fmla="*/ 831278 h 831278"/>
                <a:gd name="connsiteX1" fmla="*/ 801176 w 801176"/>
                <a:gd name="connsiteY1" fmla="*/ 0 h 831278"/>
                <a:gd name="connsiteX2" fmla="*/ 801176 w 801176"/>
                <a:gd name="connsiteY2" fmla="*/ 831278 h 831278"/>
                <a:gd name="connsiteX3" fmla="*/ 0 w 801176"/>
                <a:gd name="connsiteY3" fmla="*/ 831278 h 83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1176" h="831278">
                  <a:moveTo>
                    <a:pt x="0" y="831278"/>
                  </a:moveTo>
                  <a:lnTo>
                    <a:pt x="801176" y="0"/>
                  </a:lnTo>
                  <a:lnTo>
                    <a:pt x="801176" y="831278"/>
                  </a:lnTo>
                  <a:lnTo>
                    <a:pt x="0" y="831278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623392" y="2564904"/>
              <a:ext cx="3096592" cy="80117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5400000">
              <a:off x="3744410" y="4255453"/>
              <a:ext cx="798083" cy="854348"/>
            </a:xfrm>
            <a:custGeom>
              <a:avLst/>
              <a:gdLst>
                <a:gd name="connsiteX0" fmla="*/ 0 w 798083"/>
                <a:gd name="connsiteY0" fmla="*/ 854348 h 854348"/>
                <a:gd name="connsiteX1" fmla="*/ 0 w 798083"/>
                <a:gd name="connsiteY1" fmla="*/ 0 h 854348"/>
                <a:gd name="connsiteX2" fmla="*/ 798083 w 798083"/>
                <a:gd name="connsiteY2" fmla="*/ 854348 h 854348"/>
                <a:gd name="connsiteX3" fmla="*/ 0 w 798083"/>
                <a:gd name="connsiteY3" fmla="*/ 854348 h 854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8083" h="854348">
                  <a:moveTo>
                    <a:pt x="0" y="854348"/>
                  </a:moveTo>
                  <a:lnTo>
                    <a:pt x="0" y="0"/>
                  </a:lnTo>
                  <a:lnTo>
                    <a:pt x="798083" y="854348"/>
                  </a:lnTo>
                  <a:lnTo>
                    <a:pt x="0" y="854348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623392" y="4283585"/>
              <a:ext cx="3096592" cy="801178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Freihandform 50"/>
            <p:cNvSpPr/>
            <p:nvPr/>
          </p:nvSpPr>
          <p:spPr>
            <a:xfrm rot="5400000">
              <a:off x="3966273" y="3161806"/>
              <a:ext cx="826065" cy="1326056"/>
            </a:xfrm>
            <a:custGeom>
              <a:avLst/>
              <a:gdLst>
                <a:gd name="connsiteX0" fmla="*/ 0 w 826065"/>
                <a:gd name="connsiteY0" fmla="*/ 1326056 h 1326056"/>
                <a:gd name="connsiteX1" fmla="*/ 0 w 826065"/>
                <a:gd name="connsiteY1" fmla="*/ 447341 h 1326056"/>
                <a:gd name="connsiteX2" fmla="*/ 431142 w 826065"/>
                <a:gd name="connsiteY2" fmla="*/ 0 h 1326056"/>
                <a:gd name="connsiteX3" fmla="*/ 826065 w 826065"/>
                <a:gd name="connsiteY3" fmla="*/ 422766 h 1326056"/>
                <a:gd name="connsiteX4" fmla="*/ 826065 w 826065"/>
                <a:gd name="connsiteY4" fmla="*/ 1326056 h 1326056"/>
                <a:gd name="connsiteX5" fmla="*/ 0 w 826065"/>
                <a:gd name="connsiteY5" fmla="*/ 1326056 h 1326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6065" h="1326056">
                  <a:moveTo>
                    <a:pt x="0" y="1326056"/>
                  </a:moveTo>
                  <a:lnTo>
                    <a:pt x="0" y="447341"/>
                  </a:lnTo>
                  <a:lnTo>
                    <a:pt x="431142" y="0"/>
                  </a:lnTo>
                  <a:lnTo>
                    <a:pt x="826065" y="422766"/>
                  </a:lnTo>
                  <a:lnTo>
                    <a:pt x="826065" y="1326056"/>
                  </a:lnTo>
                  <a:lnTo>
                    <a:pt x="0" y="1326056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623392" y="3419910"/>
              <a:ext cx="3096592" cy="810000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783037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Tex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ung 4"/>
          <p:cNvGrpSpPr/>
          <p:nvPr/>
        </p:nvGrpSpPr>
        <p:grpSpPr>
          <a:xfrm>
            <a:off x="1699026" y="2441445"/>
            <a:ext cx="4108942" cy="2336921"/>
            <a:chOff x="1919288" y="2564903"/>
            <a:chExt cx="4422542" cy="2515280"/>
          </a:xfrm>
        </p:grpSpPr>
        <p:sp>
          <p:nvSpPr>
            <p:cNvPr id="27" name="Freihandform 26"/>
            <p:cNvSpPr/>
            <p:nvPr/>
          </p:nvSpPr>
          <p:spPr>
            <a:xfrm rot="5400000">
              <a:off x="4421216" y="3159569"/>
              <a:ext cx="2515278" cy="1325950"/>
            </a:xfrm>
            <a:custGeom>
              <a:avLst/>
              <a:gdLst>
                <a:gd name="connsiteX0" fmla="*/ 1296143 w 2515278"/>
                <a:gd name="connsiteY0" fmla="*/ 1325950 h 1325950"/>
                <a:gd name="connsiteX1" fmla="*/ 1296143 w 2515278"/>
                <a:gd name="connsiteY1" fmla="*/ 0 h 1325950"/>
                <a:gd name="connsiteX2" fmla="*/ 2515278 w 2515278"/>
                <a:gd name="connsiteY2" fmla="*/ 1325950 h 1325950"/>
                <a:gd name="connsiteX3" fmla="*/ 0 w 2515278"/>
                <a:gd name="connsiteY3" fmla="*/ 1325950 h 1325950"/>
                <a:gd name="connsiteX4" fmla="*/ 1213305 w 2515278"/>
                <a:gd name="connsiteY4" fmla="*/ 6341 h 1325950"/>
                <a:gd name="connsiteX5" fmla="*/ 1213305 w 2515278"/>
                <a:gd name="connsiteY5" fmla="*/ 1325950 h 132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5278" h="1325950">
                  <a:moveTo>
                    <a:pt x="1296143" y="1325950"/>
                  </a:moveTo>
                  <a:lnTo>
                    <a:pt x="1296143" y="0"/>
                  </a:lnTo>
                  <a:lnTo>
                    <a:pt x="2515278" y="1325950"/>
                  </a:lnTo>
                  <a:close/>
                  <a:moveTo>
                    <a:pt x="0" y="1325950"/>
                  </a:moveTo>
                  <a:lnTo>
                    <a:pt x="1213305" y="6341"/>
                  </a:lnTo>
                  <a:lnTo>
                    <a:pt x="1213305" y="1325950"/>
                  </a:lnTo>
                  <a:close/>
                </a:path>
              </a:pathLst>
            </a:cu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1919288" y="2564903"/>
              <a:ext cx="3096592" cy="1213307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  <a:endParaRPr lang="de-DE" sz="16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919288" y="3861048"/>
              <a:ext cx="3096592" cy="1213307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17" name="Rechteck 16"/>
          <p:cNvSpPr/>
          <p:nvPr/>
        </p:nvSpPr>
        <p:spPr>
          <a:xfrm>
            <a:off x="6096000" y="2927181"/>
            <a:ext cx="3744862" cy="184577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6281362" y="3147481"/>
            <a:ext cx="3374137" cy="1505656"/>
          </a:xfrm>
          <a:prstGeom prst="rect">
            <a:avLst/>
          </a:prstGeom>
          <a:noFill/>
        </p:spPr>
        <p:txBody>
          <a:bodyPr wrap="square" rtlCol="0" anchor="t" anchorCtr="0">
            <a:normAutofit/>
          </a:bodyPr>
          <a:lstStyle/>
          <a:p>
            <a:pPr marL="342900" indent="-342900">
              <a:lnSpc>
                <a:spcPct val="150000"/>
              </a:lnSpc>
              <a:buClr>
                <a:srgbClr val="1D2262"/>
              </a:buClr>
              <a:buFont typeface="Helvetica" charset="0"/>
              <a:buChar char="●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ste Ebene</a:t>
            </a:r>
          </a:p>
          <a:p>
            <a:pPr marL="800100" lvl="1" indent="-342900">
              <a:lnSpc>
                <a:spcPct val="150000"/>
              </a:lnSpc>
              <a:buFont typeface="Courier New" charset="0"/>
              <a:buChar char="o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weite Ebene</a:t>
            </a:r>
          </a:p>
          <a:p>
            <a:pPr marL="1257300" lvl="2" indent="-342900">
              <a:lnSpc>
                <a:spcPct val="150000"/>
              </a:lnSpc>
              <a:buFont typeface="Symbol" charset="2"/>
              <a:buChar char="-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ritte Ebene</a:t>
            </a:r>
          </a:p>
          <a:p>
            <a:pPr>
              <a:lnSpc>
                <a:spcPct val="150000"/>
              </a:lnSpc>
            </a:pPr>
            <a:endParaRPr lang="de-DE" sz="14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6096000" y="2351389"/>
            <a:ext cx="374486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8002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22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4A7BB0AB-5362-4C9B-8421-DD55C1E89387}"/>
              </a:ext>
            </a:extLst>
          </p:cNvPr>
          <p:cNvSpPr/>
          <p:nvPr/>
        </p:nvSpPr>
        <p:spPr>
          <a:xfrm>
            <a:off x="0" y="0"/>
            <a:ext cx="12288688" cy="7101408"/>
          </a:xfrm>
          <a:prstGeom prst="rect">
            <a:avLst/>
          </a:prstGeom>
          <a:solidFill>
            <a:srgbClr val="1D22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2490644"/>
            <a:ext cx="10515600" cy="2147858"/>
          </a:xfrm>
        </p:spPr>
        <p:txBody>
          <a:bodyPr anchor="ctr">
            <a:normAutofit/>
          </a:bodyPr>
          <a:lstStyle/>
          <a:p>
            <a:pPr marL="0" indent="0" algn="ctr">
              <a:lnSpc>
                <a:spcPts val="4540"/>
              </a:lnSpc>
              <a:buNone/>
            </a:pPr>
            <a:r>
              <a:rPr lang="de-DE" sz="3200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ichtige Aussagen und prägnante Sätze können vollflächig gesetzt werden</a:t>
            </a:r>
            <a:endParaRPr lang="de-DE" sz="3200" spc="3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ts val="45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3200" spc="3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991681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 mit Tex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ung 9"/>
          <p:cNvGrpSpPr/>
          <p:nvPr/>
        </p:nvGrpSpPr>
        <p:grpSpPr>
          <a:xfrm>
            <a:off x="1341149" y="1484784"/>
            <a:ext cx="5906979" cy="3305939"/>
            <a:chOff x="1991545" y="2131920"/>
            <a:chExt cx="6294800" cy="3522990"/>
          </a:xfrm>
        </p:grpSpPr>
        <p:grpSp>
          <p:nvGrpSpPr>
            <p:cNvPr id="6" name="Gruppierung 5"/>
            <p:cNvGrpSpPr/>
            <p:nvPr/>
          </p:nvGrpSpPr>
          <p:grpSpPr>
            <a:xfrm>
              <a:off x="1991545" y="2131920"/>
              <a:ext cx="6294800" cy="3522990"/>
              <a:chOff x="1991545" y="2131920"/>
              <a:chExt cx="6294800" cy="3522990"/>
            </a:xfrm>
          </p:grpSpPr>
          <p:sp>
            <p:nvSpPr>
              <p:cNvPr id="47" name="Freihandform 46"/>
              <p:cNvSpPr/>
              <p:nvPr/>
            </p:nvSpPr>
            <p:spPr>
              <a:xfrm>
                <a:off x="1991546" y="2131920"/>
                <a:ext cx="5006947" cy="575999"/>
              </a:xfrm>
              <a:custGeom>
                <a:avLst/>
                <a:gdLst>
                  <a:gd name="connsiteX0" fmla="*/ 4381022 w 5006947"/>
                  <a:gd name="connsiteY0" fmla="*/ 0 h 575999"/>
                  <a:gd name="connsiteX1" fmla="*/ 5006947 w 5006947"/>
                  <a:gd name="connsiteY1" fmla="*/ 575999 h 575999"/>
                  <a:gd name="connsiteX2" fmla="*/ 0 w 5006947"/>
                  <a:gd name="connsiteY2" fmla="*/ 575999 h 575999"/>
                  <a:gd name="connsiteX3" fmla="*/ 0 w 5006947"/>
                  <a:gd name="connsiteY3" fmla="*/ 1680 h 575999"/>
                  <a:gd name="connsiteX4" fmla="*/ 4381022 w 5006947"/>
                  <a:gd name="connsiteY4" fmla="*/ 1680 h 575999"/>
                  <a:gd name="connsiteX5" fmla="*/ 4381022 w 5006947"/>
                  <a:gd name="connsiteY5" fmla="*/ 0 h 575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06947" h="575999">
                    <a:moveTo>
                      <a:pt x="4381022" y="0"/>
                    </a:moveTo>
                    <a:lnTo>
                      <a:pt x="5006947" y="575999"/>
                    </a:lnTo>
                    <a:lnTo>
                      <a:pt x="0" y="575999"/>
                    </a:lnTo>
                    <a:lnTo>
                      <a:pt x="0" y="1680"/>
                    </a:lnTo>
                    <a:lnTo>
                      <a:pt x="4381022" y="1680"/>
                    </a:lnTo>
                    <a:lnTo>
                      <a:pt x="4381022" y="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44" name="Freihandform 43"/>
              <p:cNvSpPr/>
              <p:nvPr/>
            </p:nvSpPr>
            <p:spPr>
              <a:xfrm>
                <a:off x="1991546" y="2879999"/>
                <a:ext cx="5793017" cy="551290"/>
              </a:xfrm>
              <a:custGeom>
                <a:avLst/>
                <a:gdLst>
                  <a:gd name="connsiteX0" fmla="*/ 0 w 5793017"/>
                  <a:gd name="connsiteY0" fmla="*/ 0 h 551290"/>
                  <a:gd name="connsiteX1" fmla="*/ 5193943 w 5793017"/>
                  <a:gd name="connsiteY1" fmla="*/ 0 h 551290"/>
                  <a:gd name="connsiteX2" fmla="*/ 5793017 w 5793017"/>
                  <a:gd name="connsiteY2" fmla="*/ 551290 h 551290"/>
                  <a:gd name="connsiteX3" fmla="*/ 0 w 5793017"/>
                  <a:gd name="connsiteY3" fmla="*/ 551290 h 551290"/>
                  <a:gd name="connsiteX4" fmla="*/ 0 w 5793017"/>
                  <a:gd name="connsiteY4" fmla="*/ 0 h 551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93017" h="551290">
                    <a:moveTo>
                      <a:pt x="0" y="0"/>
                    </a:moveTo>
                    <a:lnTo>
                      <a:pt x="5193943" y="0"/>
                    </a:lnTo>
                    <a:lnTo>
                      <a:pt x="5793017" y="551290"/>
                    </a:lnTo>
                    <a:lnTo>
                      <a:pt x="0" y="5512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41" name="Freihandform 40"/>
              <p:cNvSpPr/>
              <p:nvPr/>
            </p:nvSpPr>
            <p:spPr>
              <a:xfrm>
                <a:off x="1991545" y="3603370"/>
                <a:ext cx="6294800" cy="572628"/>
              </a:xfrm>
              <a:custGeom>
                <a:avLst/>
                <a:gdLst>
                  <a:gd name="connsiteX0" fmla="*/ 0 w 6294800"/>
                  <a:gd name="connsiteY0" fmla="*/ 0 h 572628"/>
                  <a:gd name="connsiteX1" fmla="*/ 5980013 w 6294800"/>
                  <a:gd name="connsiteY1" fmla="*/ 0 h 572628"/>
                  <a:gd name="connsiteX2" fmla="*/ 6294800 w 6294800"/>
                  <a:gd name="connsiteY2" fmla="*/ 289679 h 572628"/>
                  <a:gd name="connsiteX3" fmla="*/ 5987326 w 6294800"/>
                  <a:gd name="connsiteY3" fmla="*/ 572628 h 572628"/>
                  <a:gd name="connsiteX4" fmla="*/ 0 w 6294800"/>
                  <a:gd name="connsiteY4" fmla="*/ 572628 h 572628"/>
                  <a:gd name="connsiteX5" fmla="*/ 0 w 6294800"/>
                  <a:gd name="connsiteY5" fmla="*/ 0 h 572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94800" h="572628">
                    <a:moveTo>
                      <a:pt x="0" y="0"/>
                    </a:moveTo>
                    <a:lnTo>
                      <a:pt x="5980013" y="0"/>
                    </a:lnTo>
                    <a:lnTo>
                      <a:pt x="6294800" y="289679"/>
                    </a:lnTo>
                    <a:lnTo>
                      <a:pt x="5987326" y="572628"/>
                    </a:lnTo>
                    <a:lnTo>
                      <a:pt x="0" y="5726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8" name="Freihandform 37"/>
              <p:cNvSpPr/>
              <p:nvPr/>
            </p:nvSpPr>
            <p:spPr>
              <a:xfrm>
                <a:off x="1991546" y="4319999"/>
                <a:ext cx="5830845" cy="611467"/>
              </a:xfrm>
              <a:custGeom>
                <a:avLst/>
                <a:gdLst>
                  <a:gd name="connsiteX0" fmla="*/ 0 w 5830845"/>
                  <a:gd name="connsiteY0" fmla="*/ 0 h 611467"/>
                  <a:gd name="connsiteX1" fmla="*/ 5830845 w 5830845"/>
                  <a:gd name="connsiteY1" fmla="*/ 0 h 611467"/>
                  <a:gd name="connsiteX2" fmla="*/ 5166378 w 5830845"/>
                  <a:gd name="connsiteY2" fmla="*/ 611467 h 611467"/>
                  <a:gd name="connsiteX3" fmla="*/ 0 w 5830845"/>
                  <a:gd name="connsiteY3" fmla="*/ 611467 h 611467"/>
                  <a:gd name="connsiteX4" fmla="*/ 0 w 5830845"/>
                  <a:gd name="connsiteY4" fmla="*/ 0 h 611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30845" h="611467">
                    <a:moveTo>
                      <a:pt x="0" y="0"/>
                    </a:moveTo>
                    <a:lnTo>
                      <a:pt x="5830845" y="0"/>
                    </a:lnTo>
                    <a:lnTo>
                      <a:pt x="5166378" y="611467"/>
                    </a:lnTo>
                    <a:lnTo>
                      <a:pt x="0" y="611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5" name="Freihandform 34"/>
              <p:cNvSpPr/>
              <p:nvPr/>
            </p:nvSpPr>
            <p:spPr>
              <a:xfrm>
                <a:off x="1991545" y="5103546"/>
                <a:ext cx="4979382" cy="551364"/>
              </a:xfrm>
              <a:custGeom>
                <a:avLst/>
                <a:gdLst>
                  <a:gd name="connsiteX0" fmla="*/ 0 w 4979382"/>
                  <a:gd name="connsiteY0" fmla="*/ 0 h 551364"/>
                  <a:gd name="connsiteX1" fmla="*/ 4979382 w 4979382"/>
                  <a:gd name="connsiteY1" fmla="*/ 0 h 551364"/>
                  <a:gd name="connsiteX2" fmla="*/ 4381022 w 4979382"/>
                  <a:gd name="connsiteY2" fmla="*/ 550633 h 551364"/>
                  <a:gd name="connsiteX3" fmla="*/ 4381022 w 4979382"/>
                  <a:gd name="connsiteY3" fmla="*/ 551364 h 551364"/>
                  <a:gd name="connsiteX4" fmla="*/ 0 w 4979382"/>
                  <a:gd name="connsiteY4" fmla="*/ 551364 h 551364"/>
                  <a:gd name="connsiteX5" fmla="*/ 0 w 4979382"/>
                  <a:gd name="connsiteY5" fmla="*/ 0 h 551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79382" h="551364">
                    <a:moveTo>
                      <a:pt x="0" y="0"/>
                    </a:moveTo>
                    <a:lnTo>
                      <a:pt x="4979382" y="0"/>
                    </a:lnTo>
                    <a:lnTo>
                      <a:pt x="4381022" y="550633"/>
                    </a:lnTo>
                    <a:lnTo>
                      <a:pt x="4381022" y="551364"/>
                    </a:lnTo>
                    <a:lnTo>
                      <a:pt x="0" y="5513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" name="Textfeld 3"/>
            <p:cNvSpPr txBox="1"/>
            <p:nvPr/>
          </p:nvSpPr>
          <p:spPr>
            <a:xfrm>
              <a:off x="2207568" y="2276872"/>
              <a:ext cx="4032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2" name="Textfeld 51"/>
            <p:cNvSpPr txBox="1"/>
            <p:nvPr/>
          </p:nvSpPr>
          <p:spPr>
            <a:xfrm>
              <a:off x="2207568" y="2945984"/>
              <a:ext cx="4032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2207568" y="3717032"/>
              <a:ext cx="4032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207568" y="4454927"/>
              <a:ext cx="4032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2207568" y="5229200"/>
              <a:ext cx="4032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5" name="Rechteck 24"/>
          <p:cNvSpPr/>
          <p:nvPr/>
        </p:nvSpPr>
        <p:spPr>
          <a:xfrm>
            <a:off x="7690490" y="2927181"/>
            <a:ext cx="3744862" cy="184577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feld 25"/>
          <p:cNvSpPr txBox="1"/>
          <p:nvPr/>
        </p:nvSpPr>
        <p:spPr>
          <a:xfrm>
            <a:off x="7875852" y="3147481"/>
            <a:ext cx="3374137" cy="1505656"/>
          </a:xfrm>
          <a:prstGeom prst="rect">
            <a:avLst/>
          </a:prstGeom>
          <a:noFill/>
        </p:spPr>
        <p:txBody>
          <a:bodyPr wrap="square" rtlCol="0" anchor="t" anchorCtr="0">
            <a:normAutofit/>
          </a:bodyPr>
          <a:lstStyle/>
          <a:p>
            <a:pPr marL="342900" indent="-342900">
              <a:lnSpc>
                <a:spcPct val="150000"/>
              </a:lnSpc>
              <a:buClr>
                <a:srgbClr val="1D2262"/>
              </a:buClr>
              <a:buFont typeface="Helvetica" charset="0"/>
              <a:buChar char="●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ste Ebene</a:t>
            </a:r>
          </a:p>
          <a:p>
            <a:pPr marL="800100" lvl="1" indent="-342900">
              <a:lnSpc>
                <a:spcPct val="150000"/>
              </a:lnSpc>
              <a:buFont typeface="Courier New" charset="0"/>
              <a:buChar char="o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weite Ebene</a:t>
            </a:r>
          </a:p>
          <a:p>
            <a:pPr marL="1257300" lvl="2" indent="-342900">
              <a:lnSpc>
                <a:spcPct val="150000"/>
              </a:lnSpc>
              <a:buFont typeface="Symbol" charset="2"/>
              <a:buChar char="-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ritte Ebene</a:t>
            </a:r>
          </a:p>
          <a:p>
            <a:pPr>
              <a:lnSpc>
                <a:spcPct val="150000"/>
              </a:lnSpc>
            </a:pPr>
            <a:endParaRPr lang="de-DE" sz="14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Abgerundetes Rechteck 26"/>
          <p:cNvSpPr/>
          <p:nvPr/>
        </p:nvSpPr>
        <p:spPr>
          <a:xfrm>
            <a:off x="7690490" y="2351389"/>
            <a:ext cx="374486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200855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ariatio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ung 1"/>
          <p:cNvGrpSpPr/>
          <p:nvPr/>
        </p:nvGrpSpPr>
        <p:grpSpPr>
          <a:xfrm>
            <a:off x="1991545" y="1511899"/>
            <a:ext cx="8602884" cy="3995867"/>
            <a:chOff x="1991544" y="1511899"/>
            <a:chExt cx="8759825" cy="4068763"/>
          </a:xfrm>
        </p:grpSpPr>
        <p:sp>
          <p:nvSpPr>
            <p:cNvPr id="21" name="Freeform 2"/>
            <p:cNvSpPr>
              <a:spLocks/>
            </p:cNvSpPr>
            <p:nvPr/>
          </p:nvSpPr>
          <p:spPr bwMode="blackWhite">
            <a:xfrm>
              <a:off x="7752581" y="1511958"/>
              <a:ext cx="2998788" cy="4045024"/>
            </a:xfrm>
            <a:prstGeom prst="chevron">
              <a:avLst>
                <a:gd name="adj" fmla="val 26676"/>
              </a:avLst>
            </a:prstGeom>
            <a:solidFill>
              <a:srgbClr val="E3E8EC"/>
            </a:solidFill>
            <a:ln w="12700" algn="ctr">
              <a:noFill/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" name="Freeform 3"/>
            <p:cNvSpPr>
              <a:spLocks/>
            </p:cNvSpPr>
            <p:nvPr/>
          </p:nvSpPr>
          <p:spPr bwMode="blackWhite">
            <a:xfrm>
              <a:off x="4565519" y="1515147"/>
              <a:ext cx="3787671" cy="1962583"/>
            </a:xfrm>
            <a:custGeom>
              <a:avLst/>
              <a:gdLst>
                <a:gd name="T0" fmla="*/ 2147483647 w 1636"/>
                <a:gd name="T1" fmla="*/ 0 h 867"/>
                <a:gd name="T2" fmla="*/ 2147483647 w 1636"/>
                <a:gd name="T3" fmla="*/ 2147483647 h 867"/>
                <a:gd name="T4" fmla="*/ 2147483647 w 1636"/>
                <a:gd name="T5" fmla="*/ 2147483647 h 867"/>
                <a:gd name="T6" fmla="*/ 0 w 1636"/>
                <a:gd name="T7" fmla="*/ 0 h 867"/>
                <a:gd name="T8" fmla="*/ 2147483647 w 1636"/>
                <a:gd name="T9" fmla="*/ 0 h 8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36"/>
                <a:gd name="T16" fmla="*/ 0 h 867"/>
                <a:gd name="T17" fmla="*/ 1636 w 1636"/>
                <a:gd name="T18" fmla="*/ 867 h 86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36" h="867">
                  <a:moveTo>
                    <a:pt x="1298" y="0"/>
                  </a:moveTo>
                  <a:lnTo>
                    <a:pt x="1635" y="866"/>
                  </a:lnTo>
                  <a:lnTo>
                    <a:pt x="368" y="866"/>
                  </a:lnTo>
                  <a:lnTo>
                    <a:pt x="0" y="0"/>
                  </a:lnTo>
                  <a:lnTo>
                    <a:pt x="1298" y="0"/>
                  </a:lnTo>
                </a:path>
              </a:pathLst>
            </a:custGeom>
            <a:solidFill>
              <a:srgbClr val="E3E8EC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" name="Freeform 4"/>
            <p:cNvSpPr>
              <a:spLocks/>
            </p:cNvSpPr>
            <p:nvPr/>
          </p:nvSpPr>
          <p:spPr bwMode="blackWhite">
            <a:xfrm>
              <a:off x="4565519" y="3618077"/>
              <a:ext cx="3787671" cy="1962585"/>
            </a:xfrm>
            <a:custGeom>
              <a:avLst/>
              <a:gdLst>
                <a:gd name="T0" fmla="*/ 2147483647 w 1636"/>
                <a:gd name="T1" fmla="*/ 2147483647 h 867"/>
                <a:gd name="T2" fmla="*/ 2147483647 w 1636"/>
                <a:gd name="T3" fmla="*/ 0 h 867"/>
                <a:gd name="T4" fmla="*/ 2147483647 w 1636"/>
                <a:gd name="T5" fmla="*/ 0 h 867"/>
                <a:gd name="T6" fmla="*/ 0 w 1636"/>
                <a:gd name="T7" fmla="*/ 2147483647 h 867"/>
                <a:gd name="T8" fmla="*/ 2147483647 w 1636"/>
                <a:gd name="T9" fmla="*/ 2147483647 h 8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36"/>
                <a:gd name="T16" fmla="*/ 0 h 867"/>
                <a:gd name="T17" fmla="*/ 1636 w 1636"/>
                <a:gd name="T18" fmla="*/ 867 h 86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36" h="867">
                  <a:moveTo>
                    <a:pt x="1298" y="866"/>
                  </a:moveTo>
                  <a:lnTo>
                    <a:pt x="1635" y="0"/>
                  </a:lnTo>
                  <a:lnTo>
                    <a:pt x="352" y="0"/>
                  </a:lnTo>
                  <a:lnTo>
                    <a:pt x="0" y="866"/>
                  </a:lnTo>
                  <a:lnTo>
                    <a:pt x="1298" y="866"/>
                  </a:lnTo>
                </a:path>
              </a:pathLst>
            </a:custGeom>
            <a:solidFill>
              <a:srgbClr val="E3E8EC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" name="Freeform 5"/>
            <p:cNvSpPr>
              <a:spLocks/>
            </p:cNvSpPr>
            <p:nvPr/>
          </p:nvSpPr>
          <p:spPr bwMode="blackWhite">
            <a:xfrm>
              <a:off x="1991544" y="1511899"/>
              <a:ext cx="3245914" cy="4045142"/>
            </a:xfrm>
            <a:custGeom>
              <a:avLst/>
              <a:gdLst>
                <a:gd name="T0" fmla="*/ 2147483647 w 1402"/>
                <a:gd name="T1" fmla="*/ 2147483647 h 1787"/>
                <a:gd name="T2" fmla="*/ 2147483647 w 1402"/>
                <a:gd name="T3" fmla="*/ 0 h 1787"/>
                <a:gd name="T4" fmla="*/ 0 w 1402"/>
                <a:gd name="T5" fmla="*/ 0 h 1787"/>
                <a:gd name="T6" fmla="*/ 0 w 1402"/>
                <a:gd name="T7" fmla="*/ 2147483647 h 1787"/>
                <a:gd name="T8" fmla="*/ 2147483647 w 1402"/>
                <a:gd name="T9" fmla="*/ 2147483647 h 1787"/>
                <a:gd name="T10" fmla="*/ 2147483647 w 1402"/>
                <a:gd name="T11" fmla="*/ 2147483647 h 178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02"/>
                <a:gd name="T19" fmla="*/ 0 h 1787"/>
                <a:gd name="T20" fmla="*/ 1402 w 1402"/>
                <a:gd name="T21" fmla="*/ 1787 h 178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02" h="1787">
                  <a:moveTo>
                    <a:pt x="1401" y="884"/>
                  </a:moveTo>
                  <a:lnTo>
                    <a:pt x="1032" y="0"/>
                  </a:lnTo>
                  <a:lnTo>
                    <a:pt x="0" y="0"/>
                  </a:lnTo>
                  <a:lnTo>
                    <a:pt x="0" y="1786"/>
                  </a:lnTo>
                  <a:lnTo>
                    <a:pt x="1032" y="1786"/>
                  </a:lnTo>
                  <a:lnTo>
                    <a:pt x="1401" y="884"/>
                  </a:lnTo>
                </a:path>
              </a:pathLst>
            </a:custGeom>
            <a:solidFill>
              <a:srgbClr val="E3E8EC"/>
            </a:solidFill>
            <a:ln w="12700" algn="ctr">
              <a:noFill/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sp>
        <p:nvSpPr>
          <p:cNvPr id="1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359441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ariatio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ung 2"/>
          <p:cNvGrpSpPr/>
          <p:nvPr/>
        </p:nvGrpSpPr>
        <p:grpSpPr>
          <a:xfrm>
            <a:off x="623392" y="2963917"/>
            <a:ext cx="9881607" cy="2463600"/>
            <a:chOff x="658907" y="2905078"/>
            <a:chExt cx="10117613" cy="2522439"/>
          </a:xfrm>
        </p:grpSpPr>
        <p:sp>
          <p:nvSpPr>
            <p:cNvPr id="34" name="Freihandform 33"/>
            <p:cNvSpPr/>
            <p:nvPr/>
          </p:nvSpPr>
          <p:spPr>
            <a:xfrm>
              <a:off x="4631662" y="2905078"/>
              <a:ext cx="6144858" cy="2522439"/>
            </a:xfrm>
            <a:custGeom>
              <a:avLst/>
              <a:gdLst>
                <a:gd name="connsiteX0" fmla="*/ 2879725 w 3972755"/>
                <a:gd name="connsiteY0" fmla="*/ 0 h 1630128"/>
                <a:gd name="connsiteX1" fmla="*/ 3972755 w 3972755"/>
                <a:gd name="connsiteY1" fmla="*/ 815064 h 1630128"/>
                <a:gd name="connsiteX2" fmla="*/ 2879725 w 3972755"/>
                <a:gd name="connsiteY2" fmla="*/ 1630128 h 1630128"/>
                <a:gd name="connsiteX3" fmla="*/ 2879725 w 3972755"/>
                <a:gd name="connsiteY3" fmla="*/ 1417954 h 1630128"/>
                <a:gd name="connsiteX4" fmla="*/ 0 w 3972755"/>
                <a:gd name="connsiteY4" fmla="*/ 1417954 h 1630128"/>
                <a:gd name="connsiteX5" fmla="*/ 0 w 3972755"/>
                <a:gd name="connsiteY5" fmla="*/ 554354 h 1630128"/>
                <a:gd name="connsiteX6" fmla="*/ 2879725 w 3972755"/>
                <a:gd name="connsiteY6" fmla="*/ 231774 h 163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2755" h="1630128">
                  <a:moveTo>
                    <a:pt x="2879725" y="0"/>
                  </a:moveTo>
                  <a:lnTo>
                    <a:pt x="3972755" y="815064"/>
                  </a:lnTo>
                  <a:lnTo>
                    <a:pt x="2879725" y="1630128"/>
                  </a:lnTo>
                  <a:lnTo>
                    <a:pt x="2879725" y="1417954"/>
                  </a:lnTo>
                  <a:lnTo>
                    <a:pt x="0" y="1417954"/>
                  </a:lnTo>
                  <a:lnTo>
                    <a:pt x="0" y="554354"/>
                  </a:lnTo>
                  <a:lnTo>
                    <a:pt x="2879725" y="231774"/>
                  </a:lnTo>
                  <a:close/>
                </a:path>
              </a:pathLst>
            </a:custGeom>
            <a:solidFill>
              <a:srgbClr val="00AAFF"/>
            </a:solidFill>
            <a:ln w="38100">
              <a:solidFill>
                <a:srgbClr val="F7F7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/>
          </p:nvSpPr>
          <p:spPr>
            <a:xfrm>
              <a:off x="2822456" y="3284537"/>
              <a:ext cx="5047915" cy="2072149"/>
            </a:xfrm>
            <a:custGeom>
              <a:avLst/>
              <a:gdLst>
                <a:gd name="connsiteX0" fmla="*/ 2879725 w 3972755"/>
                <a:gd name="connsiteY0" fmla="*/ 0 h 1630128"/>
                <a:gd name="connsiteX1" fmla="*/ 3972755 w 3972755"/>
                <a:gd name="connsiteY1" fmla="*/ 815064 h 1630128"/>
                <a:gd name="connsiteX2" fmla="*/ 2879725 w 3972755"/>
                <a:gd name="connsiteY2" fmla="*/ 1630128 h 1630128"/>
                <a:gd name="connsiteX3" fmla="*/ 2879725 w 3972755"/>
                <a:gd name="connsiteY3" fmla="*/ 1417954 h 1630128"/>
                <a:gd name="connsiteX4" fmla="*/ 0 w 3972755"/>
                <a:gd name="connsiteY4" fmla="*/ 1417954 h 1630128"/>
                <a:gd name="connsiteX5" fmla="*/ 0 w 3972755"/>
                <a:gd name="connsiteY5" fmla="*/ 554354 h 1630128"/>
                <a:gd name="connsiteX6" fmla="*/ 2879725 w 3972755"/>
                <a:gd name="connsiteY6" fmla="*/ 231774 h 163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2755" h="1630128">
                  <a:moveTo>
                    <a:pt x="2879725" y="0"/>
                  </a:moveTo>
                  <a:lnTo>
                    <a:pt x="3972755" y="815064"/>
                  </a:lnTo>
                  <a:lnTo>
                    <a:pt x="2879725" y="1630128"/>
                  </a:lnTo>
                  <a:lnTo>
                    <a:pt x="2879725" y="1417954"/>
                  </a:lnTo>
                  <a:lnTo>
                    <a:pt x="0" y="1417954"/>
                  </a:lnTo>
                  <a:lnTo>
                    <a:pt x="0" y="554354"/>
                  </a:lnTo>
                  <a:lnTo>
                    <a:pt x="2879725" y="231774"/>
                  </a:lnTo>
                  <a:close/>
                </a:path>
              </a:pathLst>
            </a:custGeom>
            <a:solidFill>
              <a:srgbClr val="2F52A0"/>
            </a:solidFill>
            <a:ln w="38100">
              <a:solidFill>
                <a:srgbClr val="F7F7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/>
          </p:nvSpPr>
          <p:spPr>
            <a:xfrm>
              <a:off x="658907" y="3666807"/>
              <a:ext cx="3972755" cy="1630800"/>
            </a:xfrm>
            <a:custGeom>
              <a:avLst/>
              <a:gdLst>
                <a:gd name="connsiteX0" fmla="*/ 2879725 w 3972755"/>
                <a:gd name="connsiteY0" fmla="*/ 0 h 1630128"/>
                <a:gd name="connsiteX1" fmla="*/ 3972755 w 3972755"/>
                <a:gd name="connsiteY1" fmla="*/ 815064 h 1630128"/>
                <a:gd name="connsiteX2" fmla="*/ 2879725 w 3972755"/>
                <a:gd name="connsiteY2" fmla="*/ 1630128 h 1630128"/>
                <a:gd name="connsiteX3" fmla="*/ 2879725 w 3972755"/>
                <a:gd name="connsiteY3" fmla="*/ 1417954 h 1630128"/>
                <a:gd name="connsiteX4" fmla="*/ 0 w 3972755"/>
                <a:gd name="connsiteY4" fmla="*/ 1417954 h 1630128"/>
                <a:gd name="connsiteX5" fmla="*/ 0 w 3972755"/>
                <a:gd name="connsiteY5" fmla="*/ 554354 h 1630128"/>
                <a:gd name="connsiteX6" fmla="*/ 2879725 w 3972755"/>
                <a:gd name="connsiteY6" fmla="*/ 231774 h 1630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72755" h="1630128">
                  <a:moveTo>
                    <a:pt x="2879725" y="0"/>
                  </a:moveTo>
                  <a:lnTo>
                    <a:pt x="3972755" y="815064"/>
                  </a:lnTo>
                  <a:lnTo>
                    <a:pt x="2879725" y="1630128"/>
                  </a:lnTo>
                  <a:lnTo>
                    <a:pt x="2879725" y="1417954"/>
                  </a:lnTo>
                  <a:lnTo>
                    <a:pt x="0" y="1417954"/>
                  </a:lnTo>
                  <a:lnTo>
                    <a:pt x="0" y="554354"/>
                  </a:lnTo>
                  <a:lnTo>
                    <a:pt x="2879725" y="231774"/>
                  </a:lnTo>
                  <a:close/>
                </a:path>
              </a:pathLst>
            </a:custGeom>
            <a:solidFill>
              <a:srgbClr val="1D2262"/>
            </a:solidFill>
            <a:ln w="38100">
              <a:solidFill>
                <a:srgbClr val="F7F7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122429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ariatio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ung 3"/>
          <p:cNvGrpSpPr/>
          <p:nvPr/>
        </p:nvGrpSpPr>
        <p:grpSpPr>
          <a:xfrm>
            <a:off x="623392" y="1268760"/>
            <a:ext cx="9874496" cy="4608983"/>
            <a:chOff x="623392" y="1484313"/>
            <a:chExt cx="9874496" cy="4608983"/>
          </a:xfrm>
        </p:grpSpPr>
        <p:sp>
          <p:nvSpPr>
            <p:cNvPr id="17" name="Freeform 3"/>
            <p:cNvSpPr>
              <a:spLocks/>
            </p:cNvSpPr>
            <p:nvPr/>
          </p:nvSpPr>
          <p:spPr bwMode="blackWhite">
            <a:xfrm>
              <a:off x="623392" y="1484313"/>
              <a:ext cx="9874496" cy="4608983"/>
            </a:xfrm>
            <a:custGeom>
              <a:avLst/>
              <a:gdLst>
                <a:gd name="T0" fmla="*/ 0 w 3447"/>
                <a:gd name="T1" fmla="*/ 2147483647 h 1499"/>
                <a:gd name="T2" fmla="*/ 0 w 3447"/>
                <a:gd name="T3" fmla="*/ 2147483647 h 1499"/>
                <a:gd name="T4" fmla="*/ 2147483647 w 3447"/>
                <a:gd name="T5" fmla="*/ 2147483647 h 1499"/>
                <a:gd name="T6" fmla="*/ 2147483647 w 3447"/>
                <a:gd name="T7" fmla="*/ 2147483647 h 1499"/>
                <a:gd name="T8" fmla="*/ 2147483647 w 3447"/>
                <a:gd name="T9" fmla="*/ 2147483647 h 1499"/>
                <a:gd name="T10" fmla="*/ 2147483647 w 3447"/>
                <a:gd name="T11" fmla="*/ 2147483647 h 1499"/>
                <a:gd name="T12" fmla="*/ 2147483647 w 3447"/>
                <a:gd name="T13" fmla="*/ 2147483647 h 1499"/>
                <a:gd name="T14" fmla="*/ 2147483647 w 3447"/>
                <a:gd name="T15" fmla="*/ 2147483647 h 1499"/>
                <a:gd name="T16" fmla="*/ 2147483647 w 3447"/>
                <a:gd name="T17" fmla="*/ 2147483647 h 1499"/>
                <a:gd name="T18" fmla="*/ 2147483647 w 3447"/>
                <a:gd name="T19" fmla="*/ 2147483647 h 1499"/>
                <a:gd name="T20" fmla="*/ 2147483647 w 3447"/>
                <a:gd name="T21" fmla="*/ 2147483647 h 1499"/>
                <a:gd name="T22" fmla="*/ 2147483647 w 3447"/>
                <a:gd name="T23" fmla="*/ 2147483647 h 1499"/>
                <a:gd name="T24" fmla="*/ 2147483647 w 3447"/>
                <a:gd name="T25" fmla="*/ 2147483647 h 1499"/>
                <a:gd name="T26" fmla="*/ 2147483647 w 3447"/>
                <a:gd name="T27" fmla="*/ 2147483647 h 1499"/>
                <a:gd name="T28" fmla="*/ 2147483647 w 3447"/>
                <a:gd name="T29" fmla="*/ 2147483647 h 1499"/>
                <a:gd name="T30" fmla="*/ 2147483647 w 3447"/>
                <a:gd name="T31" fmla="*/ 2147483647 h 1499"/>
                <a:gd name="T32" fmla="*/ 2147483647 w 3447"/>
                <a:gd name="T33" fmla="*/ 2147483647 h 1499"/>
                <a:gd name="T34" fmla="*/ 2147483647 w 3447"/>
                <a:gd name="T35" fmla="*/ 2147483647 h 1499"/>
                <a:gd name="T36" fmla="*/ 2147483647 w 3447"/>
                <a:gd name="T37" fmla="*/ 2147483647 h 1499"/>
                <a:gd name="T38" fmla="*/ 2147483647 w 3447"/>
                <a:gd name="T39" fmla="*/ 2147483647 h 1499"/>
                <a:gd name="T40" fmla="*/ 2147483647 w 3447"/>
                <a:gd name="T41" fmla="*/ 2147483647 h 1499"/>
                <a:gd name="T42" fmla="*/ 2147483647 w 3447"/>
                <a:gd name="T43" fmla="*/ 2147483647 h 1499"/>
                <a:gd name="T44" fmla="*/ 2147483647 w 3447"/>
                <a:gd name="T45" fmla="*/ 2147483647 h 1499"/>
                <a:gd name="T46" fmla="*/ 2147483647 w 3447"/>
                <a:gd name="T47" fmla="*/ 2147483647 h 1499"/>
                <a:gd name="T48" fmla="*/ 2147483647 w 3447"/>
                <a:gd name="T49" fmla="*/ 2147483647 h 1499"/>
                <a:gd name="T50" fmla="*/ 2147483647 w 3447"/>
                <a:gd name="T51" fmla="*/ 2147483647 h 1499"/>
                <a:gd name="T52" fmla="*/ 2147483647 w 3447"/>
                <a:gd name="T53" fmla="*/ 2147483647 h 1499"/>
                <a:gd name="T54" fmla="*/ 2147483647 w 3447"/>
                <a:gd name="T55" fmla="*/ 2147483647 h 1499"/>
                <a:gd name="T56" fmla="*/ 2147483647 w 3447"/>
                <a:gd name="T57" fmla="*/ 2147483647 h 1499"/>
                <a:gd name="T58" fmla="*/ 2147483647 w 3447"/>
                <a:gd name="T59" fmla="*/ 2147483647 h 1499"/>
                <a:gd name="T60" fmla="*/ 2147483647 w 3447"/>
                <a:gd name="T61" fmla="*/ 2147483647 h 1499"/>
                <a:gd name="T62" fmla="*/ 2147483647 w 3447"/>
                <a:gd name="T63" fmla="*/ 2147483647 h 1499"/>
                <a:gd name="T64" fmla="*/ 2147483647 w 3447"/>
                <a:gd name="T65" fmla="*/ 2147483647 h 1499"/>
                <a:gd name="T66" fmla="*/ 2147483647 w 3447"/>
                <a:gd name="T67" fmla="*/ 2147483647 h 1499"/>
                <a:gd name="T68" fmla="*/ 2147483647 w 3447"/>
                <a:gd name="T69" fmla="*/ 2147483647 h 1499"/>
                <a:gd name="T70" fmla="*/ 2147483647 w 3447"/>
                <a:gd name="T71" fmla="*/ 2147483647 h 1499"/>
                <a:gd name="T72" fmla="*/ 2147483647 w 3447"/>
                <a:gd name="T73" fmla="*/ 2147483647 h 1499"/>
                <a:gd name="T74" fmla="*/ 2147483647 w 3447"/>
                <a:gd name="T75" fmla="*/ 2147483647 h 1499"/>
                <a:gd name="T76" fmla="*/ 2147483647 w 3447"/>
                <a:gd name="T77" fmla="*/ 2147483647 h 1499"/>
                <a:gd name="T78" fmla="*/ 2147483647 w 3447"/>
                <a:gd name="T79" fmla="*/ 2147483647 h 1499"/>
                <a:gd name="T80" fmla="*/ 2147483647 w 3447"/>
                <a:gd name="T81" fmla="*/ 0 h 1499"/>
                <a:gd name="T82" fmla="*/ 2147483647 w 3447"/>
                <a:gd name="T83" fmla="*/ 2147483647 h 1499"/>
                <a:gd name="T84" fmla="*/ 2147483647 w 3447"/>
                <a:gd name="T85" fmla="*/ 2147483647 h 1499"/>
                <a:gd name="T86" fmla="*/ 2147483647 w 3447"/>
                <a:gd name="T87" fmla="*/ 2147483647 h 1499"/>
                <a:gd name="T88" fmla="*/ 2147483647 w 3447"/>
                <a:gd name="T89" fmla="*/ 2147483647 h 1499"/>
                <a:gd name="T90" fmla="*/ 2147483647 w 3447"/>
                <a:gd name="T91" fmla="*/ 2147483647 h 1499"/>
                <a:gd name="T92" fmla="*/ 2147483647 w 3447"/>
                <a:gd name="T93" fmla="*/ 2147483647 h 1499"/>
                <a:gd name="T94" fmla="*/ 2147483647 w 3447"/>
                <a:gd name="T95" fmla="*/ 2147483647 h 1499"/>
                <a:gd name="T96" fmla="*/ 2147483647 w 3447"/>
                <a:gd name="T97" fmla="*/ 2147483647 h 1499"/>
                <a:gd name="T98" fmla="*/ 2147483647 w 3447"/>
                <a:gd name="T99" fmla="*/ 2147483647 h 1499"/>
                <a:gd name="T100" fmla="*/ 2147483647 w 3447"/>
                <a:gd name="T101" fmla="*/ 2147483647 h 1499"/>
                <a:gd name="T102" fmla="*/ 2147483647 w 3447"/>
                <a:gd name="T103" fmla="*/ 2147483647 h 1499"/>
                <a:gd name="T104" fmla="*/ 2147483647 w 3447"/>
                <a:gd name="T105" fmla="*/ 2147483647 h 1499"/>
                <a:gd name="T106" fmla="*/ 2147483647 w 3447"/>
                <a:gd name="T107" fmla="*/ 2147483647 h 1499"/>
                <a:gd name="T108" fmla="*/ 2147483647 w 3447"/>
                <a:gd name="T109" fmla="*/ 2147483647 h 1499"/>
                <a:gd name="T110" fmla="*/ 2147483647 w 3447"/>
                <a:gd name="T111" fmla="*/ 2147483647 h 1499"/>
                <a:gd name="T112" fmla="*/ 2147483647 w 3447"/>
                <a:gd name="T113" fmla="*/ 2147483647 h 1499"/>
                <a:gd name="T114" fmla="*/ 2147483647 w 3447"/>
                <a:gd name="T115" fmla="*/ 2147483647 h 1499"/>
                <a:gd name="T116" fmla="*/ 2147483647 w 3447"/>
                <a:gd name="T117" fmla="*/ 2147483647 h 1499"/>
                <a:gd name="T118" fmla="*/ 2147483647 w 3447"/>
                <a:gd name="T119" fmla="*/ 2147483647 h 1499"/>
                <a:gd name="T120" fmla="*/ 0 w 3447"/>
                <a:gd name="T121" fmla="*/ 2147483647 h 14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47"/>
                <a:gd name="T184" fmla="*/ 0 h 1499"/>
                <a:gd name="T185" fmla="*/ 3447 w 3447"/>
                <a:gd name="T186" fmla="*/ 1499 h 149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47" h="1499">
                  <a:moveTo>
                    <a:pt x="0" y="411"/>
                  </a:moveTo>
                  <a:lnTo>
                    <a:pt x="0" y="1360"/>
                  </a:lnTo>
                  <a:lnTo>
                    <a:pt x="3127" y="1359"/>
                  </a:lnTo>
                  <a:lnTo>
                    <a:pt x="3125" y="1498"/>
                  </a:lnTo>
                  <a:lnTo>
                    <a:pt x="3446" y="1121"/>
                  </a:lnTo>
                  <a:lnTo>
                    <a:pt x="3124" y="726"/>
                  </a:lnTo>
                  <a:lnTo>
                    <a:pt x="3124" y="871"/>
                  </a:lnTo>
                  <a:lnTo>
                    <a:pt x="2663" y="872"/>
                  </a:lnTo>
                  <a:lnTo>
                    <a:pt x="2202" y="872"/>
                  </a:lnTo>
                  <a:lnTo>
                    <a:pt x="1741" y="871"/>
                  </a:lnTo>
                  <a:lnTo>
                    <a:pt x="1880" y="861"/>
                  </a:lnTo>
                  <a:lnTo>
                    <a:pt x="2019" y="849"/>
                  </a:lnTo>
                  <a:lnTo>
                    <a:pt x="2157" y="834"/>
                  </a:lnTo>
                  <a:lnTo>
                    <a:pt x="2295" y="816"/>
                  </a:lnTo>
                  <a:lnTo>
                    <a:pt x="2432" y="796"/>
                  </a:lnTo>
                  <a:lnTo>
                    <a:pt x="2570" y="772"/>
                  </a:lnTo>
                  <a:lnTo>
                    <a:pt x="2706" y="747"/>
                  </a:lnTo>
                  <a:lnTo>
                    <a:pt x="2843" y="718"/>
                  </a:lnTo>
                  <a:lnTo>
                    <a:pt x="2858" y="781"/>
                  </a:lnTo>
                  <a:lnTo>
                    <a:pt x="2874" y="843"/>
                  </a:lnTo>
                  <a:lnTo>
                    <a:pt x="3037" y="496"/>
                  </a:lnTo>
                  <a:lnTo>
                    <a:pt x="2728" y="260"/>
                  </a:lnTo>
                  <a:lnTo>
                    <a:pt x="2766" y="399"/>
                  </a:lnTo>
                  <a:lnTo>
                    <a:pt x="2598" y="437"/>
                  </a:lnTo>
                  <a:lnTo>
                    <a:pt x="2431" y="473"/>
                  </a:lnTo>
                  <a:lnTo>
                    <a:pt x="2262" y="505"/>
                  </a:lnTo>
                  <a:lnTo>
                    <a:pt x="2093" y="537"/>
                  </a:lnTo>
                  <a:lnTo>
                    <a:pt x="1923" y="565"/>
                  </a:lnTo>
                  <a:lnTo>
                    <a:pt x="1754" y="591"/>
                  </a:lnTo>
                  <a:lnTo>
                    <a:pt x="1806" y="566"/>
                  </a:lnTo>
                  <a:lnTo>
                    <a:pt x="1855" y="538"/>
                  </a:lnTo>
                  <a:lnTo>
                    <a:pt x="1904" y="509"/>
                  </a:lnTo>
                  <a:lnTo>
                    <a:pt x="1951" y="476"/>
                  </a:lnTo>
                  <a:lnTo>
                    <a:pt x="1996" y="441"/>
                  </a:lnTo>
                  <a:lnTo>
                    <a:pt x="2036" y="404"/>
                  </a:lnTo>
                  <a:lnTo>
                    <a:pt x="2072" y="366"/>
                  </a:lnTo>
                  <a:lnTo>
                    <a:pt x="2107" y="324"/>
                  </a:lnTo>
                  <a:lnTo>
                    <a:pt x="2138" y="281"/>
                  </a:lnTo>
                  <a:lnTo>
                    <a:pt x="2168" y="235"/>
                  </a:lnTo>
                  <a:lnTo>
                    <a:pt x="2251" y="307"/>
                  </a:lnTo>
                  <a:lnTo>
                    <a:pt x="2181" y="0"/>
                  </a:lnTo>
                  <a:lnTo>
                    <a:pt x="1872" y="6"/>
                  </a:lnTo>
                  <a:lnTo>
                    <a:pt x="1965" y="85"/>
                  </a:lnTo>
                  <a:lnTo>
                    <a:pt x="1939" y="125"/>
                  </a:lnTo>
                  <a:lnTo>
                    <a:pt x="1911" y="163"/>
                  </a:lnTo>
                  <a:lnTo>
                    <a:pt x="1880" y="198"/>
                  </a:lnTo>
                  <a:lnTo>
                    <a:pt x="1847" y="231"/>
                  </a:lnTo>
                  <a:lnTo>
                    <a:pt x="1811" y="262"/>
                  </a:lnTo>
                  <a:lnTo>
                    <a:pt x="1773" y="290"/>
                  </a:lnTo>
                  <a:lnTo>
                    <a:pt x="1732" y="315"/>
                  </a:lnTo>
                  <a:lnTo>
                    <a:pt x="1691" y="338"/>
                  </a:lnTo>
                  <a:lnTo>
                    <a:pt x="1648" y="358"/>
                  </a:lnTo>
                  <a:lnTo>
                    <a:pt x="1605" y="375"/>
                  </a:lnTo>
                  <a:lnTo>
                    <a:pt x="1559" y="388"/>
                  </a:lnTo>
                  <a:lnTo>
                    <a:pt x="1514" y="399"/>
                  </a:lnTo>
                  <a:lnTo>
                    <a:pt x="1468" y="406"/>
                  </a:lnTo>
                  <a:lnTo>
                    <a:pt x="1420" y="410"/>
                  </a:lnTo>
                  <a:lnTo>
                    <a:pt x="1373" y="411"/>
                  </a:lnTo>
                  <a:lnTo>
                    <a:pt x="808" y="412"/>
                  </a:lnTo>
                  <a:lnTo>
                    <a:pt x="808" y="411"/>
                  </a:lnTo>
                  <a:lnTo>
                    <a:pt x="0" y="411"/>
                  </a:lnTo>
                </a:path>
              </a:pathLst>
            </a:custGeom>
            <a:gradFill>
              <a:gsLst>
                <a:gs pos="0">
                  <a:srgbClr val="2F52A0"/>
                </a:gs>
                <a:gs pos="52000">
                  <a:srgbClr val="2F52A0"/>
                </a:gs>
                <a:gs pos="80000">
                  <a:srgbClr val="00AAFF"/>
                </a:gs>
              </a:gsLst>
              <a:lin ang="19200000" scaled="0"/>
            </a:gradFill>
            <a:ln w="12700" algn="ctr">
              <a:noFill/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983432" y="2899817"/>
              <a:ext cx="7056784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9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983432" y="3573016"/>
              <a:ext cx="7056784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9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983432" y="4653136"/>
              <a:ext cx="7056784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9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22726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lement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 Teile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Abgerundetes Rechteck 4"/>
          <p:cNvSpPr/>
          <p:nvPr/>
        </p:nvSpPr>
        <p:spPr>
          <a:xfrm>
            <a:off x="4913520" y="2088580"/>
            <a:ext cx="1848598" cy="68607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600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21" name="Abgerundetes Rechteck 20"/>
          <p:cNvSpPr/>
          <p:nvPr/>
        </p:nvSpPr>
        <p:spPr>
          <a:xfrm>
            <a:off x="6761031" y="3812924"/>
            <a:ext cx="1848598" cy="68607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600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066008" y="3812924"/>
            <a:ext cx="1848598" cy="68607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600" b="1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25" name="Line 10"/>
          <p:cNvSpPr>
            <a:spLocks noChangeShapeType="1"/>
          </p:cNvSpPr>
          <p:nvPr/>
        </p:nvSpPr>
        <p:spPr bwMode="blackWhite">
          <a:xfrm rot="2400000" flipH="1">
            <a:off x="4371189" y="2759871"/>
            <a:ext cx="3695" cy="908060"/>
          </a:xfrm>
          <a:prstGeom prst="line">
            <a:avLst/>
          </a:prstGeom>
          <a:noFill/>
          <a:ln w="15875">
            <a:solidFill>
              <a:srgbClr val="FFBC04"/>
            </a:solidFill>
            <a:prstDash val="solid"/>
            <a:round/>
            <a:headEnd type="triangle" w="lg" len="med"/>
            <a:tailEnd type="triangl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blackWhite">
          <a:xfrm rot="-2400000" flipH="1">
            <a:off x="7251509" y="2759871"/>
            <a:ext cx="3695" cy="908060"/>
          </a:xfrm>
          <a:prstGeom prst="line">
            <a:avLst/>
          </a:prstGeom>
          <a:noFill/>
          <a:ln w="15875">
            <a:solidFill>
              <a:srgbClr val="FFBC04"/>
            </a:solidFill>
            <a:prstDash val="solid"/>
            <a:round/>
            <a:headEnd type="triangle" w="lg" len="med"/>
            <a:tailEnd type="triangl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blackWhite">
          <a:xfrm rot="5400000" flipH="1">
            <a:off x="5828103" y="3714005"/>
            <a:ext cx="3695" cy="908060"/>
          </a:xfrm>
          <a:prstGeom prst="line">
            <a:avLst/>
          </a:prstGeom>
          <a:noFill/>
          <a:ln w="15875">
            <a:solidFill>
              <a:srgbClr val="FFBC04"/>
            </a:solidFill>
            <a:prstDash val="solid"/>
            <a:round/>
            <a:headEnd type="triangle" w="lg" len="med"/>
            <a:tailEnd type="triangl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519936" y="3090446"/>
            <a:ext cx="5910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7192259" y="2061397"/>
            <a:ext cx="1712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7355621" y="2363147"/>
            <a:ext cx="15486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599892" y="2637825"/>
            <a:ext cx="13044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8920451" y="3717032"/>
            <a:ext cx="1712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9083813" y="4018782"/>
            <a:ext cx="15486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9328084" y="4293460"/>
            <a:ext cx="13044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127448" y="3730631"/>
            <a:ext cx="1712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1290810" y="4032381"/>
            <a:ext cx="1548689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1055440" y="4307059"/>
            <a:ext cx="1304420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3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87774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lement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Teile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feld 27"/>
          <p:cNvSpPr txBox="1"/>
          <p:nvPr/>
        </p:nvSpPr>
        <p:spPr>
          <a:xfrm>
            <a:off x="6960096" y="1291468"/>
            <a:ext cx="1712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7123458" y="1593218"/>
            <a:ext cx="15486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367729" y="1867896"/>
            <a:ext cx="13044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8920451" y="2647581"/>
            <a:ext cx="1712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9083813" y="2949331"/>
            <a:ext cx="15486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9328084" y="3224009"/>
            <a:ext cx="13044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8344387" y="4305876"/>
            <a:ext cx="1712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8507749" y="4607626"/>
            <a:ext cx="15486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8752020" y="4882304"/>
            <a:ext cx="13044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grpSp>
        <p:nvGrpSpPr>
          <p:cNvPr id="9" name="Gruppierung 8"/>
          <p:cNvGrpSpPr/>
          <p:nvPr/>
        </p:nvGrpSpPr>
        <p:grpSpPr>
          <a:xfrm>
            <a:off x="2927648" y="1340768"/>
            <a:ext cx="5847950" cy="3728168"/>
            <a:chOff x="2719794" y="1485333"/>
            <a:chExt cx="6905868" cy="4402608"/>
          </a:xfrm>
        </p:grpSpPr>
        <p:sp>
          <p:nvSpPr>
            <p:cNvPr id="8" name="Textfeld 7"/>
            <p:cNvSpPr txBox="1"/>
            <p:nvPr/>
          </p:nvSpPr>
          <p:spPr>
            <a:xfrm>
              <a:off x="5785220" y="3441127"/>
              <a:ext cx="591059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" name="Oval 3"/>
            <p:cNvSpPr/>
            <p:nvPr/>
          </p:nvSpPr>
          <p:spPr>
            <a:xfrm>
              <a:off x="4167867" y="1628800"/>
              <a:ext cx="3988968" cy="3988968"/>
            </a:xfrm>
            <a:prstGeom prst="ellipse">
              <a:avLst/>
            </a:prstGeom>
            <a:noFill/>
            <a:ln w="15875" cmpd="sng">
              <a:solidFill>
                <a:srgbClr val="FFBC0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Abgerundetes Rechteck 4"/>
            <p:cNvSpPr/>
            <p:nvPr/>
          </p:nvSpPr>
          <p:spPr>
            <a:xfrm>
              <a:off x="5082232" y="1485333"/>
              <a:ext cx="2161510" cy="802208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1" name="Abgerundetes Rechteck 40"/>
            <p:cNvSpPr/>
            <p:nvPr/>
          </p:nvSpPr>
          <p:spPr>
            <a:xfrm>
              <a:off x="7464152" y="3068960"/>
              <a:ext cx="2161510" cy="802208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6" name="Abgerundetes Rechteck 45"/>
            <p:cNvSpPr/>
            <p:nvPr/>
          </p:nvSpPr>
          <p:spPr>
            <a:xfrm>
              <a:off x="2719794" y="3068960"/>
              <a:ext cx="2161510" cy="802208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1" name="Abgerundetes Rechteck 50"/>
            <p:cNvSpPr/>
            <p:nvPr/>
          </p:nvSpPr>
          <p:spPr>
            <a:xfrm>
              <a:off x="6752141" y="5085733"/>
              <a:ext cx="2161510" cy="802208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6" name="Abgerundetes Rechteck 55"/>
            <p:cNvSpPr/>
            <p:nvPr/>
          </p:nvSpPr>
          <p:spPr>
            <a:xfrm>
              <a:off x="3583789" y="5085733"/>
              <a:ext cx="2161510" cy="802208"/>
            </a:xfrm>
            <a:prstGeom prst="round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600" b="1" dirty="0"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60" name="Textfeld 59"/>
          <p:cNvSpPr txBox="1"/>
          <p:nvPr/>
        </p:nvSpPr>
        <p:spPr>
          <a:xfrm>
            <a:off x="1719653" y="4365104"/>
            <a:ext cx="1712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1883015" y="4666854"/>
            <a:ext cx="1548689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1647645" y="4941532"/>
            <a:ext cx="1304420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999573" y="2636912"/>
            <a:ext cx="1712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1162935" y="2938662"/>
            <a:ext cx="1548689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927565" y="3213340"/>
            <a:ext cx="1304420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3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83387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fei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ariation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ung 8"/>
          <p:cNvGrpSpPr/>
          <p:nvPr/>
        </p:nvGrpSpPr>
        <p:grpSpPr>
          <a:xfrm>
            <a:off x="2495600" y="920223"/>
            <a:ext cx="6947193" cy="4885041"/>
            <a:chOff x="2495600" y="1043334"/>
            <a:chExt cx="6947193" cy="4885041"/>
          </a:xfrm>
        </p:grpSpPr>
        <p:grpSp>
          <p:nvGrpSpPr>
            <p:cNvPr id="6" name="Gruppierung 5"/>
            <p:cNvGrpSpPr/>
            <p:nvPr/>
          </p:nvGrpSpPr>
          <p:grpSpPr>
            <a:xfrm>
              <a:off x="2495600" y="1043334"/>
              <a:ext cx="6696744" cy="4761930"/>
              <a:chOff x="2041149" y="1844824"/>
              <a:chExt cx="3751262" cy="3621088"/>
            </a:xfrm>
          </p:grpSpPr>
          <p:sp>
            <p:nvSpPr>
              <p:cNvPr id="28" name="AutoShape 3"/>
              <p:cNvSpPr>
                <a:spLocks noChangeArrowheads="1"/>
              </p:cNvSpPr>
              <p:nvPr/>
            </p:nvSpPr>
            <p:spPr bwMode="auto">
              <a:xfrm>
                <a:off x="3026986" y="3144987"/>
                <a:ext cx="1658938" cy="1555750"/>
              </a:xfrm>
              <a:prstGeom prst="triangle">
                <a:avLst>
                  <a:gd name="adj" fmla="val 50000"/>
                </a:avLst>
              </a:prstGeom>
              <a:solidFill>
                <a:srgbClr val="2F5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de-DE" altLang="de-DE" sz="1400">
                  <a:solidFill>
                    <a:schemeClr val="bg1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35" name="Freeform 4"/>
              <p:cNvSpPr>
                <a:spLocks/>
              </p:cNvSpPr>
              <p:nvPr/>
            </p:nvSpPr>
            <p:spPr bwMode="auto">
              <a:xfrm>
                <a:off x="2041149" y="2327424"/>
                <a:ext cx="2033587" cy="3138488"/>
              </a:xfrm>
              <a:custGeom>
                <a:avLst/>
                <a:gdLst>
                  <a:gd name="T0" fmla="*/ 0 w 986"/>
                  <a:gd name="T1" fmla="*/ 2147483647 h 1404"/>
                  <a:gd name="T2" fmla="*/ 2147483647 w 986"/>
                  <a:gd name="T3" fmla="*/ 0 h 1404"/>
                  <a:gd name="T4" fmla="*/ 2147483647 w 986"/>
                  <a:gd name="T5" fmla="*/ 2147483647 h 1404"/>
                  <a:gd name="T6" fmla="*/ 0 60000 65536"/>
                  <a:gd name="T7" fmla="*/ 0 60000 65536"/>
                  <a:gd name="T8" fmla="*/ 0 60000 65536"/>
                  <a:gd name="T9" fmla="*/ 0 w 986"/>
                  <a:gd name="T10" fmla="*/ 0 h 1404"/>
                  <a:gd name="T11" fmla="*/ 986 w 986"/>
                  <a:gd name="T12" fmla="*/ 1404 h 140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86" h="1404">
                    <a:moveTo>
                      <a:pt x="0" y="1404"/>
                    </a:moveTo>
                    <a:lnTo>
                      <a:pt x="814" y="0"/>
                    </a:lnTo>
                    <a:lnTo>
                      <a:pt x="986" y="329"/>
                    </a:lnTo>
                  </a:path>
                </a:pathLst>
              </a:custGeom>
              <a:noFill/>
              <a:ln w="15875">
                <a:solidFill>
                  <a:srgbClr val="FFBC04"/>
                </a:solidFill>
                <a:prstDash val="solid"/>
                <a:round/>
                <a:headEnd type="oval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36" name="Freeform 5"/>
              <p:cNvSpPr>
                <a:spLocks/>
              </p:cNvSpPr>
              <p:nvPr/>
            </p:nvSpPr>
            <p:spPr bwMode="auto">
              <a:xfrm>
                <a:off x="2444374" y="4616649"/>
                <a:ext cx="3348037" cy="630237"/>
              </a:xfrm>
              <a:custGeom>
                <a:avLst/>
                <a:gdLst>
                  <a:gd name="T0" fmla="*/ 2147483647 w 1623"/>
                  <a:gd name="T1" fmla="*/ 2147483647 h 281"/>
                  <a:gd name="T2" fmla="*/ 0 w 1623"/>
                  <a:gd name="T3" fmla="*/ 2147483647 h 281"/>
                  <a:gd name="T4" fmla="*/ 2147483647 w 1623"/>
                  <a:gd name="T5" fmla="*/ 0 h 281"/>
                  <a:gd name="T6" fmla="*/ 0 60000 65536"/>
                  <a:gd name="T7" fmla="*/ 0 60000 65536"/>
                  <a:gd name="T8" fmla="*/ 0 60000 65536"/>
                  <a:gd name="T9" fmla="*/ 0 w 1623"/>
                  <a:gd name="T10" fmla="*/ 0 h 281"/>
                  <a:gd name="T11" fmla="*/ 1623 w 1623"/>
                  <a:gd name="T12" fmla="*/ 281 h 28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23" h="281">
                    <a:moveTo>
                      <a:pt x="1623" y="281"/>
                    </a:moveTo>
                    <a:lnTo>
                      <a:pt x="0" y="277"/>
                    </a:lnTo>
                    <a:lnTo>
                      <a:pt x="174" y="0"/>
                    </a:lnTo>
                  </a:path>
                </a:pathLst>
              </a:custGeom>
              <a:noFill/>
              <a:ln w="15875">
                <a:solidFill>
                  <a:srgbClr val="FFBC04"/>
                </a:solidFill>
                <a:prstDash val="solid"/>
                <a:round/>
                <a:headEnd type="oval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37" name="Freeform 6"/>
              <p:cNvSpPr>
                <a:spLocks/>
              </p:cNvSpPr>
              <p:nvPr/>
            </p:nvSpPr>
            <p:spPr bwMode="auto">
              <a:xfrm>
                <a:off x="3763586" y="1844824"/>
                <a:ext cx="1668463" cy="3148013"/>
              </a:xfrm>
              <a:custGeom>
                <a:avLst/>
                <a:gdLst>
                  <a:gd name="T0" fmla="*/ 0 w 808"/>
                  <a:gd name="T1" fmla="*/ 0 h 1408"/>
                  <a:gd name="T2" fmla="*/ 2147483647 w 808"/>
                  <a:gd name="T3" fmla="*/ 2147483647 h 1408"/>
                  <a:gd name="T4" fmla="*/ 2147483647 w 808"/>
                  <a:gd name="T5" fmla="*/ 2147483647 h 1408"/>
                  <a:gd name="T6" fmla="*/ 0 60000 65536"/>
                  <a:gd name="T7" fmla="*/ 0 60000 65536"/>
                  <a:gd name="T8" fmla="*/ 0 60000 65536"/>
                  <a:gd name="T9" fmla="*/ 0 w 808"/>
                  <a:gd name="T10" fmla="*/ 0 h 1408"/>
                  <a:gd name="T11" fmla="*/ 808 w 808"/>
                  <a:gd name="T12" fmla="*/ 1408 h 140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08" h="1408">
                    <a:moveTo>
                      <a:pt x="0" y="0"/>
                    </a:moveTo>
                    <a:lnTo>
                      <a:pt x="808" y="1408"/>
                    </a:lnTo>
                    <a:lnTo>
                      <a:pt x="430" y="1407"/>
                    </a:lnTo>
                  </a:path>
                </a:pathLst>
              </a:custGeom>
              <a:noFill/>
              <a:ln w="15875">
                <a:solidFill>
                  <a:srgbClr val="FFBC04"/>
                </a:solidFill>
                <a:prstDash val="solid"/>
                <a:round/>
                <a:headEnd type="oval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8" name="Textfeld 7"/>
            <p:cNvSpPr txBox="1"/>
            <p:nvPr/>
          </p:nvSpPr>
          <p:spPr>
            <a:xfrm>
              <a:off x="8904312" y="4931876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3111621" y="5620598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4909447" y="1259468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45566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Eck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9"/>
          <p:cNvGrpSpPr>
            <a:grpSpLocks/>
          </p:cNvGrpSpPr>
          <p:nvPr/>
        </p:nvGrpSpPr>
        <p:grpSpPr bwMode="auto">
          <a:xfrm>
            <a:off x="1631504" y="1930292"/>
            <a:ext cx="8966628" cy="2789253"/>
            <a:chOff x="545935" y="2587051"/>
            <a:chExt cx="7978284" cy="2481838"/>
          </a:xfrm>
        </p:grpSpPr>
        <p:sp>
          <p:nvSpPr>
            <p:cNvPr id="21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622330" y="4836342"/>
              <a:ext cx="2750526" cy="16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de-DE" alt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Faktor 2</a:t>
              </a:r>
            </a:p>
          </p:txBody>
        </p:sp>
        <p:sp>
          <p:nvSpPr>
            <p:cNvPr id="22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666231" y="2639146"/>
              <a:ext cx="2750526" cy="16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de-DE" alt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Faktor 1</a:t>
              </a:r>
            </a:p>
          </p:txBody>
        </p:sp>
        <p:sp>
          <p:nvSpPr>
            <p:cNvPr id="25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15633" y="4845485"/>
              <a:ext cx="2750527" cy="16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Faktor 3</a:t>
              </a:r>
            </a:p>
          </p:txBody>
        </p:sp>
        <p:sp>
          <p:nvSpPr>
            <p:cNvPr id="26" name="Rectangl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60706" y="2587051"/>
              <a:ext cx="2750527" cy="16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28613" eaLnBrk="0" hangingPunct="0"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286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5201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Faktor</a:t>
              </a:r>
              <a:r>
                <a:rPr lang="en-US" alt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 4</a:t>
              </a:r>
            </a:p>
          </p:txBody>
        </p:sp>
        <p:sp>
          <p:nvSpPr>
            <p:cNvPr id="27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45935" y="2837965"/>
              <a:ext cx="3237035" cy="377825"/>
            </a:xfrm>
            <a:custGeom>
              <a:avLst/>
              <a:gdLst>
                <a:gd name="T0" fmla="*/ 2147483647 w 1982"/>
                <a:gd name="T1" fmla="*/ 2147483647 h 214"/>
                <a:gd name="T2" fmla="*/ 2147483647 w 1982"/>
                <a:gd name="T3" fmla="*/ 0 h 214"/>
                <a:gd name="T4" fmla="*/ 0 w 1982"/>
                <a:gd name="T5" fmla="*/ 0 h 214"/>
                <a:gd name="T6" fmla="*/ 0 60000 65536"/>
                <a:gd name="T7" fmla="*/ 0 60000 65536"/>
                <a:gd name="T8" fmla="*/ 0 60000 65536"/>
                <a:gd name="T9" fmla="*/ 0 w 1982"/>
                <a:gd name="T10" fmla="*/ 0 h 214"/>
                <a:gd name="T11" fmla="*/ 1982 w 1982"/>
                <a:gd name="T12" fmla="*/ 214 h 2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82" h="214">
                  <a:moveTo>
                    <a:pt x="1982" y="214"/>
                  </a:moveTo>
                  <a:lnTo>
                    <a:pt x="1768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FBC04"/>
              </a:solidFill>
              <a:round/>
              <a:headEnd type="triangle" w="med" len="lg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29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610006" y="4691064"/>
              <a:ext cx="3237035" cy="377825"/>
            </a:xfrm>
            <a:custGeom>
              <a:avLst/>
              <a:gdLst>
                <a:gd name="T0" fmla="*/ 2147483647 w 1982"/>
                <a:gd name="T1" fmla="*/ 2147483647 h 214"/>
                <a:gd name="T2" fmla="*/ 2147483647 w 1982"/>
                <a:gd name="T3" fmla="*/ 0 h 214"/>
                <a:gd name="T4" fmla="*/ 0 w 1982"/>
                <a:gd name="T5" fmla="*/ 0 h 214"/>
                <a:gd name="T6" fmla="*/ 0 60000 65536"/>
                <a:gd name="T7" fmla="*/ 0 60000 65536"/>
                <a:gd name="T8" fmla="*/ 0 60000 65536"/>
                <a:gd name="T9" fmla="*/ 0 w 1982"/>
                <a:gd name="T10" fmla="*/ 0 h 214"/>
                <a:gd name="T11" fmla="*/ 1982 w 1982"/>
                <a:gd name="T12" fmla="*/ 214 h 2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82" h="214">
                  <a:moveTo>
                    <a:pt x="1982" y="214"/>
                  </a:moveTo>
                  <a:lnTo>
                    <a:pt x="1768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FBC04"/>
              </a:solidFill>
              <a:round/>
              <a:headEnd type="triangle" w="med" len="lg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30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5287184" y="2861350"/>
              <a:ext cx="3237035" cy="377825"/>
            </a:xfrm>
            <a:custGeom>
              <a:avLst/>
              <a:gdLst>
                <a:gd name="T0" fmla="*/ 2147483647 w 1982"/>
                <a:gd name="T1" fmla="*/ 2147483647 h 214"/>
                <a:gd name="T2" fmla="*/ 2147483647 w 1982"/>
                <a:gd name="T3" fmla="*/ 0 h 214"/>
                <a:gd name="T4" fmla="*/ 0 w 1982"/>
                <a:gd name="T5" fmla="*/ 0 h 214"/>
                <a:gd name="T6" fmla="*/ 0 60000 65536"/>
                <a:gd name="T7" fmla="*/ 0 60000 65536"/>
                <a:gd name="T8" fmla="*/ 0 60000 65536"/>
                <a:gd name="T9" fmla="*/ 0 w 1982"/>
                <a:gd name="T10" fmla="*/ 0 h 214"/>
                <a:gd name="T11" fmla="*/ 1982 w 1982"/>
                <a:gd name="T12" fmla="*/ 214 h 2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82" h="214">
                  <a:moveTo>
                    <a:pt x="1982" y="214"/>
                  </a:moveTo>
                  <a:lnTo>
                    <a:pt x="1768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FFBC04"/>
              </a:solidFill>
              <a:round/>
              <a:headEnd type="triangle" w="med" len="lg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34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flipH="1" flipV="1">
              <a:off x="5253696" y="4691064"/>
              <a:ext cx="3237035" cy="377825"/>
            </a:xfrm>
            <a:custGeom>
              <a:avLst/>
              <a:gdLst>
                <a:gd name="T0" fmla="*/ 2147483647 w 1982"/>
                <a:gd name="T1" fmla="*/ 2147483647 h 214"/>
                <a:gd name="T2" fmla="*/ 2147483647 w 1982"/>
                <a:gd name="T3" fmla="*/ 0 h 214"/>
                <a:gd name="T4" fmla="*/ 0 w 1982"/>
                <a:gd name="T5" fmla="*/ 0 h 214"/>
                <a:gd name="T6" fmla="*/ 0 60000 65536"/>
                <a:gd name="T7" fmla="*/ 0 60000 65536"/>
                <a:gd name="T8" fmla="*/ 0 60000 65536"/>
                <a:gd name="T9" fmla="*/ 0 w 1982"/>
                <a:gd name="T10" fmla="*/ 0 h 214"/>
                <a:gd name="T11" fmla="*/ 1982 w 1982"/>
                <a:gd name="T12" fmla="*/ 214 h 2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82" h="214">
                  <a:moveTo>
                    <a:pt x="1982" y="214"/>
                  </a:moveTo>
                  <a:lnTo>
                    <a:pt x="1768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FBC04"/>
              </a:solidFill>
              <a:round/>
              <a:headEnd type="triangle" w="med" len="lg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</p:grpSp>
      <p:sp>
        <p:nvSpPr>
          <p:cNvPr id="3" name="Rechteck 2"/>
          <p:cNvSpPr/>
          <p:nvPr/>
        </p:nvSpPr>
        <p:spPr>
          <a:xfrm>
            <a:off x="5375275" y="2781300"/>
            <a:ext cx="1518858" cy="1368425"/>
          </a:xfrm>
          <a:prstGeom prst="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382702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4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5 Eck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53213" y="4442705"/>
            <a:ext cx="30912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3</a:t>
            </a:r>
          </a:p>
        </p:txBody>
      </p:sp>
      <p:sp>
        <p:nvSpPr>
          <p:cNvPr id="2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20000" y="1302430"/>
            <a:ext cx="28297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60231" y="4452983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sp>
        <p:nvSpPr>
          <p:cNvPr id="29" name="Freeform 10"/>
          <p:cNvSpPr>
            <a:spLocks/>
          </p:cNvSpPr>
          <p:nvPr>
            <p:custDataLst>
              <p:tags r:id="rId4"/>
            </p:custDataLst>
          </p:nvPr>
        </p:nvSpPr>
        <p:spPr bwMode="auto">
          <a:xfrm flipV="1">
            <a:off x="1953907" y="4300519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4" name="Freeform 12"/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 flipV="1">
            <a:off x="6678109" y="4300519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09960" y="2969930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5</a:t>
            </a:r>
          </a:p>
        </p:txBody>
      </p:sp>
      <p:sp>
        <p:nvSpPr>
          <p:cNvPr id="37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541244" y="2969930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3" name="Regelmäßiges Fünfeck 2"/>
          <p:cNvSpPr/>
          <p:nvPr/>
        </p:nvSpPr>
        <p:spPr>
          <a:xfrm>
            <a:off x="5356195" y="2694550"/>
            <a:ext cx="1531893" cy="1458945"/>
          </a:xfrm>
          <a:prstGeom prst="pentagon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6120000" y="1556792"/>
            <a:ext cx="0" cy="1008608"/>
          </a:xfrm>
          <a:prstGeom prst="straightConnector1">
            <a:avLst/>
          </a:prstGeom>
          <a:ln w="19050">
            <a:solidFill>
              <a:srgbClr val="FFB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6120000" y="1556792"/>
            <a:ext cx="2928750" cy="0"/>
          </a:xfrm>
          <a:prstGeom prst="line">
            <a:avLst/>
          </a:prstGeom>
          <a:ln w="19050">
            <a:solidFill>
              <a:srgbClr val="FFBC0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>
            <a:off x="1631504" y="328498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rot="10800000">
            <a:off x="7066851" y="328498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760807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6 Eck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53213" y="4394630"/>
            <a:ext cx="30912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3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30999" y="439646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sp>
        <p:nvSpPr>
          <p:cNvPr id="29" name="Freeform 10"/>
          <p:cNvSpPr>
            <a:spLocks/>
          </p:cNvSpPr>
          <p:nvPr>
            <p:custDataLst>
              <p:tags r:id="rId3"/>
            </p:custDataLst>
          </p:nvPr>
        </p:nvSpPr>
        <p:spPr bwMode="auto">
          <a:xfrm flipV="1">
            <a:off x="1953907" y="429492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4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 flipV="1">
            <a:off x="6678109" y="429309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81844" y="3185956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5</a:t>
            </a:r>
          </a:p>
        </p:txBody>
      </p:sp>
      <p:sp>
        <p:nvSpPr>
          <p:cNvPr id="37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06497" y="3185956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2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 flipV="1">
            <a:off x="6706886" y="2284294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7" name="Freeform 12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0800000" flipH="1" flipV="1">
            <a:off x="1953907" y="2284294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1703388" y="3501007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rot="10800000">
            <a:off x="7032104" y="3501007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chseck 3"/>
          <p:cNvSpPr/>
          <p:nvPr/>
        </p:nvSpPr>
        <p:spPr>
          <a:xfrm>
            <a:off x="5383530" y="2846060"/>
            <a:ext cx="1511503" cy="1303020"/>
          </a:xfrm>
          <a:prstGeom prst="hexagon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60231" y="1940043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6</a:t>
            </a:r>
          </a:p>
        </p:txBody>
      </p:sp>
      <p:sp>
        <p:nvSpPr>
          <p:cNvPr id="30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25220" y="1963777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sp>
        <p:nvSpPr>
          <p:cNvPr id="3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01127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044930" y="2244436"/>
            <a:ext cx="9410007" cy="3344804"/>
          </a:xfrm>
          <a:prstGeom prst="rect">
            <a:avLst/>
          </a:prstGeom>
          <a:noFill/>
        </p:spPr>
        <p:txBody>
          <a:bodyPr wrap="square" rtlCol="0" anchor="t" anchorCtr="0">
            <a:normAutofit/>
          </a:bodyPr>
          <a:lstStyle/>
          <a:p>
            <a:pPr marL="342900" indent="-342900">
              <a:lnSpc>
                <a:spcPts val="3680"/>
              </a:lnSpc>
              <a:buClr>
                <a:srgbClr val="1D2262"/>
              </a:buClr>
              <a:buFont typeface="Helvetica" charset="0"/>
              <a:buChar char="●"/>
            </a:pP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ste Ebene (18 bis 28 </a:t>
            </a:r>
            <a:r>
              <a:rPr lang="de-DE" sz="24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t</a:t>
            </a: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je nach Inhaltsmenge)</a:t>
            </a:r>
          </a:p>
          <a:p>
            <a:pPr marL="800100" lvl="1" indent="-342900">
              <a:lnSpc>
                <a:spcPts val="3680"/>
              </a:lnSpc>
              <a:buFont typeface="Courier New" charset="0"/>
              <a:buChar char="o"/>
            </a:pP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weite Ebene (18 bis 28 </a:t>
            </a:r>
            <a:r>
              <a:rPr lang="de-DE" sz="24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t</a:t>
            </a: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je nach Inhaltsmenge)</a:t>
            </a:r>
          </a:p>
          <a:p>
            <a:pPr marL="1257300" lvl="2" indent="-342900">
              <a:lnSpc>
                <a:spcPts val="3680"/>
              </a:lnSpc>
              <a:buFont typeface="Symbol" charset="2"/>
              <a:buChar char="-"/>
            </a:pP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ritte Ebene (18 bis 28 </a:t>
            </a:r>
            <a:r>
              <a:rPr lang="de-DE" sz="24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t</a:t>
            </a:r>
            <a:r>
              <a:rPr lang="de-DE" sz="2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je nach Inhaltsmenge)</a:t>
            </a:r>
          </a:p>
          <a:p>
            <a:pPr>
              <a:lnSpc>
                <a:spcPts val="3680"/>
              </a:lnSpc>
            </a:pPr>
            <a:endParaRPr lang="de-DE" sz="24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ction Title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olientitel</a:t>
            </a:r>
          </a:p>
        </p:txBody>
      </p:sp>
      <p:grpSp>
        <p:nvGrpSpPr>
          <p:cNvPr id="13" name="Gruppierung 12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14" name="Gerade Verbindung 13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249589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7 Eck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70075" y="4437112"/>
            <a:ext cx="30912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04247" y="4447390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5</a:t>
            </a:r>
          </a:p>
        </p:txBody>
      </p:sp>
      <p:sp>
        <p:nvSpPr>
          <p:cNvPr id="29" name="Freeform 10"/>
          <p:cNvSpPr>
            <a:spLocks/>
          </p:cNvSpPr>
          <p:nvPr>
            <p:custDataLst>
              <p:tags r:id="rId3"/>
            </p:custDataLst>
          </p:nvPr>
        </p:nvSpPr>
        <p:spPr bwMode="auto">
          <a:xfrm flipV="1">
            <a:off x="2097923" y="429492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4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 flipV="1">
            <a:off x="6600056" y="429492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81844" y="332997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6</a:t>
            </a:r>
          </a:p>
        </p:txBody>
      </p:sp>
      <p:sp>
        <p:nvSpPr>
          <p:cNvPr id="37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06497" y="332997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3</a:t>
            </a:r>
          </a:p>
        </p:txBody>
      </p:sp>
      <p:sp>
        <p:nvSpPr>
          <p:cNvPr id="27" name="Freeform 12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 flipH="1" flipV="1">
            <a:off x="1775520" y="2477107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1703388" y="364502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rot="10800000">
            <a:off x="7032104" y="364502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81844" y="2132856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7</a:t>
            </a:r>
          </a:p>
        </p:txBody>
      </p:sp>
      <p:sp>
        <p:nvSpPr>
          <p:cNvPr id="30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506497" y="2156590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6" name="Siebeneck 5"/>
          <p:cNvSpPr/>
          <p:nvPr/>
        </p:nvSpPr>
        <p:spPr>
          <a:xfrm>
            <a:off x="5373445" y="2786231"/>
            <a:ext cx="1514718" cy="1355463"/>
          </a:xfrm>
          <a:prstGeom prst="heptagon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120000" y="1302430"/>
            <a:ext cx="28297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6120000" y="1556792"/>
            <a:ext cx="0" cy="1008608"/>
          </a:xfrm>
          <a:prstGeom prst="straightConnector1">
            <a:avLst/>
          </a:prstGeom>
          <a:ln w="19050">
            <a:solidFill>
              <a:srgbClr val="FFB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>
          <a:xfrm>
            <a:off x="6120000" y="1556792"/>
            <a:ext cx="2928750" cy="0"/>
          </a:xfrm>
          <a:prstGeom prst="line">
            <a:avLst/>
          </a:prstGeom>
          <a:ln w="19050">
            <a:solidFill>
              <a:srgbClr val="FFBC0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eform 10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10800000" flipV="1">
            <a:off x="6844406" y="2477107"/>
            <a:ext cx="3711005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841500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8 Eck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70075" y="4437112"/>
            <a:ext cx="30912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32239" y="4447390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5</a:t>
            </a:r>
          </a:p>
        </p:txBody>
      </p:sp>
      <p:sp>
        <p:nvSpPr>
          <p:cNvPr id="29" name="Freeform 10"/>
          <p:cNvSpPr>
            <a:spLocks/>
          </p:cNvSpPr>
          <p:nvPr>
            <p:custDataLst>
              <p:tags r:id="rId3"/>
            </p:custDataLst>
          </p:nvPr>
        </p:nvSpPr>
        <p:spPr bwMode="auto">
          <a:xfrm flipV="1">
            <a:off x="2025915" y="429492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4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 flipV="1">
            <a:off x="6600056" y="4294928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781844" y="2852936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7</a:t>
            </a:r>
          </a:p>
        </p:txBody>
      </p:sp>
      <p:sp>
        <p:nvSpPr>
          <p:cNvPr id="37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06497" y="2852936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2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 flipV="1">
            <a:off x="6562794" y="2237349"/>
            <a:ext cx="3788098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7" name="Freeform 12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0800000" flipH="1" flipV="1">
            <a:off x="1991544" y="2212286"/>
            <a:ext cx="3638037" cy="424625"/>
          </a:xfrm>
          <a:custGeom>
            <a:avLst/>
            <a:gdLst>
              <a:gd name="T0" fmla="*/ 2147483647 w 1982"/>
              <a:gd name="T1" fmla="*/ 2147483647 h 214"/>
              <a:gd name="T2" fmla="*/ 2147483647 w 1982"/>
              <a:gd name="T3" fmla="*/ 0 h 214"/>
              <a:gd name="T4" fmla="*/ 0 w 1982"/>
              <a:gd name="T5" fmla="*/ 0 h 214"/>
              <a:gd name="T6" fmla="*/ 0 60000 65536"/>
              <a:gd name="T7" fmla="*/ 0 60000 65536"/>
              <a:gd name="T8" fmla="*/ 0 60000 65536"/>
              <a:gd name="T9" fmla="*/ 0 w 1982"/>
              <a:gd name="T10" fmla="*/ 0 h 214"/>
              <a:gd name="T11" fmla="*/ 1982 w 1982"/>
              <a:gd name="T12" fmla="*/ 214 h 2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82" h="214">
                <a:moveTo>
                  <a:pt x="1982" y="214"/>
                </a:moveTo>
                <a:lnTo>
                  <a:pt x="1768" y="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FFBC04"/>
            </a:solidFill>
            <a:round/>
            <a:headEnd type="triangle" w="med" len="lg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1703388" y="3167987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rot="10800000">
            <a:off x="7032104" y="3167987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97868" y="1868035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8</a:t>
            </a:r>
          </a:p>
        </p:txBody>
      </p:sp>
      <p:sp>
        <p:nvSpPr>
          <p:cNvPr id="30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25220" y="191683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sp>
        <p:nvSpPr>
          <p:cNvPr id="2" name="Achteck 1"/>
          <p:cNvSpPr/>
          <p:nvPr/>
        </p:nvSpPr>
        <p:spPr>
          <a:xfrm>
            <a:off x="5384799" y="2781300"/>
            <a:ext cx="1503363" cy="1353820"/>
          </a:xfrm>
          <a:prstGeom prst="octagon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81844" y="341678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6</a:t>
            </a:r>
          </a:p>
        </p:txBody>
      </p:sp>
      <p:sp>
        <p:nvSpPr>
          <p:cNvPr id="42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06497" y="3416782"/>
            <a:ext cx="30912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3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1703388" y="373183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/>
          <p:nvPr/>
        </p:nvCxnSpPr>
        <p:spPr>
          <a:xfrm rot="10800000">
            <a:off x="7032104" y="3731833"/>
            <a:ext cx="3528516" cy="0"/>
          </a:xfrm>
          <a:prstGeom prst="straightConnector1">
            <a:avLst/>
          </a:prstGeom>
          <a:ln w="19050">
            <a:solidFill>
              <a:srgbClr val="FFBC04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197436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 Rechteck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Faktor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Freeform 3"/>
          <p:cNvSpPr>
            <a:spLocks/>
          </p:cNvSpPr>
          <p:nvPr/>
        </p:nvSpPr>
        <p:spPr bwMode="auto">
          <a:xfrm>
            <a:off x="4794994" y="904541"/>
            <a:ext cx="2327185" cy="1624479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0" name="Freeform 4"/>
          <p:cNvSpPr>
            <a:spLocks/>
          </p:cNvSpPr>
          <p:nvPr/>
        </p:nvSpPr>
        <p:spPr bwMode="auto">
          <a:xfrm rot="5400000">
            <a:off x="8616636" y="1374961"/>
            <a:ext cx="1230683" cy="3542173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 flipH="1" flipV="1">
            <a:off x="5133708" y="4081037"/>
            <a:ext cx="2322129" cy="1508203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5" name="Freeform 6"/>
          <p:cNvSpPr>
            <a:spLocks/>
          </p:cNvSpPr>
          <p:nvPr/>
        </p:nvSpPr>
        <p:spPr bwMode="auto">
          <a:xfrm rot="5400000" flipH="1" flipV="1">
            <a:off x="2603837" y="1894935"/>
            <a:ext cx="1263113" cy="3109091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6" name="Rectangle 7"/>
          <p:cNvSpPr>
            <a:spLocks noChangeArrowheads="1"/>
          </p:cNvSpPr>
          <p:nvPr/>
        </p:nvSpPr>
        <p:spPr bwMode="auto">
          <a:xfrm>
            <a:off x="5164041" y="2817925"/>
            <a:ext cx="1922749" cy="972000"/>
          </a:xfrm>
          <a:prstGeom prst="rect">
            <a:avLst/>
          </a:prstGeom>
          <a:solidFill>
            <a:srgbClr val="2F52A0"/>
          </a:solidFill>
          <a:ln>
            <a:noFill/>
          </a:ln>
          <a:extLst/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 sz="14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55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7888" y="2133361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grpSp>
        <p:nvGrpSpPr>
          <p:cNvPr id="6" name="Gruppierung 5"/>
          <p:cNvGrpSpPr/>
          <p:nvPr/>
        </p:nvGrpSpPr>
        <p:grpSpPr>
          <a:xfrm>
            <a:off x="4672759" y="516552"/>
            <a:ext cx="234360" cy="213141"/>
            <a:chOff x="4672759" y="983611"/>
            <a:chExt cx="234360" cy="213141"/>
          </a:xfrm>
        </p:grpSpPr>
        <p:sp>
          <p:nvSpPr>
            <p:cNvPr id="4" name="Träne 3"/>
            <p:cNvSpPr/>
            <p:nvPr/>
          </p:nvSpPr>
          <p:spPr>
            <a:xfrm rot="8100000">
              <a:off x="4685043" y="983611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4672759" y="996697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</p:grpSp>
      <p:sp>
        <p:nvSpPr>
          <p:cNvPr id="5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19089" y="2769159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5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09291" y="4361600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</a:t>
            </a:r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5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26928" y="3641371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grpSp>
        <p:nvGrpSpPr>
          <p:cNvPr id="9" name="Gruppierung 8"/>
          <p:cNvGrpSpPr/>
          <p:nvPr/>
        </p:nvGrpSpPr>
        <p:grpSpPr>
          <a:xfrm>
            <a:off x="11142805" y="2430941"/>
            <a:ext cx="234360" cy="212677"/>
            <a:chOff x="10885884" y="2619358"/>
            <a:chExt cx="234360" cy="212677"/>
          </a:xfrm>
        </p:grpSpPr>
        <p:sp>
          <p:nvSpPr>
            <p:cNvPr id="60" name="Träne 59"/>
            <p:cNvSpPr/>
            <p:nvPr/>
          </p:nvSpPr>
          <p:spPr>
            <a:xfrm rot="13817895">
              <a:off x="10898168" y="2622241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2" name="Textfeld 61"/>
            <p:cNvSpPr txBox="1"/>
            <p:nvPr/>
          </p:nvSpPr>
          <p:spPr>
            <a:xfrm>
              <a:off x="10885884" y="2619358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</p:grpSp>
      <p:sp>
        <p:nvSpPr>
          <p:cNvPr id="75" name="Träne 74"/>
          <p:cNvSpPr/>
          <p:nvPr/>
        </p:nvSpPr>
        <p:spPr>
          <a:xfrm rot="19037355">
            <a:off x="7359529" y="5733256"/>
            <a:ext cx="209794" cy="209794"/>
          </a:xfrm>
          <a:prstGeom prst="teardrop">
            <a:avLst/>
          </a:prstGeom>
          <a:solidFill>
            <a:srgbClr val="E3E8EC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Textfeld 75"/>
          <p:cNvSpPr txBox="1"/>
          <p:nvPr/>
        </p:nvSpPr>
        <p:spPr>
          <a:xfrm>
            <a:off x="7347245" y="5746342"/>
            <a:ext cx="2343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78" name="Träne 77"/>
          <p:cNvSpPr/>
          <p:nvPr/>
        </p:nvSpPr>
        <p:spPr>
          <a:xfrm rot="2669063">
            <a:off x="1283748" y="3977581"/>
            <a:ext cx="209794" cy="209794"/>
          </a:xfrm>
          <a:prstGeom prst="teardrop">
            <a:avLst/>
          </a:prstGeom>
          <a:solidFill>
            <a:srgbClr val="E3E8EC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9" name="Textfeld 78"/>
          <p:cNvSpPr txBox="1"/>
          <p:nvPr/>
        </p:nvSpPr>
        <p:spPr>
          <a:xfrm>
            <a:off x="1271464" y="3974698"/>
            <a:ext cx="2343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88227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en Rechteck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Faktoren — dynamisch</a:t>
            </a:r>
          </a:p>
        </p:txBody>
      </p:sp>
      <p:sp>
        <p:nvSpPr>
          <p:cNvPr id="39" name="Freeform 3"/>
          <p:cNvSpPr>
            <a:spLocks/>
          </p:cNvSpPr>
          <p:nvPr/>
        </p:nvSpPr>
        <p:spPr bwMode="auto">
          <a:xfrm rot="2300706">
            <a:off x="5542454" y="1868044"/>
            <a:ext cx="2327185" cy="746110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0" name="Freeform 4"/>
          <p:cNvSpPr>
            <a:spLocks/>
          </p:cNvSpPr>
          <p:nvPr/>
        </p:nvSpPr>
        <p:spPr bwMode="auto">
          <a:xfrm rot="7700706">
            <a:off x="6835204" y="3862266"/>
            <a:ext cx="1917035" cy="1878355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 rot="2300706" flipH="1" flipV="1">
            <a:off x="4002247" y="4510698"/>
            <a:ext cx="2322129" cy="467942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5" name="Freeform 6"/>
          <p:cNvSpPr>
            <a:spLocks/>
          </p:cNvSpPr>
          <p:nvPr/>
        </p:nvSpPr>
        <p:spPr bwMode="auto">
          <a:xfrm rot="7700706" flipH="1" flipV="1">
            <a:off x="2910883" y="1169203"/>
            <a:ext cx="2048758" cy="2060540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22225" cap="rnd">
            <a:solidFill>
              <a:srgbClr val="00AAFF"/>
            </a:solidFill>
            <a:round/>
            <a:headEnd type="oval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eaVert"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46" name="Rectangle 7"/>
          <p:cNvSpPr>
            <a:spLocks noChangeArrowheads="1"/>
          </p:cNvSpPr>
          <p:nvPr/>
        </p:nvSpPr>
        <p:spPr bwMode="auto">
          <a:xfrm rot="2300706">
            <a:off x="4947186" y="2683779"/>
            <a:ext cx="1922749" cy="1668769"/>
          </a:xfrm>
          <a:prstGeom prst="rect">
            <a:avLst/>
          </a:prstGeom>
          <a:solidFill>
            <a:srgbClr val="2F52A0"/>
          </a:solidFill>
          <a:ln>
            <a:noFill/>
          </a:ln>
          <a:extLst/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sp>
        <p:nvSpPr>
          <p:cNvPr id="55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300706">
            <a:off x="5816734" y="2132571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1</a:t>
            </a:r>
          </a:p>
        </p:txBody>
      </p:sp>
      <p:grpSp>
        <p:nvGrpSpPr>
          <p:cNvPr id="6" name="Gruppierung 5"/>
          <p:cNvGrpSpPr/>
          <p:nvPr/>
        </p:nvGrpSpPr>
        <p:grpSpPr>
          <a:xfrm rot="2300706">
            <a:off x="6087326" y="919793"/>
            <a:ext cx="234360" cy="213141"/>
            <a:chOff x="4672759" y="983611"/>
            <a:chExt cx="234360" cy="213141"/>
          </a:xfrm>
        </p:grpSpPr>
        <p:sp>
          <p:nvSpPr>
            <p:cNvPr id="4" name="Träne 3"/>
            <p:cNvSpPr/>
            <p:nvPr/>
          </p:nvSpPr>
          <p:spPr>
            <a:xfrm rot="8100000">
              <a:off x="4685043" y="983611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4672759" y="996697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</p:grpSp>
      <p:sp>
        <p:nvSpPr>
          <p:cNvPr id="5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2300706">
            <a:off x="7485907" y="4263608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2</a:t>
            </a:r>
          </a:p>
        </p:txBody>
      </p:sp>
      <p:sp>
        <p:nvSpPr>
          <p:cNvPr id="5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2300706">
            <a:off x="4376335" y="4805318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</a:t>
            </a:r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5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2300706">
            <a:off x="2672778" y="2578932"/>
            <a:ext cx="151288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28613" eaLnBrk="0" hangingPunct="0"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28613" eaLnBrk="0" fontAlgn="base" hangingPunct="0">
              <a:spcBef>
                <a:spcPct val="0"/>
              </a:spcBef>
              <a:spcAft>
                <a:spcPct val="0"/>
              </a:spcAft>
              <a:tabLst>
                <a:tab pos="85201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r>
              <a:rPr lang="de-DE" alt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aktor 4</a:t>
            </a:r>
          </a:p>
        </p:txBody>
      </p:sp>
      <p:grpSp>
        <p:nvGrpSpPr>
          <p:cNvPr id="9" name="Gruppierung 8"/>
          <p:cNvGrpSpPr/>
          <p:nvPr/>
        </p:nvGrpSpPr>
        <p:grpSpPr>
          <a:xfrm rot="2300706">
            <a:off x="9187317" y="4695104"/>
            <a:ext cx="234360" cy="212677"/>
            <a:chOff x="10885884" y="2619358"/>
            <a:chExt cx="234360" cy="212677"/>
          </a:xfrm>
        </p:grpSpPr>
        <p:sp>
          <p:nvSpPr>
            <p:cNvPr id="60" name="Träne 59"/>
            <p:cNvSpPr/>
            <p:nvPr/>
          </p:nvSpPr>
          <p:spPr>
            <a:xfrm rot="13817895">
              <a:off x="10898168" y="2622241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2" name="Textfeld 61"/>
            <p:cNvSpPr txBox="1"/>
            <p:nvPr/>
          </p:nvSpPr>
          <p:spPr>
            <a:xfrm>
              <a:off x="10885884" y="2619358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5645421" y="5718495"/>
            <a:ext cx="234360" cy="211368"/>
            <a:chOff x="5480363" y="6291685"/>
            <a:chExt cx="234360" cy="211368"/>
          </a:xfrm>
        </p:grpSpPr>
        <p:sp>
          <p:nvSpPr>
            <p:cNvPr id="75" name="Träne 74"/>
            <p:cNvSpPr/>
            <p:nvPr/>
          </p:nvSpPr>
          <p:spPr>
            <a:xfrm rot="21338061">
              <a:off x="5497744" y="6291685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Textfeld 75"/>
            <p:cNvSpPr txBox="1"/>
            <p:nvPr/>
          </p:nvSpPr>
          <p:spPr>
            <a:xfrm rot="2300706">
              <a:off x="5480363" y="6302998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2151880" y="2092703"/>
            <a:ext cx="211491" cy="234360"/>
            <a:chOff x="2665456" y="1821772"/>
            <a:chExt cx="211491" cy="234360"/>
          </a:xfrm>
        </p:grpSpPr>
        <p:sp>
          <p:nvSpPr>
            <p:cNvPr id="78" name="Träne 77"/>
            <p:cNvSpPr/>
            <p:nvPr/>
          </p:nvSpPr>
          <p:spPr>
            <a:xfrm rot="4969769">
              <a:off x="2665456" y="1831751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Textfeld 78"/>
            <p:cNvSpPr txBox="1"/>
            <p:nvPr/>
          </p:nvSpPr>
          <p:spPr>
            <a:xfrm rot="18458945">
              <a:off x="2659740" y="1838924"/>
              <a:ext cx="23436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4</a:t>
              </a:r>
            </a:p>
          </p:txBody>
        </p:sp>
      </p:grpSp>
      <p:grpSp>
        <p:nvGrpSpPr>
          <p:cNvPr id="35" name="Gruppierung 34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6" name="Gerade Verbindung 35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999899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Waag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Gleichgewicht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ung 3"/>
          <p:cNvGrpSpPr/>
          <p:nvPr/>
        </p:nvGrpSpPr>
        <p:grpSpPr>
          <a:xfrm>
            <a:off x="2054539" y="2060575"/>
            <a:ext cx="7650874" cy="3600673"/>
            <a:chOff x="2054539" y="2060575"/>
            <a:chExt cx="7650874" cy="3600673"/>
          </a:xfrm>
        </p:grpSpPr>
        <p:sp>
          <p:nvSpPr>
            <p:cNvPr id="42" name="Dreieck 41"/>
            <p:cNvSpPr/>
            <p:nvPr/>
          </p:nvSpPr>
          <p:spPr>
            <a:xfrm>
              <a:off x="5500664" y="5241908"/>
              <a:ext cx="792088" cy="419340"/>
            </a:xfrm>
            <a:prstGeom prst="triangle">
              <a:avLst/>
            </a:prstGeom>
            <a:solidFill>
              <a:srgbClr val="1D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Abgerundetes Rechteck 42"/>
            <p:cNvSpPr/>
            <p:nvPr/>
          </p:nvSpPr>
          <p:spPr>
            <a:xfrm>
              <a:off x="2054539" y="4725144"/>
              <a:ext cx="7632700" cy="432048"/>
            </a:xfrm>
            <a:prstGeom prst="roundRect">
              <a:avLst/>
            </a:prstGeom>
            <a:solidFill>
              <a:srgbClr val="2F52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" name="Gruppierung 1"/>
            <p:cNvGrpSpPr/>
            <p:nvPr/>
          </p:nvGrpSpPr>
          <p:grpSpPr>
            <a:xfrm>
              <a:off x="2054539" y="2060575"/>
              <a:ext cx="3753429" cy="2664569"/>
              <a:chOff x="2054539" y="2060575"/>
              <a:chExt cx="3753429" cy="2664569"/>
            </a:xfrm>
          </p:grpSpPr>
          <p:sp>
            <p:nvSpPr>
              <p:cNvPr id="34" name="Rechteck 33"/>
              <p:cNvSpPr/>
              <p:nvPr/>
            </p:nvSpPr>
            <p:spPr>
              <a:xfrm>
                <a:off x="2054539" y="2060575"/>
                <a:ext cx="3753429" cy="2664569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Textfeld 20"/>
              <p:cNvSpPr txBox="1"/>
              <p:nvPr/>
            </p:nvSpPr>
            <p:spPr>
              <a:xfrm>
                <a:off x="2135560" y="2218520"/>
                <a:ext cx="3528391" cy="2300820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3" name="Gruppierung 2"/>
            <p:cNvGrpSpPr/>
            <p:nvPr/>
          </p:nvGrpSpPr>
          <p:grpSpPr>
            <a:xfrm>
              <a:off x="5951984" y="2060575"/>
              <a:ext cx="3753429" cy="2664569"/>
              <a:chOff x="5951984" y="2060575"/>
              <a:chExt cx="3753429" cy="2664569"/>
            </a:xfrm>
          </p:grpSpPr>
          <p:sp>
            <p:nvSpPr>
              <p:cNvPr id="35" name="Rechteck 34"/>
              <p:cNvSpPr/>
              <p:nvPr/>
            </p:nvSpPr>
            <p:spPr>
              <a:xfrm>
                <a:off x="5951984" y="2060575"/>
                <a:ext cx="3753429" cy="2664569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Textfeld 21"/>
              <p:cNvSpPr txBox="1"/>
              <p:nvPr/>
            </p:nvSpPr>
            <p:spPr>
              <a:xfrm>
                <a:off x="6096000" y="2218520"/>
                <a:ext cx="3528391" cy="2300820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2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615592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Waag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Ungleichgewicht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Dreieck 26"/>
          <p:cNvSpPr/>
          <p:nvPr/>
        </p:nvSpPr>
        <p:spPr>
          <a:xfrm>
            <a:off x="5500664" y="5241908"/>
            <a:ext cx="792088" cy="419340"/>
          </a:xfrm>
          <a:prstGeom prst="triangle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ung 1"/>
          <p:cNvGrpSpPr/>
          <p:nvPr/>
        </p:nvGrpSpPr>
        <p:grpSpPr>
          <a:xfrm rot="480000">
            <a:off x="2054539" y="2060575"/>
            <a:ext cx="7650874" cy="3096617"/>
            <a:chOff x="2054539" y="2060575"/>
            <a:chExt cx="7650874" cy="3096617"/>
          </a:xfrm>
        </p:grpSpPr>
        <p:sp>
          <p:nvSpPr>
            <p:cNvPr id="28" name="Abgerundetes Rechteck 27"/>
            <p:cNvSpPr/>
            <p:nvPr/>
          </p:nvSpPr>
          <p:spPr>
            <a:xfrm>
              <a:off x="2054539" y="4725144"/>
              <a:ext cx="7632700" cy="432048"/>
            </a:xfrm>
            <a:prstGeom prst="roundRect">
              <a:avLst/>
            </a:prstGeom>
            <a:solidFill>
              <a:srgbClr val="2F52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9" name="Gruppierung 28"/>
            <p:cNvGrpSpPr/>
            <p:nvPr/>
          </p:nvGrpSpPr>
          <p:grpSpPr>
            <a:xfrm>
              <a:off x="2054539" y="2060575"/>
              <a:ext cx="3753429" cy="2664569"/>
              <a:chOff x="2054539" y="2060575"/>
              <a:chExt cx="3753429" cy="2664569"/>
            </a:xfrm>
          </p:grpSpPr>
          <p:sp>
            <p:nvSpPr>
              <p:cNvPr id="39" name="Rechteck 38"/>
              <p:cNvSpPr/>
              <p:nvPr/>
            </p:nvSpPr>
            <p:spPr>
              <a:xfrm>
                <a:off x="2054539" y="2060575"/>
                <a:ext cx="3753429" cy="2664569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Textfeld 40"/>
              <p:cNvSpPr txBox="1"/>
              <p:nvPr/>
            </p:nvSpPr>
            <p:spPr>
              <a:xfrm>
                <a:off x="2135560" y="2218520"/>
                <a:ext cx="3528391" cy="2300820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30" name="Gruppierung 29"/>
            <p:cNvGrpSpPr/>
            <p:nvPr/>
          </p:nvGrpSpPr>
          <p:grpSpPr>
            <a:xfrm>
              <a:off x="5951984" y="2060575"/>
              <a:ext cx="3753429" cy="2664569"/>
              <a:chOff x="5951984" y="2060575"/>
              <a:chExt cx="3753429" cy="2664569"/>
            </a:xfrm>
          </p:grpSpPr>
          <p:sp>
            <p:nvSpPr>
              <p:cNvPr id="36" name="Rechteck 35"/>
              <p:cNvSpPr/>
              <p:nvPr/>
            </p:nvSpPr>
            <p:spPr>
              <a:xfrm>
                <a:off x="5951984" y="2060575"/>
                <a:ext cx="3753429" cy="2664569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7" name="Textfeld 36"/>
              <p:cNvSpPr txBox="1"/>
              <p:nvPr/>
            </p:nvSpPr>
            <p:spPr>
              <a:xfrm>
                <a:off x="6096000" y="2218520"/>
                <a:ext cx="3528391" cy="2300820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2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47188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uzz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ditierba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ung 3"/>
          <p:cNvGrpSpPr/>
          <p:nvPr/>
        </p:nvGrpSpPr>
        <p:grpSpPr>
          <a:xfrm>
            <a:off x="2063552" y="2204864"/>
            <a:ext cx="1655762" cy="1390650"/>
            <a:chOff x="1011238" y="3275013"/>
            <a:chExt cx="1655762" cy="1390650"/>
          </a:xfrm>
        </p:grpSpPr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1660525" y="3781425"/>
              <a:ext cx="1006475" cy="884238"/>
            </a:xfrm>
            <a:custGeom>
              <a:avLst/>
              <a:gdLst>
                <a:gd name="T0" fmla="*/ 2147483647 w 822"/>
                <a:gd name="T1" fmla="*/ 2147483647 h 667"/>
                <a:gd name="T2" fmla="*/ 2147483647 w 822"/>
                <a:gd name="T3" fmla="*/ 2147483647 h 667"/>
                <a:gd name="T4" fmla="*/ 2147483647 w 822"/>
                <a:gd name="T5" fmla="*/ 2147483647 h 667"/>
                <a:gd name="T6" fmla="*/ 2147483647 w 822"/>
                <a:gd name="T7" fmla="*/ 2147483647 h 667"/>
                <a:gd name="T8" fmla="*/ 2147483647 w 822"/>
                <a:gd name="T9" fmla="*/ 2147483647 h 667"/>
                <a:gd name="T10" fmla="*/ 2147483647 w 822"/>
                <a:gd name="T11" fmla="*/ 2147483647 h 667"/>
                <a:gd name="T12" fmla="*/ 2147483647 w 822"/>
                <a:gd name="T13" fmla="*/ 2147483647 h 667"/>
                <a:gd name="T14" fmla="*/ 2147483647 w 822"/>
                <a:gd name="T15" fmla="*/ 2147483647 h 667"/>
                <a:gd name="T16" fmla="*/ 2147483647 w 822"/>
                <a:gd name="T17" fmla="*/ 2147483647 h 667"/>
                <a:gd name="T18" fmla="*/ 2147483647 w 822"/>
                <a:gd name="T19" fmla="*/ 2147483647 h 667"/>
                <a:gd name="T20" fmla="*/ 2147483647 w 822"/>
                <a:gd name="T21" fmla="*/ 2147483647 h 667"/>
                <a:gd name="T22" fmla="*/ 2147483647 w 822"/>
                <a:gd name="T23" fmla="*/ 2147483647 h 667"/>
                <a:gd name="T24" fmla="*/ 2147483647 w 822"/>
                <a:gd name="T25" fmla="*/ 2147483647 h 667"/>
                <a:gd name="T26" fmla="*/ 2147483647 w 822"/>
                <a:gd name="T27" fmla="*/ 2147483647 h 667"/>
                <a:gd name="T28" fmla="*/ 2147483647 w 822"/>
                <a:gd name="T29" fmla="*/ 2147483647 h 667"/>
                <a:gd name="T30" fmla="*/ 2147483647 w 822"/>
                <a:gd name="T31" fmla="*/ 2147483647 h 667"/>
                <a:gd name="T32" fmla="*/ 2147483647 w 822"/>
                <a:gd name="T33" fmla="*/ 2147483647 h 667"/>
                <a:gd name="T34" fmla="*/ 2147483647 w 822"/>
                <a:gd name="T35" fmla="*/ 2147483647 h 667"/>
                <a:gd name="T36" fmla="*/ 2147483647 w 822"/>
                <a:gd name="T37" fmla="*/ 2147483647 h 667"/>
                <a:gd name="T38" fmla="*/ 2147483647 w 822"/>
                <a:gd name="T39" fmla="*/ 0 h 667"/>
                <a:gd name="T40" fmla="*/ 2147483647 w 822"/>
                <a:gd name="T41" fmla="*/ 2147483647 h 667"/>
                <a:gd name="T42" fmla="*/ 2147483647 w 822"/>
                <a:gd name="T43" fmla="*/ 2147483647 h 667"/>
                <a:gd name="T44" fmla="*/ 2147483647 w 822"/>
                <a:gd name="T45" fmla="*/ 2147483647 h 667"/>
                <a:gd name="T46" fmla="*/ 2147483647 w 822"/>
                <a:gd name="T47" fmla="*/ 2147483647 h 667"/>
                <a:gd name="T48" fmla="*/ 2147483647 w 822"/>
                <a:gd name="T49" fmla="*/ 2147483647 h 667"/>
                <a:gd name="T50" fmla="*/ 2147483647 w 822"/>
                <a:gd name="T51" fmla="*/ 2147483647 h 667"/>
                <a:gd name="T52" fmla="*/ 2147483647 w 822"/>
                <a:gd name="T53" fmla="*/ 2147483647 h 667"/>
                <a:gd name="T54" fmla="*/ 2147483647 w 822"/>
                <a:gd name="T55" fmla="*/ 2147483647 h 667"/>
                <a:gd name="T56" fmla="*/ 2147483647 w 822"/>
                <a:gd name="T57" fmla="*/ 2147483647 h 667"/>
                <a:gd name="T58" fmla="*/ 2147483647 w 822"/>
                <a:gd name="T59" fmla="*/ 2147483647 h 667"/>
                <a:gd name="T60" fmla="*/ 2147483647 w 822"/>
                <a:gd name="T61" fmla="*/ 2147483647 h 667"/>
                <a:gd name="T62" fmla="*/ 2147483647 w 822"/>
                <a:gd name="T63" fmla="*/ 2147483647 h 667"/>
                <a:gd name="T64" fmla="*/ 2147483647 w 822"/>
                <a:gd name="T65" fmla="*/ 2147483647 h 667"/>
                <a:gd name="T66" fmla="*/ 2147483647 w 822"/>
                <a:gd name="T67" fmla="*/ 2147483647 h 667"/>
                <a:gd name="T68" fmla="*/ 2147483647 w 822"/>
                <a:gd name="T69" fmla="*/ 2147483647 h 667"/>
                <a:gd name="T70" fmla="*/ 2147483647 w 822"/>
                <a:gd name="T71" fmla="*/ 2147483647 h 667"/>
                <a:gd name="T72" fmla="*/ 2147483647 w 822"/>
                <a:gd name="T73" fmla="*/ 2147483647 h 667"/>
                <a:gd name="T74" fmla="*/ 2147483647 w 822"/>
                <a:gd name="T75" fmla="*/ 2147483647 h 667"/>
                <a:gd name="T76" fmla="*/ 2147483647 w 822"/>
                <a:gd name="T77" fmla="*/ 2147483647 h 667"/>
                <a:gd name="T78" fmla="*/ 2147483647 w 822"/>
                <a:gd name="T79" fmla="*/ 2147483647 h 667"/>
                <a:gd name="T80" fmla="*/ 2147483647 w 822"/>
                <a:gd name="T81" fmla="*/ 2147483647 h 667"/>
                <a:gd name="T82" fmla="*/ 2147483647 w 822"/>
                <a:gd name="T83" fmla="*/ 2147483647 h 667"/>
                <a:gd name="T84" fmla="*/ 2147483647 w 822"/>
                <a:gd name="T85" fmla="*/ 2147483647 h 667"/>
                <a:gd name="T86" fmla="*/ 2147483647 w 822"/>
                <a:gd name="T87" fmla="*/ 2147483647 h 667"/>
                <a:gd name="T88" fmla="*/ 2147483647 w 822"/>
                <a:gd name="T89" fmla="*/ 2147483647 h 667"/>
                <a:gd name="T90" fmla="*/ 2147483647 w 822"/>
                <a:gd name="T91" fmla="*/ 2147483647 h 667"/>
                <a:gd name="T92" fmla="*/ 2147483647 w 822"/>
                <a:gd name="T93" fmla="*/ 2147483647 h 667"/>
                <a:gd name="T94" fmla="*/ 2147483647 w 822"/>
                <a:gd name="T95" fmla="*/ 2147483647 h 667"/>
                <a:gd name="T96" fmla="*/ 2147483647 w 822"/>
                <a:gd name="T97" fmla="*/ 2147483647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667"/>
                <a:gd name="T149" fmla="*/ 822 w 822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667">
                  <a:moveTo>
                    <a:pt x="35" y="332"/>
                  </a:move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5"/>
                  </a:lnTo>
                  <a:lnTo>
                    <a:pt x="57" y="325"/>
                  </a:lnTo>
                  <a:lnTo>
                    <a:pt x="61" y="325"/>
                  </a:lnTo>
                  <a:lnTo>
                    <a:pt x="66" y="326"/>
                  </a:lnTo>
                  <a:lnTo>
                    <a:pt x="70" y="327"/>
                  </a:lnTo>
                  <a:lnTo>
                    <a:pt x="77" y="331"/>
                  </a:lnTo>
                  <a:lnTo>
                    <a:pt x="85" y="335"/>
                  </a:lnTo>
                  <a:lnTo>
                    <a:pt x="92" y="340"/>
                  </a:lnTo>
                  <a:lnTo>
                    <a:pt x="99" y="345"/>
                  </a:lnTo>
                  <a:lnTo>
                    <a:pt x="107" y="349"/>
                  </a:lnTo>
                  <a:lnTo>
                    <a:pt x="113" y="353"/>
                  </a:lnTo>
                  <a:lnTo>
                    <a:pt x="119" y="356"/>
                  </a:lnTo>
                  <a:lnTo>
                    <a:pt x="121" y="357"/>
                  </a:lnTo>
                  <a:lnTo>
                    <a:pt x="124" y="357"/>
                  </a:lnTo>
                  <a:lnTo>
                    <a:pt x="129" y="356"/>
                  </a:lnTo>
                  <a:lnTo>
                    <a:pt x="132" y="355"/>
                  </a:lnTo>
                  <a:lnTo>
                    <a:pt x="134" y="353"/>
                  </a:lnTo>
                  <a:lnTo>
                    <a:pt x="136" y="350"/>
                  </a:lnTo>
                  <a:lnTo>
                    <a:pt x="138" y="347"/>
                  </a:lnTo>
                  <a:lnTo>
                    <a:pt x="140" y="343"/>
                  </a:lnTo>
                  <a:lnTo>
                    <a:pt x="142" y="338"/>
                  </a:lnTo>
                  <a:lnTo>
                    <a:pt x="142" y="142"/>
                  </a:lnTo>
                  <a:lnTo>
                    <a:pt x="414" y="142"/>
                  </a:lnTo>
                  <a:lnTo>
                    <a:pt x="421" y="139"/>
                  </a:lnTo>
                  <a:lnTo>
                    <a:pt x="426" y="137"/>
                  </a:lnTo>
                  <a:lnTo>
                    <a:pt x="430" y="134"/>
                  </a:lnTo>
                  <a:lnTo>
                    <a:pt x="432" y="130"/>
                  </a:lnTo>
                  <a:lnTo>
                    <a:pt x="434" y="127"/>
                  </a:lnTo>
                  <a:lnTo>
                    <a:pt x="435" y="123"/>
                  </a:lnTo>
                  <a:lnTo>
                    <a:pt x="434" y="120"/>
                  </a:lnTo>
                  <a:lnTo>
                    <a:pt x="433" y="116"/>
                  </a:lnTo>
                  <a:lnTo>
                    <a:pt x="429" y="108"/>
                  </a:lnTo>
                  <a:lnTo>
                    <a:pt x="424" y="100"/>
                  </a:lnTo>
                  <a:lnTo>
                    <a:pt x="418" y="92"/>
                  </a:lnTo>
                  <a:lnTo>
                    <a:pt x="413" y="84"/>
                  </a:lnTo>
                  <a:lnTo>
                    <a:pt x="409" y="77"/>
                  </a:lnTo>
                  <a:lnTo>
                    <a:pt x="406" y="71"/>
                  </a:lnTo>
                  <a:lnTo>
                    <a:pt x="405" y="67"/>
                  </a:lnTo>
                  <a:lnTo>
                    <a:pt x="404" y="64"/>
                  </a:lnTo>
                  <a:lnTo>
                    <a:pt x="403" y="58"/>
                  </a:lnTo>
                  <a:lnTo>
                    <a:pt x="403" y="52"/>
                  </a:lnTo>
                  <a:lnTo>
                    <a:pt x="404" y="46"/>
                  </a:lnTo>
                  <a:lnTo>
                    <a:pt x="406" y="39"/>
                  </a:lnTo>
                  <a:lnTo>
                    <a:pt x="408" y="34"/>
                  </a:lnTo>
                  <a:lnTo>
                    <a:pt x="411" y="29"/>
                  </a:lnTo>
                  <a:lnTo>
                    <a:pt x="415" y="25"/>
                  </a:lnTo>
                  <a:lnTo>
                    <a:pt x="419" y="21"/>
                  </a:lnTo>
                  <a:lnTo>
                    <a:pt x="424" y="17"/>
                  </a:lnTo>
                  <a:lnTo>
                    <a:pt x="430" y="13"/>
                  </a:lnTo>
                  <a:lnTo>
                    <a:pt x="435" y="10"/>
                  </a:lnTo>
                  <a:lnTo>
                    <a:pt x="443" y="7"/>
                  </a:lnTo>
                  <a:lnTo>
                    <a:pt x="449" y="5"/>
                  </a:lnTo>
                  <a:lnTo>
                    <a:pt x="456" y="3"/>
                  </a:lnTo>
                  <a:lnTo>
                    <a:pt x="463" y="1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5" y="0"/>
                  </a:lnTo>
                  <a:lnTo>
                    <a:pt x="492" y="0"/>
                  </a:lnTo>
                  <a:lnTo>
                    <a:pt x="499" y="1"/>
                  </a:lnTo>
                  <a:lnTo>
                    <a:pt x="506" y="2"/>
                  </a:lnTo>
                  <a:lnTo>
                    <a:pt x="513" y="4"/>
                  </a:lnTo>
                  <a:lnTo>
                    <a:pt x="520" y="6"/>
                  </a:lnTo>
                  <a:lnTo>
                    <a:pt x="525" y="8"/>
                  </a:lnTo>
                  <a:lnTo>
                    <a:pt x="528" y="9"/>
                  </a:lnTo>
                  <a:lnTo>
                    <a:pt x="534" y="13"/>
                  </a:lnTo>
                  <a:lnTo>
                    <a:pt x="540" y="17"/>
                  </a:lnTo>
                  <a:lnTo>
                    <a:pt x="545" y="21"/>
                  </a:lnTo>
                  <a:lnTo>
                    <a:pt x="548" y="24"/>
                  </a:lnTo>
                  <a:lnTo>
                    <a:pt x="550" y="26"/>
                  </a:lnTo>
                  <a:lnTo>
                    <a:pt x="555" y="32"/>
                  </a:lnTo>
                  <a:lnTo>
                    <a:pt x="558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0" y="61"/>
                  </a:lnTo>
                  <a:lnTo>
                    <a:pt x="559" y="64"/>
                  </a:lnTo>
                  <a:lnTo>
                    <a:pt x="558" y="68"/>
                  </a:lnTo>
                  <a:lnTo>
                    <a:pt x="554" y="75"/>
                  </a:lnTo>
                  <a:lnTo>
                    <a:pt x="552" y="79"/>
                  </a:lnTo>
                  <a:lnTo>
                    <a:pt x="550" y="83"/>
                  </a:lnTo>
                  <a:lnTo>
                    <a:pt x="540" y="96"/>
                  </a:lnTo>
                  <a:lnTo>
                    <a:pt x="534" y="106"/>
                  </a:lnTo>
                  <a:lnTo>
                    <a:pt x="531" y="111"/>
                  </a:lnTo>
                  <a:lnTo>
                    <a:pt x="529" y="115"/>
                  </a:lnTo>
                  <a:lnTo>
                    <a:pt x="527" y="119"/>
                  </a:lnTo>
                  <a:lnTo>
                    <a:pt x="527" y="123"/>
                  </a:lnTo>
                  <a:lnTo>
                    <a:pt x="527" y="127"/>
                  </a:lnTo>
                  <a:lnTo>
                    <a:pt x="527" y="129"/>
                  </a:lnTo>
                  <a:lnTo>
                    <a:pt x="528" y="130"/>
                  </a:lnTo>
                  <a:lnTo>
                    <a:pt x="530" y="132"/>
                  </a:lnTo>
                  <a:lnTo>
                    <a:pt x="531" y="134"/>
                  </a:lnTo>
                  <a:lnTo>
                    <a:pt x="535" y="137"/>
                  </a:lnTo>
                  <a:lnTo>
                    <a:pt x="538" y="138"/>
                  </a:lnTo>
                  <a:lnTo>
                    <a:pt x="541" y="140"/>
                  </a:lnTo>
                  <a:lnTo>
                    <a:pt x="548" y="142"/>
                  </a:lnTo>
                  <a:lnTo>
                    <a:pt x="822" y="142"/>
                  </a:lnTo>
                  <a:lnTo>
                    <a:pt x="822" y="667"/>
                  </a:lnTo>
                  <a:lnTo>
                    <a:pt x="142" y="667"/>
                  </a:lnTo>
                  <a:lnTo>
                    <a:pt x="142" y="470"/>
                  </a:lnTo>
                  <a:lnTo>
                    <a:pt x="138" y="460"/>
                  </a:lnTo>
                  <a:lnTo>
                    <a:pt x="136" y="456"/>
                  </a:lnTo>
                  <a:lnTo>
                    <a:pt x="134" y="454"/>
                  </a:lnTo>
                  <a:lnTo>
                    <a:pt x="132" y="451"/>
                  </a:lnTo>
                  <a:lnTo>
                    <a:pt x="129" y="450"/>
                  </a:lnTo>
                  <a:lnTo>
                    <a:pt x="127" y="449"/>
                  </a:lnTo>
                  <a:lnTo>
                    <a:pt x="124" y="449"/>
                  </a:lnTo>
                  <a:lnTo>
                    <a:pt x="121" y="450"/>
                  </a:lnTo>
                  <a:lnTo>
                    <a:pt x="118" y="451"/>
                  </a:lnTo>
                  <a:lnTo>
                    <a:pt x="112" y="454"/>
                  </a:lnTo>
                  <a:lnTo>
                    <a:pt x="106" y="458"/>
                  </a:lnTo>
                  <a:lnTo>
                    <a:pt x="98" y="463"/>
                  </a:lnTo>
                  <a:lnTo>
                    <a:pt x="83" y="473"/>
                  </a:lnTo>
                  <a:lnTo>
                    <a:pt x="75" y="478"/>
                  </a:lnTo>
                  <a:lnTo>
                    <a:pt x="72" y="480"/>
                  </a:lnTo>
                  <a:lnTo>
                    <a:pt x="68" y="481"/>
                  </a:lnTo>
                  <a:lnTo>
                    <a:pt x="59" y="484"/>
                  </a:lnTo>
                  <a:lnTo>
                    <a:pt x="55" y="484"/>
                  </a:lnTo>
                  <a:lnTo>
                    <a:pt x="51" y="484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4" y="478"/>
                  </a:lnTo>
                  <a:lnTo>
                    <a:pt x="26" y="471"/>
                  </a:lnTo>
                  <a:lnTo>
                    <a:pt x="22" y="467"/>
                  </a:lnTo>
                  <a:lnTo>
                    <a:pt x="19" y="463"/>
                  </a:lnTo>
                  <a:lnTo>
                    <a:pt x="12" y="455"/>
                  </a:lnTo>
                  <a:lnTo>
                    <a:pt x="10" y="450"/>
                  </a:lnTo>
                  <a:lnTo>
                    <a:pt x="8" y="446"/>
                  </a:lnTo>
                  <a:lnTo>
                    <a:pt x="4" y="435"/>
                  </a:lnTo>
                  <a:lnTo>
                    <a:pt x="3" y="429"/>
                  </a:lnTo>
                  <a:lnTo>
                    <a:pt x="2" y="424"/>
                  </a:lnTo>
                  <a:lnTo>
                    <a:pt x="1" y="414"/>
                  </a:lnTo>
                  <a:lnTo>
                    <a:pt x="0" y="403"/>
                  </a:lnTo>
                  <a:lnTo>
                    <a:pt x="1" y="392"/>
                  </a:lnTo>
                  <a:lnTo>
                    <a:pt x="3" y="382"/>
                  </a:lnTo>
                  <a:lnTo>
                    <a:pt x="6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2"/>
                  </a:lnTo>
                  <a:lnTo>
                    <a:pt x="18" y="348"/>
                  </a:lnTo>
                  <a:lnTo>
                    <a:pt x="21" y="344"/>
                  </a:lnTo>
                  <a:lnTo>
                    <a:pt x="27" y="337"/>
                  </a:lnTo>
                  <a:lnTo>
                    <a:pt x="31" y="334"/>
                  </a:lnTo>
                  <a:lnTo>
                    <a:pt x="35" y="332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1011238" y="3781425"/>
              <a:ext cx="823912" cy="884238"/>
            </a:xfrm>
            <a:custGeom>
              <a:avLst/>
              <a:gdLst>
                <a:gd name="T0" fmla="*/ 2147483647 w 674"/>
                <a:gd name="T1" fmla="*/ 2147483647 h 667"/>
                <a:gd name="T2" fmla="*/ 2147483647 w 674"/>
                <a:gd name="T3" fmla="*/ 2147483647 h 667"/>
                <a:gd name="T4" fmla="*/ 2147483647 w 674"/>
                <a:gd name="T5" fmla="*/ 2147483647 h 667"/>
                <a:gd name="T6" fmla="*/ 2147483647 w 674"/>
                <a:gd name="T7" fmla="*/ 2147483647 h 667"/>
                <a:gd name="T8" fmla="*/ 2147483647 w 674"/>
                <a:gd name="T9" fmla="*/ 2147483647 h 667"/>
                <a:gd name="T10" fmla="*/ 2147483647 w 674"/>
                <a:gd name="T11" fmla="*/ 2147483647 h 667"/>
                <a:gd name="T12" fmla="*/ 2147483647 w 674"/>
                <a:gd name="T13" fmla="*/ 2147483647 h 667"/>
                <a:gd name="T14" fmla="*/ 2147483647 w 674"/>
                <a:gd name="T15" fmla="*/ 2147483647 h 667"/>
                <a:gd name="T16" fmla="*/ 2147483647 w 674"/>
                <a:gd name="T17" fmla="*/ 2147483647 h 667"/>
                <a:gd name="T18" fmla="*/ 2147483647 w 674"/>
                <a:gd name="T19" fmla="*/ 2147483647 h 667"/>
                <a:gd name="T20" fmla="*/ 2147483647 w 674"/>
                <a:gd name="T21" fmla="*/ 2147483647 h 667"/>
                <a:gd name="T22" fmla="*/ 2147483647 w 674"/>
                <a:gd name="T23" fmla="*/ 2147483647 h 667"/>
                <a:gd name="T24" fmla="*/ 2147483647 w 674"/>
                <a:gd name="T25" fmla="*/ 0 h 667"/>
                <a:gd name="T26" fmla="*/ 2147483647 w 674"/>
                <a:gd name="T27" fmla="*/ 2147483647 h 667"/>
                <a:gd name="T28" fmla="*/ 2147483647 w 674"/>
                <a:gd name="T29" fmla="*/ 2147483647 h 667"/>
                <a:gd name="T30" fmla="*/ 2147483647 w 674"/>
                <a:gd name="T31" fmla="*/ 2147483647 h 667"/>
                <a:gd name="T32" fmla="*/ 2147483647 w 674"/>
                <a:gd name="T33" fmla="*/ 2147483647 h 667"/>
                <a:gd name="T34" fmla="*/ 2147483647 w 674"/>
                <a:gd name="T35" fmla="*/ 2147483647 h 667"/>
                <a:gd name="T36" fmla="*/ 2147483647 w 674"/>
                <a:gd name="T37" fmla="*/ 2147483647 h 667"/>
                <a:gd name="T38" fmla="*/ 2147483647 w 674"/>
                <a:gd name="T39" fmla="*/ 2147483647 h 667"/>
                <a:gd name="T40" fmla="*/ 2147483647 w 674"/>
                <a:gd name="T41" fmla="*/ 2147483647 h 667"/>
                <a:gd name="T42" fmla="*/ 2147483647 w 674"/>
                <a:gd name="T43" fmla="*/ 2147483647 h 667"/>
                <a:gd name="T44" fmla="*/ 2147483647 w 674"/>
                <a:gd name="T45" fmla="*/ 2147483647 h 667"/>
                <a:gd name="T46" fmla="*/ 2147483647 w 674"/>
                <a:gd name="T47" fmla="*/ 2147483647 h 667"/>
                <a:gd name="T48" fmla="*/ 2147483647 w 674"/>
                <a:gd name="T49" fmla="*/ 2147483647 h 667"/>
                <a:gd name="T50" fmla="*/ 2147483647 w 674"/>
                <a:gd name="T51" fmla="*/ 2147483647 h 667"/>
                <a:gd name="T52" fmla="*/ 2147483647 w 674"/>
                <a:gd name="T53" fmla="*/ 2147483647 h 667"/>
                <a:gd name="T54" fmla="*/ 2147483647 w 674"/>
                <a:gd name="T55" fmla="*/ 2147483647 h 667"/>
                <a:gd name="T56" fmla="*/ 2147483647 w 674"/>
                <a:gd name="T57" fmla="*/ 2147483647 h 667"/>
                <a:gd name="T58" fmla="*/ 2147483647 w 674"/>
                <a:gd name="T59" fmla="*/ 2147483647 h 667"/>
                <a:gd name="T60" fmla="*/ 2147483647 w 674"/>
                <a:gd name="T61" fmla="*/ 2147483647 h 667"/>
                <a:gd name="T62" fmla="*/ 2147483647 w 674"/>
                <a:gd name="T63" fmla="*/ 2147483647 h 667"/>
                <a:gd name="T64" fmla="*/ 2147483647 w 674"/>
                <a:gd name="T65" fmla="*/ 2147483647 h 667"/>
                <a:gd name="T66" fmla="*/ 2147483647 w 674"/>
                <a:gd name="T67" fmla="*/ 2147483647 h 667"/>
                <a:gd name="T68" fmla="*/ 2147483647 w 674"/>
                <a:gd name="T69" fmla="*/ 2147483647 h 667"/>
                <a:gd name="T70" fmla="*/ 2147483647 w 674"/>
                <a:gd name="T71" fmla="*/ 2147483647 h 667"/>
                <a:gd name="T72" fmla="*/ 2147483647 w 674"/>
                <a:gd name="T73" fmla="*/ 2147483647 h 667"/>
                <a:gd name="T74" fmla="*/ 2147483647 w 674"/>
                <a:gd name="T75" fmla="*/ 2147483647 h 667"/>
                <a:gd name="T76" fmla="*/ 2147483647 w 674"/>
                <a:gd name="T77" fmla="*/ 2147483647 h 667"/>
                <a:gd name="T78" fmla="*/ 2147483647 w 674"/>
                <a:gd name="T79" fmla="*/ 2147483647 h 667"/>
                <a:gd name="T80" fmla="*/ 2147483647 w 674"/>
                <a:gd name="T81" fmla="*/ 2147483647 h 667"/>
                <a:gd name="T82" fmla="*/ 2147483647 w 674"/>
                <a:gd name="T83" fmla="*/ 2147483647 h 667"/>
                <a:gd name="T84" fmla="*/ 2147483647 w 674"/>
                <a:gd name="T85" fmla="*/ 2147483647 h 667"/>
                <a:gd name="T86" fmla="*/ 2147483647 w 674"/>
                <a:gd name="T87" fmla="*/ 2147483647 h 667"/>
                <a:gd name="T88" fmla="*/ 2147483647 w 674"/>
                <a:gd name="T89" fmla="*/ 2147483647 h 667"/>
                <a:gd name="T90" fmla="*/ 2147483647 w 674"/>
                <a:gd name="T91" fmla="*/ 2147483647 h 667"/>
                <a:gd name="T92" fmla="*/ 2147483647 w 674"/>
                <a:gd name="T93" fmla="*/ 2147483647 h 667"/>
                <a:gd name="T94" fmla="*/ 2147483647 w 674"/>
                <a:gd name="T95" fmla="*/ 2147483647 h 667"/>
                <a:gd name="T96" fmla="*/ 2147483647 w 674"/>
                <a:gd name="T97" fmla="*/ 2147483647 h 667"/>
                <a:gd name="T98" fmla="*/ 2147483647 w 674"/>
                <a:gd name="T99" fmla="*/ 2147483647 h 6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4"/>
                <a:gd name="T151" fmla="*/ 0 h 667"/>
                <a:gd name="T152" fmla="*/ 674 w 674"/>
                <a:gd name="T153" fmla="*/ 667 h 6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4" h="667">
                  <a:moveTo>
                    <a:pt x="0" y="142"/>
                  </a:moveTo>
                  <a:lnTo>
                    <a:pt x="270" y="142"/>
                  </a:lnTo>
                  <a:lnTo>
                    <a:pt x="275" y="140"/>
                  </a:lnTo>
                  <a:lnTo>
                    <a:pt x="279" y="138"/>
                  </a:lnTo>
                  <a:lnTo>
                    <a:pt x="283" y="136"/>
                  </a:lnTo>
                  <a:lnTo>
                    <a:pt x="285" y="134"/>
                  </a:lnTo>
                  <a:lnTo>
                    <a:pt x="287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0" y="124"/>
                  </a:lnTo>
                  <a:lnTo>
                    <a:pt x="289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7" y="99"/>
                  </a:lnTo>
                  <a:lnTo>
                    <a:pt x="268" y="85"/>
                  </a:lnTo>
                  <a:lnTo>
                    <a:pt x="263" y="77"/>
                  </a:lnTo>
                  <a:lnTo>
                    <a:pt x="262" y="73"/>
                  </a:lnTo>
                  <a:lnTo>
                    <a:pt x="260" y="69"/>
                  </a:lnTo>
                  <a:lnTo>
                    <a:pt x="259" y="65"/>
                  </a:lnTo>
                  <a:lnTo>
                    <a:pt x="258" y="61"/>
                  </a:lnTo>
                  <a:lnTo>
                    <a:pt x="258" y="57"/>
                  </a:lnTo>
                  <a:lnTo>
                    <a:pt x="258" y="52"/>
                  </a:lnTo>
                  <a:lnTo>
                    <a:pt x="259" y="48"/>
                  </a:lnTo>
                  <a:lnTo>
                    <a:pt x="260" y="43"/>
                  </a:lnTo>
                  <a:lnTo>
                    <a:pt x="262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5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7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3" y="9"/>
                  </a:lnTo>
                  <a:lnTo>
                    <a:pt x="388" y="12"/>
                  </a:lnTo>
                  <a:lnTo>
                    <a:pt x="392" y="14"/>
                  </a:lnTo>
                  <a:lnTo>
                    <a:pt x="396" y="17"/>
                  </a:lnTo>
                  <a:lnTo>
                    <a:pt x="400" y="21"/>
                  </a:lnTo>
                  <a:lnTo>
                    <a:pt x="404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3" y="37"/>
                  </a:lnTo>
                  <a:lnTo>
                    <a:pt x="415" y="41"/>
                  </a:lnTo>
                  <a:lnTo>
                    <a:pt x="416" y="46"/>
                  </a:lnTo>
                  <a:lnTo>
                    <a:pt x="417" y="51"/>
                  </a:lnTo>
                  <a:lnTo>
                    <a:pt x="417" y="55"/>
                  </a:lnTo>
                  <a:lnTo>
                    <a:pt x="416" y="59"/>
                  </a:lnTo>
                  <a:lnTo>
                    <a:pt x="414" y="67"/>
                  </a:lnTo>
                  <a:lnTo>
                    <a:pt x="410" y="75"/>
                  </a:lnTo>
                  <a:lnTo>
                    <a:pt x="406" y="83"/>
                  </a:lnTo>
                  <a:lnTo>
                    <a:pt x="395" y="98"/>
                  </a:lnTo>
                  <a:lnTo>
                    <a:pt x="390" y="104"/>
                  </a:lnTo>
                  <a:lnTo>
                    <a:pt x="386" y="112"/>
                  </a:lnTo>
                  <a:lnTo>
                    <a:pt x="383" y="118"/>
                  </a:lnTo>
                  <a:lnTo>
                    <a:pt x="382" y="121"/>
                  </a:lnTo>
                  <a:lnTo>
                    <a:pt x="382" y="124"/>
                  </a:lnTo>
                  <a:lnTo>
                    <a:pt x="382" y="126"/>
                  </a:lnTo>
                  <a:lnTo>
                    <a:pt x="383" y="129"/>
                  </a:lnTo>
                  <a:lnTo>
                    <a:pt x="384" y="132"/>
                  </a:lnTo>
                  <a:lnTo>
                    <a:pt x="386" y="134"/>
                  </a:lnTo>
                  <a:lnTo>
                    <a:pt x="389" y="136"/>
                  </a:lnTo>
                  <a:lnTo>
                    <a:pt x="393" y="138"/>
                  </a:lnTo>
                  <a:lnTo>
                    <a:pt x="397" y="140"/>
                  </a:lnTo>
                  <a:lnTo>
                    <a:pt x="403" y="142"/>
                  </a:lnTo>
                  <a:lnTo>
                    <a:pt x="674" y="142"/>
                  </a:lnTo>
                  <a:lnTo>
                    <a:pt x="674" y="336"/>
                  </a:lnTo>
                  <a:lnTo>
                    <a:pt x="672" y="342"/>
                  </a:lnTo>
                  <a:lnTo>
                    <a:pt x="670" y="346"/>
                  </a:lnTo>
                  <a:lnTo>
                    <a:pt x="668" y="350"/>
                  </a:lnTo>
                  <a:lnTo>
                    <a:pt x="666" y="352"/>
                  </a:lnTo>
                  <a:lnTo>
                    <a:pt x="664" y="355"/>
                  </a:lnTo>
                  <a:lnTo>
                    <a:pt x="661" y="356"/>
                  </a:lnTo>
                  <a:lnTo>
                    <a:pt x="659" y="357"/>
                  </a:lnTo>
                  <a:lnTo>
                    <a:pt x="656" y="357"/>
                  </a:lnTo>
                  <a:lnTo>
                    <a:pt x="653" y="357"/>
                  </a:lnTo>
                  <a:lnTo>
                    <a:pt x="651" y="356"/>
                  </a:lnTo>
                  <a:lnTo>
                    <a:pt x="645" y="353"/>
                  </a:lnTo>
                  <a:lnTo>
                    <a:pt x="639" y="350"/>
                  </a:lnTo>
                  <a:lnTo>
                    <a:pt x="631" y="345"/>
                  </a:lnTo>
                  <a:lnTo>
                    <a:pt x="624" y="340"/>
                  </a:lnTo>
                  <a:lnTo>
                    <a:pt x="617" y="335"/>
                  </a:lnTo>
                  <a:lnTo>
                    <a:pt x="609" y="331"/>
                  </a:lnTo>
                  <a:lnTo>
                    <a:pt x="601" y="328"/>
                  </a:lnTo>
                  <a:lnTo>
                    <a:pt x="597" y="326"/>
                  </a:lnTo>
                  <a:lnTo>
                    <a:pt x="593" y="325"/>
                  </a:lnTo>
                  <a:lnTo>
                    <a:pt x="589" y="325"/>
                  </a:lnTo>
                  <a:lnTo>
                    <a:pt x="585" y="325"/>
                  </a:lnTo>
                  <a:lnTo>
                    <a:pt x="580" y="326"/>
                  </a:lnTo>
                  <a:lnTo>
                    <a:pt x="576" y="327"/>
                  </a:lnTo>
                  <a:lnTo>
                    <a:pt x="571" y="329"/>
                  </a:lnTo>
                  <a:lnTo>
                    <a:pt x="566" y="332"/>
                  </a:lnTo>
                  <a:lnTo>
                    <a:pt x="562" y="334"/>
                  </a:lnTo>
                  <a:lnTo>
                    <a:pt x="559" y="337"/>
                  </a:lnTo>
                  <a:lnTo>
                    <a:pt x="555" y="341"/>
                  </a:lnTo>
                  <a:lnTo>
                    <a:pt x="552" y="344"/>
                  </a:lnTo>
                  <a:lnTo>
                    <a:pt x="546" y="352"/>
                  </a:lnTo>
                  <a:lnTo>
                    <a:pt x="541" y="361"/>
                  </a:lnTo>
                  <a:lnTo>
                    <a:pt x="539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3" y="392"/>
                  </a:lnTo>
                  <a:lnTo>
                    <a:pt x="532" y="397"/>
                  </a:lnTo>
                  <a:lnTo>
                    <a:pt x="532" y="403"/>
                  </a:lnTo>
                  <a:lnTo>
                    <a:pt x="532" y="414"/>
                  </a:lnTo>
                  <a:lnTo>
                    <a:pt x="533" y="424"/>
                  </a:lnTo>
                  <a:lnTo>
                    <a:pt x="536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4" y="455"/>
                  </a:lnTo>
                  <a:lnTo>
                    <a:pt x="546" y="459"/>
                  </a:lnTo>
                  <a:lnTo>
                    <a:pt x="550" y="463"/>
                  </a:lnTo>
                  <a:lnTo>
                    <a:pt x="554" y="467"/>
                  </a:lnTo>
                  <a:lnTo>
                    <a:pt x="557" y="471"/>
                  </a:lnTo>
                  <a:lnTo>
                    <a:pt x="561" y="475"/>
                  </a:lnTo>
                  <a:lnTo>
                    <a:pt x="565" y="478"/>
                  </a:lnTo>
                  <a:lnTo>
                    <a:pt x="570" y="480"/>
                  </a:lnTo>
                  <a:lnTo>
                    <a:pt x="574" y="482"/>
                  </a:lnTo>
                  <a:lnTo>
                    <a:pt x="578" y="483"/>
                  </a:lnTo>
                  <a:lnTo>
                    <a:pt x="583" y="484"/>
                  </a:lnTo>
                  <a:lnTo>
                    <a:pt x="587" y="484"/>
                  </a:lnTo>
                  <a:lnTo>
                    <a:pt x="591" y="484"/>
                  </a:lnTo>
                  <a:lnTo>
                    <a:pt x="599" y="481"/>
                  </a:lnTo>
                  <a:lnTo>
                    <a:pt x="603" y="480"/>
                  </a:lnTo>
                  <a:lnTo>
                    <a:pt x="607" y="477"/>
                  </a:lnTo>
                  <a:lnTo>
                    <a:pt x="615" y="473"/>
                  </a:lnTo>
                  <a:lnTo>
                    <a:pt x="630" y="462"/>
                  </a:lnTo>
                  <a:lnTo>
                    <a:pt x="638" y="457"/>
                  </a:lnTo>
                  <a:lnTo>
                    <a:pt x="644" y="453"/>
                  </a:lnTo>
                  <a:lnTo>
                    <a:pt x="647" y="452"/>
                  </a:lnTo>
                  <a:lnTo>
                    <a:pt x="650" y="450"/>
                  </a:lnTo>
                  <a:lnTo>
                    <a:pt x="653" y="450"/>
                  </a:lnTo>
                  <a:lnTo>
                    <a:pt x="656" y="449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4" y="452"/>
                  </a:lnTo>
                  <a:lnTo>
                    <a:pt x="666" y="454"/>
                  </a:lnTo>
                  <a:lnTo>
                    <a:pt x="668" y="457"/>
                  </a:lnTo>
                  <a:lnTo>
                    <a:pt x="671" y="461"/>
                  </a:lnTo>
                  <a:lnTo>
                    <a:pt x="673" y="465"/>
                  </a:lnTo>
                  <a:lnTo>
                    <a:pt x="674" y="471"/>
                  </a:lnTo>
                  <a:lnTo>
                    <a:pt x="674" y="667"/>
                  </a:lnTo>
                  <a:lnTo>
                    <a:pt x="0" y="667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1011238" y="3275013"/>
              <a:ext cx="823912" cy="695325"/>
            </a:xfrm>
            <a:custGeom>
              <a:avLst/>
              <a:gdLst>
                <a:gd name="T0" fmla="*/ 2147483647 w 674"/>
                <a:gd name="T1" fmla="*/ 2147483647 h 525"/>
                <a:gd name="T2" fmla="*/ 2147483647 w 674"/>
                <a:gd name="T3" fmla="*/ 2147483647 h 525"/>
                <a:gd name="T4" fmla="*/ 2147483647 w 674"/>
                <a:gd name="T5" fmla="*/ 2147483647 h 525"/>
                <a:gd name="T6" fmla="*/ 2147483647 w 674"/>
                <a:gd name="T7" fmla="*/ 2147483647 h 525"/>
                <a:gd name="T8" fmla="*/ 2147483647 w 674"/>
                <a:gd name="T9" fmla="*/ 2147483647 h 525"/>
                <a:gd name="T10" fmla="*/ 2147483647 w 674"/>
                <a:gd name="T11" fmla="*/ 2147483647 h 525"/>
                <a:gd name="T12" fmla="*/ 2147483647 w 674"/>
                <a:gd name="T13" fmla="*/ 2147483647 h 525"/>
                <a:gd name="T14" fmla="*/ 2147483647 w 674"/>
                <a:gd name="T15" fmla="*/ 2147483647 h 525"/>
                <a:gd name="T16" fmla="*/ 2147483647 w 674"/>
                <a:gd name="T17" fmla="*/ 2147483647 h 525"/>
                <a:gd name="T18" fmla="*/ 2147483647 w 674"/>
                <a:gd name="T19" fmla="*/ 2147483647 h 525"/>
                <a:gd name="T20" fmla="*/ 2147483647 w 674"/>
                <a:gd name="T21" fmla="*/ 2147483647 h 525"/>
                <a:gd name="T22" fmla="*/ 2147483647 w 674"/>
                <a:gd name="T23" fmla="*/ 2147483647 h 525"/>
                <a:gd name="T24" fmla="*/ 2147483647 w 674"/>
                <a:gd name="T25" fmla="*/ 2147483647 h 525"/>
                <a:gd name="T26" fmla="*/ 2147483647 w 674"/>
                <a:gd name="T27" fmla="*/ 2147483647 h 525"/>
                <a:gd name="T28" fmla="*/ 2147483647 w 674"/>
                <a:gd name="T29" fmla="*/ 2147483647 h 525"/>
                <a:gd name="T30" fmla="*/ 2147483647 w 674"/>
                <a:gd name="T31" fmla="*/ 2147483647 h 525"/>
                <a:gd name="T32" fmla="*/ 2147483647 w 674"/>
                <a:gd name="T33" fmla="*/ 2147483647 h 525"/>
                <a:gd name="T34" fmla="*/ 2147483647 w 674"/>
                <a:gd name="T35" fmla="*/ 2147483647 h 525"/>
                <a:gd name="T36" fmla="*/ 2147483647 w 674"/>
                <a:gd name="T37" fmla="*/ 2147483647 h 525"/>
                <a:gd name="T38" fmla="*/ 2147483647 w 674"/>
                <a:gd name="T39" fmla="*/ 2147483647 h 525"/>
                <a:gd name="T40" fmla="*/ 2147483647 w 674"/>
                <a:gd name="T41" fmla="*/ 2147483647 h 525"/>
                <a:gd name="T42" fmla="*/ 2147483647 w 674"/>
                <a:gd name="T43" fmla="*/ 2147483647 h 525"/>
                <a:gd name="T44" fmla="*/ 2147483647 w 674"/>
                <a:gd name="T45" fmla="*/ 2147483647 h 525"/>
                <a:gd name="T46" fmla="*/ 2147483647 w 674"/>
                <a:gd name="T47" fmla="*/ 2147483647 h 525"/>
                <a:gd name="T48" fmla="*/ 2147483647 w 674"/>
                <a:gd name="T49" fmla="*/ 2147483647 h 525"/>
                <a:gd name="T50" fmla="*/ 2147483647 w 674"/>
                <a:gd name="T51" fmla="*/ 2147483647 h 525"/>
                <a:gd name="T52" fmla="*/ 2147483647 w 674"/>
                <a:gd name="T53" fmla="*/ 2147483647 h 525"/>
                <a:gd name="T54" fmla="*/ 2147483647 w 674"/>
                <a:gd name="T55" fmla="*/ 2147483647 h 525"/>
                <a:gd name="T56" fmla="*/ 2147483647 w 674"/>
                <a:gd name="T57" fmla="*/ 2147483647 h 525"/>
                <a:gd name="T58" fmla="*/ 2147483647 w 674"/>
                <a:gd name="T59" fmla="*/ 2147483647 h 525"/>
                <a:gd name="T60" fmla="*/ 2147483647 w 674"/>
                <a:gd name="T61" fmla="*/ 2147483647 h 525"/>
                <a:gd name="T62" fmla="*/ 2147483647 w 674"/>
                <a:gd name="T63" fmla="*/ 2147483647 h 525"/>
                <a:gd name="T64" fmla="*/ 2147483647 w 674"/>
                <a:gd name="T65" fmla="*/ 2147483647 h 525"/>
                <a:gd name="T66" fmla="*/ 2147483647 w 674"/>
                <a:gd name="T67" fmla="*/ 2147483647 h 525"/>
                <a:gd name="T68" fmla="*/ 2147483647 w 674"/>
                <a:gd name="T69" fmla="*/ 2147483647 h 525"/>
                <a:gd name="T70" fmla="*/ 2147483647 w 674"/>
                <a:gd name="T71" fmla="*/ 2147483647 h 525"/>
                <a:gd name="T72" fmla="*/ 2147483647 w 674"/>
                <a:gd name="T73" fmla="*/ 2147483647 h 525"/>
                <a:gd name="T74" fmla="*/ 2147483647 w 674"/>
                <a:gd name="T75" fmla="*/ 2147483647 h 525"/>
                <a:gd name="T76" fmla="*/ 2147483647 w 674"/>
                <a:gd name="T77" fmla="*/ 2147483647 h 525"/>
                <a:gd name="T78" fmla="*/ 2147483647 w 674"/>
                <a:gd name="T79" fmla="*/ 2147483647 h 525"/>
                <a:gd name="T80" fmla="*/ 2147483647 w 674"/>
                <a:gd name="T81" fmla="*/ 2147483647 h 525"/>
                <a:gd name="T82" fmla="*/ 2147483647 w 674"/>
                <a:gd name="T83" fmla="*/ 2147483647 h 525"/>
                <a:gd name="T84" fmla="*/ 2147483647 w 674"/>
                <a:gd name="T85" fmla="*/ 2147483647 h 525"/>
                <a:gd name="T86" fmla="*/ 2147483647 w 674"/>
                <a:gd name="T87" fmla="*/ 2147483647 h 525"/>
                <a:gd name="T88" fmla="*/ 2147483647 w 674"/>
                <a:gd name="T89" fmla="*/ 2147483647 h 525"/>
                <a:gd name="T90" fmla="*/ 2147483647 w 674"/>
                <a:gd name="T91" fmla="*/ 2147483647 h 525"/>
                <a:gd name="T92" fmla="*/ 2147483647 w 674"/>
                <a:gd name="T93" fmla="*/ 2147483647 h 525"/>
                <a:gd name="T94" fmla="*/ 2147483647 w 674"/>
                <a:gd name="T95" fmla="*/ 2147483647 h 525"/>
                <a:gd name="T96" fmla="*/ 2147483647 w 674"/>
                <a:gd name="T97" fmla="*/ 2147483647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4"/>
                <a:gd name="T148" fmla="*/ 0 h 525"/>
                <a:gd name="T149" fmla="*/ 674 w 674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4" h="525">
                  <a:moveTo>
                    <a:pt x="0" y="0"/>
                  </a:moveTo>
                  <a:lnTo>
                    <a:pt x="674" y="0"/>
                  </a:lnTo>
                  <a:lnTo>
                    <a:pt x="674" y="196"/>
                  </a:lnTo>
                  <a:lnTo>
                    <a:pt x="672" y="201"/>
                  </a:lnTo>
                  <a:lnTo>
                    <a:pt x="670" y="205"/>
                  </a:lnTo>
                  <a:lnTo>
                    <a:pt x="668" y="208"/>
                  </a:lnTo>
                  <a:lnTo>
                    <a:pt x="666" y="211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9" y="215"/>
                  </a:lnTo>
                  <a:lnTo>
                    <a:pt x="656" y="215"/>
                  </a:lnTo>
                  <a:lnTo>
                    <a:pt x="653" y="215"/>
                  </a:lnTo>
                  <a:lnTo>
                    <a:pt x="651" y="214"/>
                  </a:lnTo>
                  <a:lnTo>
                    <a:pt x="645" y="211"/>
                  </a:lnTo>
                  <a:lnTo>
                    <a:pt x="639" y="207"/>
                  </a:lnTo>
                  <a:lnTo>
                    <a:pt x="631" y="203"/>
                  </a:lnTo>
                  <a:lnTo>
                    <a:pt x="617" y="193"/>
                  </a:lnTo>
                  <a:lnTo>
                    <a:pt x="609" y="189"/>
                  </a:lnTo>
                  <a:lnTo>
                    <a:pt x="606" y="187"/>
                  </a:lnTo>
                  <a:lnTo>
                    <a:pt x="602" y="185"/>
                  </a:lnTo>
                  <a:lnTo>
                    <a:pt x="598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5" y="183"/>
                  </a:lnTo>
                  <a:lnTo>
                    <a:pt x="580" y="184"/>
                  </a:lnTo>
                  <a:lnTo>
                    <a:pt x="576" y="185"/>
                  </a:lnTo>
                  <a:lnTo>
                    <a:pt x="571" y="187"/>
                  </a:lnTo>
                  <a:lnTo>
                    <a:pt x="567" y="190"/>
                  </a:lnTo>
                  <a:lnTo>
                    <a:pt x="563" y="192"/>
                  </a:lnTo>
                  <a:lnTo>
                    <a:pt x="559" y="195"/>
                  </a:lnTo>
                  <a:lnTo>
                    <a:pt x="556" y="199"/>
                  </a:lnTo>
                  <a:lnTo>
                    <a:pt x="553" y="202"/>
                  </a:lnTo>
                  <a:lnTo>
                    <a:pt x="546" y="210"/>
                  </a:lnTo>
                  <a:lnTo>
                    <a:pt x="541" y="219"/>
                  </a:lnTo>
                  <a:lnTo>
                    <a:pt x="539" y="224"/>
                  </a:lnTo>
                  <a:lnTo>
                    <a:pt x="538" y="229"/>
                  </a:lnTo>
                  <a:lnTo>
                    <a:pt x="535" y="240"/>
                  </a:lnTo>
                  <a:lnTo>
                    <a:pt x="533" y="250"/>
                  </a:lnTo>
                  <a:lnTo>
                    <a:pt x="532" y="255"/>
                  </a:lnTo>
                  <a:lnTo>
                    <a:pt x="532" y="261"/>
                  </a:lnTo>
                  <a:lnTo>
                    <a:pt x="532" y="272"/>
                  </a:lnTo>
                  <a:lnTo>
                    <a:pt x="534" y="282"/>
                  </a:lnTo>
                  <a:lnTo>
                    <a:pt x="536" y="293"/>
                  </a:lnTo>
                  <a:lnTo>
                    <a:pt x="540" y="304"/>
                  </a:lnTo>
                  <a:lnTo>
                    <a:pt x="542" y="308"/>
                  </a:lnTo>
                  <a:lnTo>
                    <a:pt x="544" y="313"/>
                  </a:lnTo>
                  <a:lnTo>
                    <a:pt x="547" y="317"/>
                  </a:lnTo>
                  <a:lnTo>
                    <a:pt x="551" y="321"/>
                  </a:lnTo>
                  <a:lnTo>
                    <a:pt x="554" y="325"/>
                  </a:lnTo>
                  <a:lnTo>
                    <a:pt x="558" y="329"/>
                  </a:lnTo>
                  <a:lnTo>
                    <a:pt x="562" y="332"/>
                  </a:lnTo>
                  <a:lnTo>
                    <a:pt x="566" y="336"/>
                  </a:lnTo>
                  <a:lnTo>
                    <a:pt x="570" y="338"/>
                  </a:lnTo>
                  <a:lnTo>
                    <a:pt x="574" y="340"/>
                  </a:lnTo>
                  <a:lnTo>
                    <a:pt x="579" y="341"/>
                  </a:lnTo>
                  <a:lnTo>
                    <a:pt x="583" y="342"/>
                  </a:lnTo>
                  <a:lnTo>
                    <a:pt x="587" y="342"/>
                  </a:lnTo>
                  <a:lnTo>
                    <a:pt x="591" y="342"/>
                  </a:lnTo>
                  <a:lnTo>
                    <a:pt x="600" y="339"/>
                  </a:lnTo>
                  <a:lnTo>
                    <a:pt x="607" y="336"/>
                  </a:lnTo>
                  <a:lnTo>
                    <a:pt x="615" y="331"/>
                  </a:lnTo>
                  <a:lnTo>
                    <a:pt x="623" y="326"/>
                  </a:lnTo>
                  <a:lnTo>
                    <a:pt x="630" y="320"/>
                  </a:lnTo>
                  <a:lnTo>
                    <a:pt x="638" y="316"/>
                  </a:lnTo>
                  <a:lnTo>
                    <a:pt x="644" y="311"/>
                  </a:lnTo>
                  <a:lnTo>
                    <a:pt x="650" y="309"/>
                  </a:lnTo>
                  <a:lnTo>
                    <a:pt x="653" y="308"/>
                  </a:lnTo>
                  <a:lnTo>
                    <a:pt x="656" y="307"/>
                  </a:lnTo>
                  <a:lnTo>
                    <a:pt x="661" y="308"/>
                  </a:lnTo>
                  <a:lnTo>
                    <a:pt x="664" y="309"/>
                  </a:lnTo>
                  <a:lnTo>
                    <a:pt x="666" y="312"/>
                  </a:lnTo>
                  <a:lnTo>
                    <a:pt x="668" y="314"/>
                  </a:lnTo>
                  <a:lnTo>
                    <a:pt x="670" y="318"/>
                  </a:lnTo>
                  <a:lnTo>
                    <a:pt x="672" y="322"/>
                  </a:lnTo>
                  <a:lnTo>
                    <a:pt x="674" y="328"/>
                  </a:lnTo>
                  <a:lnTo>
                    <a:pt x="674" y="525"/>
                  </a:lnTo>
                  <a:lnTo>
                    <a:pt x="403" y="525"/>
                  </a:lnTo>
                  <a:lnTo>
                    <a:pt x="393" y="521"/>
                  </a:lnTo>
                  <a:lnTo>
                    <a:pt x="390" y="519"/>
                  </a:lnTo>
                  <a:lnTo>
                    <a:pt x="387" y="517"/>
                  </a:lnTo>
                  <a:lnTo>
                    <a:pt x="384" y="515"/>
                  </a:lnTo>
                  <a:lnTo>
                    <a:pt x="383" y="512"/>
                  </a:lnTo>
                  <a:lnTo>
                    <a:pt x="382" y="509"/>
                  </a:lnTo>
                  <a:lnTo>
                    <a:pt x="382" y="507"/>
                  </a:lnTo>
                  <a:lnTo>
                    <a:pt x="382" y="504"/>
                  </a:lnTo>
                  <a:lnTo>
                    <a:pt x="383" y="501"/>
                  </a:lnTo>
                  <a:lnTo>
                    <a:pt x="386" y="495"/>
                  </a:lnTo>
                  <a:lnTo>
                    <a:pt x="390" y="487"/>
                  </a:lnTo>
                  <a:lnTo>
                    <a:pt x="395" y="481"/>
                  </a:lnTo>
                  <a:lnTo>
                    <a:pt x="400" y="473"/>
                  </a:lnTo>
                  <a:lnTo>
                    <a:pt x="405" y="466"/>
                  </a:lnTo>
                  <a:lnTo>
                    <a:pt x="410" y="458"/>
                  </a:lnTo>
                  <a:lnTo>
                    <a:pt x="414" y="450"/>
                  </a:lnTo>
                  <a:lnTo>
                    <a:pt x="416" y="442"/>
                  </a:lnTo>
                  <a:lnTo>
                    <a:pt x="417" y="438"/>
                  </a:lnTo>
                  <a:lnTo>
                    <a:pt x="417" y="433"/>
                  </a:lnTo>
                  <a:lnTo>
                    <a:pt x="416" y="429"/>
                  </a:lnTo>
                  <a:lnTo>
                    <a:pt x="415" y="424"/>
                  </a:lnTo>
                  <a:lnTo>
                    <a:pt x="413" y="419"/>
                  </a:lnTo>
                  <a:lnTo>
                    <a:pt x="410" y="415"/>
                  </a:lnTo>
                  <a:lnTo>
                    <a:pt x="404" y="407"/>
                  </a:lnTo>
                  <a:lnTo>
                    <a:pt x="400" y="404"/>
                  </a:lnTo>
                  <a:lnTo>
                    <a:pt x="396" y="400"/>
                  </a:lnTo>
                  <a:lnTo>
                    <a:pt x="388" y="395"/>
                  </a:lnTo>
                  <a:lnTo>
                    <a:pt x="383" y="392"/>
                  </a:lnTo>
                  <a:lnTo>
                    <a:pt x="377" y="390"/>
                  </a:lnTo>
                  <a:lnTo>
                    <a:pt x="367" y="387"/>
                  </a:lnTo>
                  <a:lnTo>
                    <a:pt x="362" y="385"/>
                  </a:lnTo>
                  <a:lnTo>
                    <a:pt x="357" y="384"/>
                  </a:lnTo>
                  <a:lnTo>
                    <a:pt x="346" y="383"/>
                  </a:lnTo>
                  <a:lnTo>
                    <a:pt x="335" y="383"/>
                  </a:lnTo>
                  <a:lnTo>
                    <a:pt x="325" y="383"/>
                  </a:lnTo>
                  <a:lnTo>
                    <a:pt x="314" y="385"/>
                  </a:lnTo>
                  <a:lnTo>
                    <a:pt x="304" y="388"/>
                  </a:lnTo>
                  <a:lnTo>
                    <a:pt x="299" y="390"/>
                  </a:lnTo>
                  <a:lnTo>
                    <a:pt x="294" y="392"/>
                  </a:lnTo>
                  <a:lnTo>
                    <a:pt x="285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0" y="409"/>
                  </a:lnTo>
                  <a:lnTo>
                    <a:pt x="267" y="412"/>
                  </a:lnTo>
                  <a:lnTo>
                    <a:pt x="264" y="416"/>
                  </a:lnTo>
                  <a:lnTo>
                    <a:pt x="262" y="421"/>
                  </a:lnTo>
                  <a:lnTo>
                    <a:pt x="260" y="425"/>
                  </a:lnTo>
                  <a:lnTo>
                    <a:pt x="259" y="431"/>
                  </a:lnTo>
                  <a:lnTo>
                    <a:pt x="258" y="435"/>
                  </a:lnTo>
                  <a:lnTo>
                    <a:pt x="258" y="440"/>
                  </a:lnTo>
                  <a:lnTo>
                    <a:pt x="258" y="444"/>
                  </a:lnTo>
                  <a:lnTo>
                    <a:pt x="259" y="448"/>
                  </a:lnTo>
                  <a:lnTo>
                    <a:pt x="260" y="452"/>
                  </a:lnTo>
                  <a:lnTo>
                    <a:pt x="263" y="460"/>
                  </a:lnTo>
                  <a:lnTo>
                    <a:pt x="268" y="467"/>
                  </a:lnTo>
                  <a:lnTo>
                    <a:pt x="273" y="475"/>
                  </a:lnTo>
                  <a:lnTo>
                    <a:pt x="277" y="482"/>
                  </a:lnTo>
                  <a:lnTo>
                    <a:pt x="282" y="488"/>
                  </a:lnTo>
                  <a:lnTo>
                    <a:pt x="286" y="495"/>
                  </a:lnTo>
                  <a:lnTo>
                    <a:pt x="288" y="501"/>
                  </a:lnTo>
                  <a:lnTo>
                    <a:pt x="289" y="504"/>
                  </a:lnTo>
                  <a:lnTo>
                    <a:pt x="289" y="507"/>
                  </a:lnTo>
                  <a:lnTo>
                    <a:pt x="289" y="509"/>
                  </a:lnTo>
                  <a:lnTo>
                    <a:pt x="288" y="512"/>
                  </a:lnTo>
                  <a:lnTo>
                    <a:pt x="287" y="514"/>
                  </a:lnTo>
                  <a:lnTo>
                    <a:pt x="285" y="517"/>
                  </a:lnTo>
                  <a:lnTo>
                    <a:pt x="282" y="519"/>
                  </a:lnTo>
                  <a:lnTo>
                    <a:pt x="279" y="521"/>
                  </a:lnTo>
                  <a:lnTo>
                    <a:pt x="274" y="523"/>
                  </a:lnTo>
                  <a:lnTo>
                    <a:pt x="269" y="525"/>
                  </a:lnTo>
                  <a:lnTo>
                    <a:pt x="0" y="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1660525" y="3275013"/>
              <a:ext cx="1006475" cy="695325"/>
            </a:xfrm>
            <a:custGeom>
              <a:avLst/>
              <a:gdLst>
                <a:gd name="T0" fmla="*/ 2147483647 w 822"/>
                <a:gd name="T1" fmla="*/ 2147483647 h 525"/>
                <a:gd name="T2" fmla="*/ 2147483647 w 822"/>
                <a:gd name="T3" fmla="*/ 2147483647 h 525"/>
                <a:gd name="T4" fmla="*/ 2147483647 w 822"/>
                <a:gd name="T5" fmla="*/ 2147483647 h 525"/>
                <a:gd name="T6" fmla="*/ 2147483647 w 822"/>
                <a:gd name="T7" fmla="*/ 2147483647 h 525"/>
                <a:gd name="T8" fmla="*/ 2147483647 w 822"/>
                <a:gd name="T9" fmla="*/ 2147483647 h 525"/>
                <a:gd name="T10" fmla="*/ 2147483647 w 822"/>
                <a:gd name="T11" fmla="*/ 2147483647 h 525"/>
                <a:gd name="T12" fmla="*/ 2147483647 w 822"/>
                <a:gd name="T13" fmla="*/ 2147483647 h 525"/>
                <a:gd name="T14" fmla="*/ 2147483647 w 822"/>
                <a:gd name="T15" fmla="*/ 2147483647 h 525"/>
                <a:gd name="T16" fmla="*/ 2147483647 w 822"/>
                <a:gd name="T17" fmla="*/ 2147483647 h 525"/>
                <a:gd name="T18" fmla="*/ 2147483647 w 822"/>
                <a:gd name="T19" fmla="*/ 2147483647 h 525"/>
                <a:gd name="T20" fmla="*/ 2147483647 w 822"/>
                <a:gd name="T21" fmla="*/ 2147483647 h 525"/>
                <a:gd name="T22" fmla="*/ 2147483647 w 822"/>
                <a:gd name="T23" fmla="*/ 2147483647 h 525"/>
                <a:gd name="T24" fmla="*/ 2147483647 w 822"/>
                <a:gd name="T25" fmla="*/ 2147483647 h 525"/>
                <a:gd name="T26" fmla="*/ 2147483647 w 822"/>
                <a:gd name="T27" fmla="*/ 2147483647 h 525"/>
                <a:gd name="T28" fmla="*/ 2147483647 w 822"/>
                <a:gd name="T29" fmla="*/ 2147483647 h 525"/>
                <a:gd name="T30" fmla="*/ 2147483647 w 822"/>
                <a:gd name="T31" fmla="*/ 2147483647 h 525"/>
                <a:gd name="T32" fmla="*/ 2147483647 w 822"/>
                <a:gd name="T33" fmla="*/ 2147483647 h 525"/>
                <a:gd name="T34" fmla="*/ 2147483647 w 822"/>
                <a:gd name="T35" fmla="*/ 2147483647 h 525"/>
                <a:gd name="T36" fmla="*/ 2147483647 w 822"/>
                <a:gd name="T37" fmla="*/ 2147483647 h 525"/>
                <a:gd name="T38" fmla="*/ 2147483647 w 822"/>
                <a:gd name="T39" fmla="*/ 2147483647 h 525"/>
                <a:gd name="T40" fmla="*/ 2147483647 w 822"/>
                <a:gd name="T41" fmla="*/ 2147483647 h 525"/>
                <a:gd name="T42" fmla="*/ 2147483647 w 822"/>
                <a:gd name="T43" fmla="*/ 2147483647 h 525"/>
                <a:gd name="T44" fmla="*/ 2147483647 w 822"/>
                <a:gd name="T45" fmla="*/ 2147483647 h 525"/>
                <a:gd name="T46" fmla="*/ 2147483647 w 822"/>
                <a:gd name="T47" fmla="*/ 2147483647 h 525"/>
                <a:gd name="T48" fmla="*/ 2147483647 w 822"/>
                <a:gd name="T49" fmla="*/ 2147483647 h 525"/>
                <a:gd name="T50" fmla="*/ 2147483647 w 822"/>
                <a:gd name="T51" fmla="*/ 2147483647 h 525"/>
                <a:gd name="T52" fmla="*/ 2147483647 w 822"/>
                <a:gd name="T53" fmla="*/ 2147483647 h 525"/>
                <a:gd name="T54" fmla="*/ 2147483647 w 822"/>
                <a:gd name="T55" fmla="*/ 2147483647 h 525"/>
                <a:gd name="T56" fmla="*/ 2147483647 w 822"/>
                <a:gd name="T57" fmla="*/ 2147483647 h 525"/>
                <a:gd name="T58" fmla="*/ 2147483647 w 822"/>
                <a:gd name="T59" fmla="*/ 2147483647 h 525"/>
                <a:gd name="T60" fmla="*/ 2147483647 w 822"/>
                <a:gd name="T61" fmla="*/ 2147483647 h 525"/>
                <a:gd name="T62" fmla="*/ 2147483647 w 822"/>
                <a:gd name="T63" fmla="*/ 2147483647 h 525"/>
                <a:gd name="T64" fmla="*/ 2147483647 w 822"/>
                <a:gd name="T65" fmla="*/ 2147483647 h 525"/>
                <a:gd name="T66" fmla="*/ 2147483647 w 822"/>
                <a:gd name="T67" fmla="*/ 2147483647 h 525"/>
                <a:gd name="T68" fmla="*/ 2147483647 w 822"/>
                <a:gd name="T69" fmla="*/ 2147483647 h 525"/>
                <a:gd name="T70" fmla="*/ 2147483647 w 822"/>
                <a:gd name="T71" fmla="*/ 2147483647 h 525"/>
                <a:gd name="T72" fmla="*/ 2147483647 w 822"/>
                <a:gd name="T73" fmla="*/ 2147483647 h 525"/>
                <a:gd name="T74" fmla="*/ 2147483647 w 822"/>
                <a:gd name="T75" fmla="*/ 2147483647 h 525"/>
                <a:gd name="T76" fmla="*/ 2147483647 w 822"/>
                <a:gd name="T77" fmla="*/ 2147483647 h 525"/>
                <a:gd name="T78" fmla="*/ 2147483647 w 822"/>
                <a:gd name="T79" fmla="*/ 2147483647 h 525"/>
                <a:gd name="T80" fmla="*/ 2147483647 w 822"/>
                <a:gd name="T81" fmla="*/ 2147483647 h 525"/>
                <a:gd name="T82" fmla="*/ 2147483647 w 822"/>
                <a:gd name="T83" fmla="*/ 2147483647 h 525"/>
                <a:gd name="T84" fmla="*/ 2147483647 w 822"/>
                <a:gd name="T85" fmla="*/ 2147483647 h 525"/>
                <a:gd name="T86" fmla="*/ 2147483647 w 822"/>
                <a:gd name="T87" fmla="*/ 2147483647 h 525"/>
                <a:gd name="T88" fmla="*/ 2147483647 w 822"/>
                <a:gd name="T89" fmla="*/ 2147483647 h 525"/>
                <a:gd name="T90" fmla="*/ 2147483647 w 822"/>
                <a:gd name="T91" fmla="*/ 2147483647 h 525"/>
                <a:gd name="T92" fmla="*/ 2147483647 w 822"/>
                <a:gd name="T93" fmla="*/ 2147483647 h 525"/>
                <a:gd name="T94" fmla="*/ 2147483647 w 822"/>
                <a:gd name="T95" fmla="*/ 2147483647 h 525"/>
                <a:gd name="T96" fmla="*/ 2147483647 w 822"/>
                <a:gd name="T97" fmla="*/ 2147483647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2"/>
                <a:gd name="T148" fmla="*/ 0 h 525"/>
                <a:gd name="T149" fmla="*/ 822 w 822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2" h="525">
                  <a:moveTo>
                    <a:pt x="822" y="525"/>
                  </a:moveTo>
                  <a:lnTo>
                    <a:pt x="549" y="525"/>
                  </a:lnTo>
                  <a:lnTo>
                    <a:pt x="542" y="522"/>
                  </a:lnTo>
                  <a:lnTo>
                    <a:pt x="536" y="520"/>
                  </a:lnTo>
                  <a:lnTo>
                    <a:pt x="532" y="516"/>
                  </a:lnTo>
                  <a:lnTo>
                    <a:pt x="530" y="515"/>
                  </a:lnTo>
                  <a:lnTo>
                    <a:pt x="529" y="513"/>
                  </a:lnTo>
                  <a:lnTo>
                    <a:pt x="528" y="510"/>
                  </a:lnTo>
                  <a:lnTo>
                    <a:pt x="527" y="506"/>
                  </a:lnTo>
                  <a:lnTo>
                    <a:pt x="528" y="502"/>
                  </a:lnTo>
                  <a:lnTo>
                    <a:pt x="529" y="498"/>
                  </a:lnTo>
                  <a:lnTo>
                    <a:pt x="534" y="489"/>
                  </a:lnTo>
                  <a:lnTo>
                    <a:pt x="540" y="479"/>
                  </a:lnTo>
                  <a:lnTo>
                    <a:pt x="550" y="466"/>
                  </a:lnTo>
                  <a:lnTo>
                    <a:pt x="555" y="458"/>
                  </a:lnTo>
                  <a:lnTo>
                    <a:pt x="558" y="451"/>
                  </a:lnTo>
                  <a:lnTo>
                    <a:pt x="560" y="445"/>
                  </a:lnTo>
                  <a:lnTo>
                    <a:pt x="561" y="442"/>
                  </a:lnTo>
                  <a:lnTo>
                    <a:pt x="561" y="438"/>
                  </a:lnTo>
                  <a:lnTo>
                    <a:pt x="561" y="432"/>
                  </a:lnTo>
                  <a:lnTo>
                    <a:pt x="560" y="425"/>
                  </a:lnTo>
                  <a:lnTo>
                    <a:pt x="559" y="422"/>
                  </a:lnTo>
                  <a:lnTo>
                    <a:pt x="558" y="420"/>
                  </a:lnTo>
                  <a:lnTo>
                    <a:pt x="556" y="416"/>
                  </a:lnTo>
                  <a:lnTo>
                    <a:pt x="554" y="412"/>
                  </a:lnTo>
                  <a:lnTo>
                    <a:pt x="551" y="408"/>
                  </a:lnTo>
                  <a:lnTo>
                    <a:pt x="548" y="405"/>
                  </a:lnTo>
                  <a:lnTo>
                    <a:pt x="544" y="402"/>
                  </a:lnTo>
                  <a:lnTo>
                    <a:pt x="536" y="396"/>
                  </a:lnTo>
                  <a:lnTo>
                    <a:pt x="531" y="393"/>
                  </a:lnTo>
                  <a:lnTo>
                    <a:pt x="527" y="391"/>
                  </a:lnTo>
                  <a:lnTo>
                    <a:pt x="520" y="389"/>
                  </a:lnTo>
                  <a:lnTo>
                    <a:pt x="515" y="387"/>
                  </a:lnTo>
                  <a:lnTo>
                    <a:pt x="504" y="384"/>
                  </a:lnTo>
                  <a:lnTo>
                    <a:pt x="498" y="383"/>
                  </a:lnTo>
                  <a:lnTo>
                    <a:pt x="492" y="383"/>
                  </a:lnTo>
                  <a:lnTo>
                    <a:pt x="480" y="382"/>
                  </a:lnTo>
                  <a:lnTo>
                    <a:pt x="468" y="383"/>
                  </a:lnTo>
                  <a:lnTo>
                    <a:pt x="457" y="385"/>
                  </a:lnTo>
                  <a:lnTo>
                    <a:pt x="445" y="388"/>
                  </a:lnTo>
                  <a:lnTo>
                    <a:pt x="439" y="391"/>
                  </a:lnTo>
                  <a:lnTo>
                    <a:pt x="434" y="393"/>
                  </a:lnTo>
                  <a:lnTo>
                    <a:pt x="429" y="396"/>
                  </a:lnTo>
                  <a:lnTo>
                    <a:pt x="424" y="399"/>
                  </a:lnTo>
                  <a:lnTo>
                    <a:pt x="420" y="403"/>
                  </a:lnTo>
                  <a:lnTo>
                    <a:pt x="416" y="407"/>
                  </a:lnTo>
                  <a:lnTo>
                    <a:pt x="412" y="411"/>
                  </a:lnTo>
                  <a:lnTo>
                    <a:pt x="409" y="416"/>
                  </a:lnTo>
                  <a:lnTo>
                    <a:pt x="406" y="420"/>
                  </a:lnTo>
                  <a:lnTo>
                    <a:pt x="404" y="425"/>
                  </a:lnTo>
                  <a:lnTo>
                    <a:pt x="403" y="431"/>
                  </a:lnTo>
                  <a:lnTo>
                    <a:pt x="402" y="435"/>
                  </a:lnTo>
                  <a:lnTo>
                    <a:pt x="402" y="439"/>
                  </a:lnTo>
                  <a:lnTo>
                    <a:pt x="403" y="444"/>
                  </a:lnTo>
                  <a:lnTo>
                    <a:pt x="404" y="448"/>
                  </a:lnTo>
                  <a:lnTo>
                    <a:pt x="405" y="452"/>
                  </a:lnTo>
                  <a:lnTo>
                    <a:pt x="408" y="460"/>
                  </a:lnTo>
                  <a:lnTo>
                    <a:pt x="412" y="468"/>
                  </a:lnTo>
                  <a:lnTo>
                    <a:pt x="417" y="475"/>
                  </a:lnTo>
                  <a:lnTo>
                    <a:pt x="422" y="482"/>
                  </a:lnTo>
                  <a:lnTo>
                    <a:pt x="427" y="488"/>
                  </a:lnTo>
                  <a:lnTo>
                    <a:pt x="431" y="495"/>
                  </a:lnTo>
                  <a:lnTo>
                    <a:pt x="433" y="501"/>
                  </a:lnTo>
                  <a:lnTo>
                    <a:pt x="434" y="504"/>
                  </a:lnTo>
                  <a:lnTo>
                    <a:pt x="434" y="507"/>
                  </a:lnTo>
                  <a:lnTo>
                    <a:pt x="434" y="509"/>
                  </a:lnTo>
                  <a:lnTo>
                    <a:pt x="433" y="512"/>
                  </a:lnTo>
                  <a:lnTo>
                    <a:pt x="432" y="514"/>
                  </a:lnTo>
                  <a:lnTo>
                    <a:pt x="430" y="517"/>
                  </a:lnTo>
                  <a:lnTo>
                    <a:pt x="427" y="519"/>
                  </a:lnTo>
                  <a:lnTo>
                    <a:pt x="423" y="521"/>
                  </a:lnTo>
                  <a:lnTo>
                    <a:pt x="419" y="523"/>
                  </a:lnTo>
                  <a:lnTo>
                    <a:pt x="413" y="525"/>
                  </a:lnTo>
                  <a:lnTo>
                    <a:pt x="142" y="525"/>
                  </a:lnTo>
                  <a:lnTo>
                    <a:pt x="142" y="327"/>
                  </a:lnTo>
                  <a:lnTo>
                    <a:pt x="138" y="317"/>
                  </a:lnTo>
                  <a:lnTo>
                    <a:pt x="134" y="311"/>
                  </a:lnTo>
                  <a:lnTo>
                    <a:pt x="132" y="309"/>
                  </a:lnTo>
                  <a:lnTo>
                    <a:pt x="129" y="308"/>
                  </a:lnTo>
                  <a:lnTo>
                    <a:pt x="127" y="307"/>
                  </a:lnTo>
                  <a:lnTo>
                    <a:pt x="124" y="307"/>
                  </a:lnTo>
                  <a:lnTo>
                    <a:pt x="121" y="308"/>
                  </a:lnTo>
                  <a:lnTo>
                    <a:pt x="118" y="309"/>
                  </a:lnTo>
                  <a:lnTo>
                    <a:pt x="112" y="312"/>
                  </a:lnTo>
                  <a:lnTo>
                    <a:pt x="106" y="316"/>
                  </a:lnTo>
                  <a:lnTo>
                    <a:pt x="98" y="321"/>
                  </a:lnTo>
                  <a:lnTo>
                    <a:pt x="83" y="331"/>
                  </a:lnTo>
                  <a:lnTo>
                    <a:pt x="79" y="333"/>
                  </a:lnTo>
                  <a:lnTo>
                    <a:pt x="76" y="336"/>
                  </a:lnTo>
                  <a:lnTo>
                    <a:pt x="72" y="338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3" y="340"/>
                  </a:lnTo>
                  <a:lnTo>
                    <a:pt x="38" y="338"/>
                  </a:lnTo>
                  <a:lnTo>
                    <a:pt x="34" y="336"/>
                  </a:lnTo>
                  <a:lnTo>
                    <a:pt x="26" y="329"/>
                  </a:lnTo>
                  <a:lnTo>
                    <a:pt x="22" y="325"/>
                  </a:lnTo>
                  <a:lnTo>
                    <a:pt x="19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8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6" y="229"/>
                  </a:lnTo>
                  <a:lnTo>
                    <a:pt x="8" y="224"/>
                  </a:lnTo>
                  <a:lnTo>
                    <a:pt x="10" y="219"/>
                  </a:lnTo>
                  <a:lnTo>
                    <a:pt x="14" y="210"/>
                  </a:lnTo>
                  <a:lnTo>
                    <a:pt x="18" y="206"/>
                  </a:lnTo>
                  <a:lnTo>
                    <a:pt x="21" y="202"/>
                  </a:lnTo>
                  <a:lnTo>
                    <a:pt x="27" y="195"/>
                  </a:lnTo>
                  <a:lnTo>
                    <a:pt x="31" y="192"/>
                  </a:lnTo>
                  <a:lnTo>
                    <a:pt x="35" y="190"/>
                  </a:lnTo>
                  <a:lnTo>
                    <a:pt x="40" y="187"/>
                  </a:lnTo>
                  <a:lnTo>
                    <a:pt x="44" y="185"/>
                  </a:lnTo>
                  <a:lnTo>
                    <a:pt x="49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6" y="184"/>
                  </a:lnTo>
                  <a:lnTo>
                    <a:pt x="70" y="185"/>
                  </a:lnTo>
                  <a:lnTo>
                    <a:pt x="78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7" y="207"/>
                  </a:lnTo>
                  <a:lnTo>
                    <a:pt x="113" y="211"/>
                  </a:lnTo>
                  <a:lnTo>
                    <a:pt x="119" y="214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7" y="215"/>
                  </a:lnTo>
                  <a:lnTo>
                    <a:pt x="129" y="214"/>
                  </a:lnTo>
                  <a:lnTo>
                    <a:pt x="132" y="213"/>
                  </a:lnTo>
                  <a:lnTo>
                    <a:pt x="134" y="211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6"/>
                  </a:lnTo>
                  <a:lnTo>
                    <a:pt x="142" y="0"/>
                  </a:lnTo>
                  <a:lnTo>
                    <a:pt x="822" y="0"/>
                  </a:lnTo>
                  <a:lnTo>
                    <a:pt x="822" y="525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grpSp>
        <p:nvGrpSpPr>
          <p:cNvPr id="30" name="Group 4"/>
          <p:cNvGrpSpPr>
            <a:grpSpLocks/>
          </p:cNvGrpSpPr>
          <p:nvPr/>
        </p:nvGrpSpPr>
        <p:grpSpPr bwMode="auto">
          <a:xfrm>
            <a:off x="6976031" y="1975399"/>
            <a:ext cx="2474913" cy="2078037"/>
            <a:chOff x="2437" y="2527"/>
            <a:chExt cx="2025" cy="1570"/>
          </a:xfrm>
        </p:grpSpPr>
        <p:sp>
          <p:nvSpPr>
            <p:cNvPr id="36" name="Freeform 5"/>
            <p:cNvSpPr>
              <a:spLocks/>
            </p:cNvSpPr>
            <p:nvPr/>
          </p:nvSpPr>
          <p:spPr bwMode="auto">
            <a:xfrm>
              <a:off x="3786" y="3572"/>
              <a:ext cx="676" cy="525"/>
            </a:xfrm>
            <a:custGeom>
              <a:avLst/>
              <a:gdLst>
                <a:gd name="T0" fmla="*/ 279 w 676"/>
                <a:gd name="T1" fmla="*/ 3 h 525"/>
                <a:gd name="T2" fmla="*/ 288 w 676"/>
                <a:gd name="T3" fmla="*/ 10 h 525"/>
                <a:gd name="T4" fmla="*/ 290 w 676"/>
                <a:gd name="T5" fmla="*/ 19 h 525"/>
                <a:gd name="T6" fmla="*/ 287 w 676"/>
                <a:gd name="T7" fmla="*/ 30 h 525"/>
                <a:gd name="T8" fmla="*/ 274 w 676"/>
                <a:gd name="T9" fmla="*/ 49 h 525"/>
                <a:gd name="T10" fmla="*/ 262 w 676"/>
                <a:gd name="T11" fmla="*/ 70 h 525"/>
                <a:gd name="T12" fmla="*/ 259 w 676"/>
                <a:gd name="T13" fmla="*/ 82 h 525"/>
                <a:gd name="T14" fmla="*/ 260 w 676"/>
                <a:gd name="T15" fmla="*/ 93 h 525"/>
                <a:gd name="T16" fmla="*/ 270 w 676"/>
                <a:gd name="T17" fmla="*/ 114 h 525"/>
                <a:gd name="T18" fmla="*/ 283 w 676"/>
                <a:gd name="T19" fmla="*/ 126 h 525"/>
                <a:gd name="T20" fmla="*/ 296 w 676"/>
                <a:gd name="T21" fmla="*/ 132 h 525"/>
                <a:gd name="T22" fmla="*/ 319 w 676"/>
                <a:gd name="T23" fmla="*/ 139 h 525"/>
                <a:gd name="T24" fmla="*/ 350 w 676"/>
                <a:gd name="T25" fmla="*/ 141 h 525"/>
                <a:gd name="T26" fmla="*/ 381 w 676"/>
                <a:gd name="T27" fmla="*/ 133 h 525"/>
                <a:gd name="T28" fmla="*/ 396 w 676"/>
                <a:gd name="T29" fmla="*/ 124 h 525"/>
                <a:gd name="T30" fmla="*/ 411 w 676"/>
                <a:gd name="T31" fmla="*/ 108 h 525"/>
                <a:gd name="T32" fmla="*/ 417 w 676"/>
                <a:gd name="T33" fmla="*/ 95 h 525"/>
                <a:gd name="T34" fmla="*/ 417 w 676"/>
                <a:gd name="T35" fmla="*/ 82 h 525"/>
                <a:gd name="T36" fmla="*/ 406 w 676"/>
                <a:gd name="T37" fmla="*/ 58 h 525"/>
                <a:gd name="T38" fmla="*/ 387 w 676"/>
                <a:gd name="T39" fmla="*/ 30 h 525"/>
                <a:gd name="T40" fmla="*/ 383 w 676"/>
                <a:gd name="T41" fmla="*/ 18 h 525"/>
                <a:gd name="T42" fmla="*/ 385 w 676"/>
                <a:gd name="T43" fmla="*/ 11 h 525"/>
                <a:gd name="T44" fmla="*/ 393 w 676"/>
                <a:gd name="T45" fmla="*/ 4 h 525"/>
                <a:gd name="T46" fmla="*/ 676 w 676"/>
                <a:gd name="T47" fmla="*/ 0 h 525"/>
                <a:gd name="T48" fmla="*/ 0 w 676"/>
                <a:gd name="T49" fmla="*/ 329 h 525"/>
                <a:gd name="T50" fmla="*/ 8 w 676"/>
                <a:gd name="T51" fmla="*/ 312 h 525"/>
                <a:gd name="T52" fmla="*/ 15 w 676"/>
                <a:gd name="T53" fmla="*/ 307 h 525"/>
                <a:gd name="T54" fmla="*/ 27 w 676"/>
                <a:gd name="T55" fmla="*/ 309 h 525"/>
                <a:gd name="T56" fmla="*/ 58 w 676"/>
                <a:gd name="T57" fmla="*/ 330 h 525"/>
                <a:gd name="T58" fmla="*/ 79 w 676"/>
                <a:gd name="T59" fmla="*/ 340 h 525"/>
                <a:gd name="T60" fmla="*/ 92 w 676"/>
                <a:gd name="T61" fmla="*/ 341 h 525"/>
                <a:gd name="T62" fmla="*/ 107 w 676"/>
                <a:gd name="T63" fmla="*/ 336 h 525"/>
                <a:gd name="T64" fmla="*/ 119 w 676"/>
                <a:gd name="T65" fmla="*/ 328 h 525"/>
                <a:gd name="T66" fmla="*/ 128 w 676"/>
                <a:gd name="T67" fmla="*/ 316 h 525"/>
                <a:gd name="T68" fmla="*/ 135 w 676"/>
                <a:gd name="T69" fmla="*/ 301 h 525"/>
                <a:gd name="T70" fmla="*/ 140 w 676"/>
                <a:gd name="T71" fmla="*/ 278 h 525"/>
                <a:gd name="T72" fmla="*/ 141 w 676"/>
                <a:gd name="T73" fmla="*/ 248 h 525"/>
                <a:gd name="T74" fmla="*/ 133 w 676"/>
                <a:gd name="T75" fmla="*/ 220 h 525"/>
                <a:gd name="T76" fmla="*/ 125 w 676"/>
                <a:gd name="T77" fmla="*/ 205 h 525"/>
                <a:gd name="T78" fmla="*/ 113 w 676"/>
                <a:gd name="T79" fmla="*/ 193 h 525"/>
                <a:gd name="T80" fmla="*/ 98 w 676"/>
                <a:gd name="T81" fmla="*/ 185 h 525"/>
                <a:gd name="T82" fmla="*/ 84 w 676"/>
                <a:gd name="T83" fmla="*/ 182 h 525"/>
                <a:gd name="T84" fmla="*/ 72 w 676"/>
                <a:gd name="T85" fmla="*/ 186 h 525"/>
                <a:gd name="T86" fmla="*/ 49 w 676"/>
                <a:gd name="T87" fmla="*/ 198 h 525"/>
                <a:gd name="T88" fmla="*/ 29 w 676"/>
                <a:gd name="T89" fmla="*/ 211 h 525"/>
                <a:gd name="T90" fmla="*/ 18 w 676"/>
                <a:gd name="T91" fmla="*/ 215 h 525"/>
                <a:gd name="T92" fmla="*/ 11 w 676"/>
                <a:gd name="T93" fmla="*/ 213 h 525"/>
                <a:gd name="T94" fmla="*/ 4 w 676"/>
                <a:gd name="T95" fmla="*/ 204 h 525"/>
                <a:gd name="T96" fmla="*/ 0 w 676"/>
                <a:gd name="T97" fmla="*/ 0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6"/>
                <a:gd name="T148" fmla="*/ 0 h 525"/>
                <a:gd name="T149" fmla="*/ 676 w 676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6" h="525">
                  <a:moveTo>
                    <a:pt x="0" y="0"/>
                  </a:moveTo>
                  <a:lnTo>
                    <a:pt x="273" y="0"/>
                  </a:lnTo>
                  <a:lnTo>
                    <a:pt x="279" y="3"/>
                  </a:lnTo>
                  <a:lnTo>
                    <a:pt x="283" y="6"/>
                  </a:lnTo>
                  <a:lnTo>
                    <a:pt x="287" y="9"/>
                  </a:lnTo>
                  <a:lnTo>
                    <a:pt x="288" y="10"/>
                  </a:lnTo>
                  <a:lnTo>
                    <a:pt x="289" y="12"/>
                  </a:lnTo>
                  <a:lnTo>
                    <a:pt x="290" y="15"/>
                  </a:lnTo>
                  <a:lnTo>
                    <a:pt x="290" y="19"/>
                  </a:lnTo>
                  <a:lnTo>
                    <a:pt x="290" y="22"/>
                  </a:lnTo>
                  <a:lnTo>
                    <a:pt x="289" y="26"/>
                  </a:lnTo>
                  <a:lnTo>
                    <a:pt x="287" y="30"/>
                  </a:lnTo>
                  <a:lnTo>
                    <a:pt x="285" y="33"/>
                  </a:lnTo>
                  <a:lnTo>
                    <a:pt x="279" y="41"/>
                  </a:lnTo>
                  <a:lnTo>
                    <a:pt x="274" y="49"/>
                  </a:lnTo>
                  <a:lnTo>
                    <a:pt x="269" y="55"/>
                  </a:lnTo>
                  <a:lnTo>
                    <a:pt x="264" y="65"/>
                  </a:lnTo>
                  <a:lnTo>
                    <a:pt x="262" y="70"/>
                  </a:lnTo>
                  <a:lnTo>
                    <a:pt x="261" y="74"/>
                  </a:lnTo>
                  <a:lnTo>
                    <a:pt x="260" y="78"/>
                  </a:lnTo>
                  <a:lnTo>
                    <a:pt x="259" y="82"/>
                  </a:lnTo>
                  <a:lnTo>
                    <a:pt x="259" y="87"/>
                  </a:lnTo>
                  <a:lnTo>
                    <a:pt x="259" y="91"/>
                  </a:lnTo>
                  <a:lnTo>
                    <a:pt x="260" y="93"/>
                  </a:lnTo>
                  <a:lnTo>
                    <a:pt x="262" y="101"/>
                  </a:lnTo>
                  <a:lnTo>
                    <a:pt x="265" y="108"/>
                  </a:lnTo>
                  <a:lnTo>
                    <a:pt x="270" y="114"/>
                  </a:lnTo>
                  <a:lnTo>
                    <a:pt x="276" y="120"/>
                  </a:lnTo>
                  <a:lnTo>
                    <a:pt x="280" y="123"/>
                  </a:lnTo>
                  <a:lnTo>
                    <a:pt x="283" y="126"/>
                  </a:lnTo>
                  <a:lnTo>
                    <a:pt x="287" y="128"/>
                  </a:lnTo>
                  <a:lnTo>
                    <a:pt x="291" y="130"/>
                  </a:lnTo>
                  <a:lnTo>
                    <a:pt x="296" y="132"/>
                  </a:lnTo>
                  <a:lnTo>
                    <a:pt x="300" y="134"/>
                  </a:lnTo>
                  <a:lnTo>
                    <a:pt x="309" y="137"/>
                  </a:lnTo>
                  <a:lnTo>
                    <a:pt x="319" y="139"/>
                  </a:lnTo>
                  <a:lnTo>
                    <a:pt x="329" y="141"/>
                  </a:lnTo>
                  <a:lnTo>
                    <a:pt x="340" y="141"/>
                  </a:lnTo>
                  <a:lnTo>
                    <a:pt x="350" y="141"/>
                  </a:lnTo>
                  <a:lnTo>
                    <a:pt x="360" y="139"/>
                  </a:lnTo>
                  <a:lnTo>
                    <a:pt x="371" y="137"/>
                  </a:lnTo>
                  <a:lnTo>
                    <a:pt x="381" y="133"/>
                  </a:lnTo>
                  <a:lnTo>
                    <a:pt x="385" y="131"/>
                  </a:lnTo>
                  <a:lnTo>
                    <a:pt x="390" y="128"/>
                  </a:lnTo>
                  <a:lnTo>
                    <a:pt x="396" y="124"/>
                  </a:lnTo>
                  <a:lnTo>
                    <a:pt x="402" y="119"/>
                  </a:lnTo>
                  <a:lnTo>
                    <a:pt x="407" y="114"/>
                  </a:lnTo>
                  <a:lnTo>
                    <a:pt x="411" y="108"/>
                  </a:lnTo>
                  <a:lnTo>
                    <a:pt x="414" y="104"/>
                  </a:lnTo>
                  <a:lnTo>
                    <a:pt x="416" y="99"/>
                  </a:lnTo>
                  <a:lnTo>
                    <a:pt x="417" y="95"/>
                  </a:lnTo>
                  <a:lnTo>
                    <a:pt x="417" y="91"/>
                  </a:lnTo>
                  <a:lnTo>
                    <a:pt x="417" y="87"/>
                  </a:lnTo>
                  <a:lnTo>
                    <a:pt x="417" y="82"/>
                  </a:lnTo>
                  <a:lnTo>
                    <a:pt x="415" y="73"/>
                  </a:lnTo>
                  <a:lnTo>
                    <a:pt x="411" y="66"/>
                  </a:lnTo>
                  <a:lnTo>
                    <a:pt x="406" y="58"/>
                  </a:lnTo>
                  <a:lnTo>
                    <a:pt x="396" y="43"/>
                  </a:lnTo>
                  <a:lnTo>
                    <a:pt x="391" y="37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3" y="21"/>
                  </a:lnTo>
                  <a:lnTo>
                    <a:pt x="383" y="18"/>
                  </a:lnTo>
                  <a:lnTo>
                    <a:pt x="383" y="16"/>
                  </a:lnTo>
                  <a:lnTo>
                    <a:pt x="384" y="13"/>
                  </a:lnTo>
                  <a:lnTo>
                    <a:pt x="385" y="11"/>
                  </a:lnTo>
                  <a:lnTo>
                    <a:pt x="387" y="8"/>
                  </a:lnTo>
                  <a:lnTo>
                    <a:pt x="389" y="6"/>
                  </a:lnTo>
                  <a:lnTo>
                    <a:pt x="393" y="4"/>
                  </a:lnTo>
                  <a:lnTo>
                    <a:pt x="397" y="2"/>
                  </a:lnTo>
                  <a:lnTo>
                    <a:pt x="402" y="0"/>
                  </a:lnTo>
                  <a:lnTo>
                    <a:pt x="676" y="0"/>
                  </a:lnTo>
                  <a:lnTo>
                    <a:pt x="676" y="525"/>
                  </a:lnTo>
                  <a:lnTo>
                    <a:pt x="0" y="525"/>
                  </a:lnTo>
                  <a:lnTo>
                    <a:pt x="0" y="329"/>
                  </a:lnTo>
                  <a:lnTo>
                    <a:pt x="2" y="322"/>
                  </a:lnTo>
                  <a:lnTo>
                    <a:pt x="5" y="316"/>
                  </a:lnTo>
                  <a:lnTo>
                    <a:pt x="8" y="312"/>
                  </a:lnTo>
                  <a:lnTo>
                    <a:pt x="10" y="310"/>
                  </a:lnTo>
                  <a:lnTo>
                    <a:pt x="12" y="309"/>
                  </a:lnTo>
                  <a:lnTo>
                    <a:pt x="15" y="307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9"/>
                  </a:lnTo>
                  <a:lnTo>
                    <a:pt x="35" y="314"/>
                  </a:lnTo>
                  <a:lnTo>
                    <a:pt x="44" y="320"/>
                  </a:lnTo>
                  <a:lnTo>
                    <a:pt x="58" y="330"/>
                  </a:lnTo>
                  <a:lnTo>
                    <a:pt x="66" y="335"/>
                  </a:lnTo>
                  <a:lnTo>
                    <a:pt x="73" y="338"/>
                  </a:lnTo>
                  <a:lnTo>
                    <a:pt x="79" y="340"/>
                  </a:lnTo>
                  <a:lnTo>
                    <a:pt x="82" y="341"/>
                  </a:lnTo>
                  <a:lnTo>
                    <a:pt x="85" y="341"/>
                  </a:lnTo>
                  <a:lnTo>
                    <a:pt x="92" y="341"/>
                  </a:lnTo>
                  <a:lnTo>
                    <a:pt x="98" y="340"/>
                  </a:lnTo>
                  <a:lnTo>
                    <a:pt x="103" y="338"/>
                  </a:lnTo>
                  <a:lnTo>
                    <a:pt x="107" y="336"/>
                  </a:lnTo>
                  <a:lnTo>
                    <a:pt x="112" y="334"/>
                  </a:lnTo>
                  <a:lnTo>
                    <a:pt x="115" y="331"/>
                  </a:lnTo>
                  <a:lnTo>
                    <a:pt x="119" y="328"/>
                  </a:lnTo>
                  <a:lnTo>
                    <a:pt x="122" y="324"/>
                  </a:lnTo>
                  <a:lnTo>
                    <a:pt x="125" y="320"/>
                  </a:lnTo>
                  <a:lnTo>
                    <a:pt x="128" y="316"/>
                  </a:lnTo>
                  <a:lnTo>
                    <a:pt x="131" y="311"/>
                  </a:lnTo>
                  <a:lnTo>
                    <a:pt x="133" y="306"/>
                  </a:lnTo>
                  <a:lnTo>
                    <a:pt x="135" y="301"/>
                  </a:lnTo>
                  <a:lnTo>
                    <a:pt x="137" y="296"/>
                  </a:lnTo>
                  <a:lnTo>
                    <a:pt x="139" y="285"/>
                  </a:lnTo>
                  <a:lnTo>
                    <a:pt x="140" y="278"/>
                  </a:lnTo>
                  <a:lnTo>
                    <a:pt x="141" y="272"/>
                  </a:lnTo>
                  <a:lnTo>
                    <a:pt x="141" y="260"/>
                  </a:lnTo>
                  <a:lnTo>
                    <a:pt x="141" y="248"/>
                  </a:lnTo>
                  <a:lnTo>
                    <a:pt x="139" y="237"/>
                  </a:lnTo>
                  <a:lnTo>
                    <a:pt x="135" y="225"/>
                  </a:lnTo>
                  <a:lnTo>
                    <a:pt x="133" y="220"/>
                  </a:lnTo>
                  <a:lnTo>
                    <a:pt x="131" y="215"/>
                  </a:lnTo>
                  <a:lnTo>
                    <a:pt x="128" y="210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17" y="197"/>
                  </a:lnTo>
                  <a:lnTo>
                    <a:pt x="113" y="193"/>
                  </a:lnTo>
                  <a:lnTo>
                    <a:pt x="107" y="190"/>
                  </a:lnTo>
                  <a:lnTo>
                    <a:pt x="102" y="187"/>
                  </a:lnTo>
                  <a:lnTo>
                    <a:pt x="98" y="185"/>
                  </a:lnTo>
                  <a:lnTo>
                    <a:pt x="93" y="184"/>
                  </a:lnTo>
                  <a:lnTo>
                    <a:pt x="89" y="182"/>
                  </a:lnTo>
                  <a:lnTo>
                    <a:pt x="84" y="182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6"/>
                  </a:lnTo>
                  <a:lnTo>
                    <a:pt x="64" y="189"/>
                  </a:lnTo>
                  <a:lnTo>
                    <a:pt x="56" y="193"/>
                  </a:lnTo>
                  <a:lnTo>
                    <a:pt x="49" y="198"/>
                  </a:lnTo>
                  <a:lnTo>
                    <a:pt x="42" y="203"/>
                  </a:lnTo>
                  <a:lnTo>
                    <a:pt x="36" y="208"/>
                  </a:lnTo>
                  <a:lnTo>
                    <a:pt x="29" y="211"/>
                  </a:lnTo>
                  <a:lnTo>
                    <a:pt x="24" y="214"/>
                  </a:lnTo>
                  <a:lnTo>
                    <a:pt x="21" y="215"/>
                  </a:lnTo>
                  <a:lnTo>
                    <a:pt x="18" y="215"/>
                  </a:lnTo>
                  <a:lnTo>
                    <a:pt x="15" y="215"/>
                  </a:lnTo>
                  <a:lnTo>
                    <a:pt x="13" y="214"/>
                  </a:lnTo>
                  <a:lnTo>
                    <a:pt x="11" y="213"/>
                  </a:lnTo>
                  <a:lnTo>
                    <a:pt x="8" y="210"/>
                  </a:lnTo>
                  <a:lnTo>
                    <a:pt x="6" y="208"/>
                  </a:lnTo>
                  <a:lnTo>
                    <a:pt x="4" y="204"/>
                  </a:lnTo>
                  <a:lnTo>
                    <a:pt x="2" y="200"/>
                  </a:lnTo>
                  <a:lnTo>
                    <a:pt x="0" y="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645" y="2908"/>
              <a:ext cx="817" cy="806"/>
            </a:xfrm>
            <a:custGeom>
              <a:avLst/>
              <a:gdLst>
                <a:gd name="T0" fmla="*/ 47 w 817"/>
                <a:gd name="T1" fmla="*/ 324 h 806"/>
                <a:gd name="T2" fmla="*/ 64 w 817"/>
                <a:gd name="T3" fmla="*/ 324 h 806"/>
                <a:gd name="T4" fmla="*/ 91 w 817"/>
                <a:gd name="T5" fmla="*/ 338 h 806"/>
                <a:gd name="T6" fmla="*/ 116 w 817"/>
                <a:gd name="T7" fmla="*/ 354 h 806"/>
                <a:gd name="T8" fmla="*/ 130 w 817"/>
                <a:gd name="T9" fmla="*/ 353 h 806"/>
                <a:gd name="T10" fmla="*/ 139 w 817"/>
                <a:gd name="T11" fmla="*/ 341 h 806"/>
                <a:gd name="T12" fmla="*/ 418 w 817"/>
                <a:gd name="T13" fmla="*/ 138 h 806"/>
                <a:gd name="T14" fmla="*/ 432 w 817"/>
                <a:gd name="T15" fmla="*/ 126 h 806"/>
                <a:gd name="T16" fmla="*/ 427 w 817"/>
                <a:gd name="T17" fmla="*/ 108 h 806"/>
                <a:gd name="T18" fmla="*/ 407 w 817"/>
                <a:gd name="T19" fmla="*/ 77 h 806"/>
                <a:gd name="T20" fmla="*/ 401 w 817"/>
                <a:gd name="T21" fmla="*/ 57 h 806"/>
                <a:gd name="T22" fmla="*/ 406 w 817"/>
                <a:gd name="T23" fmla="*/ 34 h 806"/>
                <a:gd name="T24" fmla="*/ 422 w 817"/>
                <a:gd name="T25" fmla="*/ 17 h 806"/>
                <a:gd name="T26" fmla="*/ 446 w 817"/>
                <a:gd name="T27" fmla="*/ 5 h 806"/>
                <a:gd name="T28" fmla="*/ 474 w 817"/>
                <a:gd name="T29" fmla="*/ 0 h 806"/>
                <a:gd name="T30" fmla="*/ 503 w 817"/>
                <a:gd name="T31" fmla="*/ 2 h 806"/>
                <a:gd name="T32" fmla="*/ 524 w 817"/>
                <a:gd name="T33" fmla="*/ 9 h 806"/>
                <a:gd name="T34" fmla="*/ 545 w 817"/>
                <a:gd name="T35" fmla="*/ 24 h 806"/>
                <a:gd name="T36" fmla="*/ 556 w 817"/>
                <a:gd name="T37" fmla="*/ 42 h 806"/>
                <a:gd name="T38" fmla="*/ 556 w 817"/>
                <a:gd name="T39" fmla="*/ 64 h 806"/>
                <a:gd name="T40" fmla="*/ 547 w 817"/>
                <a:gd name="T41" fmla="*/ 83 h 806"/>
                <a:gd name="T42" fmla="*/ 525 w 817"/>
                <a:gd name="T43" fmla="*/ 114 h 806"/>
                <a:gd name="T44" fmla="*/ 524 w 817"/>
                <a:gd name="T45" fmla="*/ 128 h 806"/>
                <a:gd name="T46" fmla="*/ 532 w 817"/>
                <a:gd name="T47" fmla="*/ 136 h 806"/>
                <a:gd name="T48" fmla="*/ 817 w 817"/>
                <a:gd name="T49" fmla="*/ 141 h 806"/>
                <a:gd name="T50" fmla="*/ 531 w 817"/>
                <a:gd name="T51" fmla="*/ 670 h 806"/>
                <a:gd name="T52" fmla="*/ 524 w 817"/>
                <a:gd name="T53" fmla="*/ 680 h 806"/>
                <a:gd name="T54" fmla="*/ 527 w 817"/>
                <a:gd name="T55" fmla="*/ 694 h 806"/>
                <a:gd name="T56" fmla="*/ 547 w 817"/>
                <a:gd name="T57" fmla="*/ 722 h 806"/>
                <a:gd name="T58" fmla="*/ 558 w 817"/>
                <a:gd name="T59" fmla="*/ 752 h 806"/>
                <a:gd name="T60" fmla="*/ 554 w 817"/>
                <a:gd name="T61" fmla="*/ 769 h 806"/>
                <a:gd name="T62" fmla="*/ 537 w 817"/>
                <a:gd name="T63" fmla="*/ 788 h 806"/>
                <a:gd name="T64" fmla="*/ 510 w 817"/>
                <a:gd name="T65" fmla="*/ 802 h 806"/>
                <a:gd name="T66" fmla="*/ 477 w 817"/>
                <a:gd name="T67" fmla="*/ 806 h 806"/>
                <a:gd name="T68" fmla="*/ 441 w 817"/>
                <a:gd name="T69" fmla="*/ 798 h 806"/>
                <a:gd name="T70" fmla="*/ 419 w 817"/>
                <a:gd name="T71" fmla="*/ 786 h 806"/>
                <a:gd name="T72" fmla="*/ 404 w 817"/>
                <a:gd name="T73" fmla="*/ 767 h 806"/>
                <a:gd name="T74" fmla="*/ 400 w 817"/>
                <a:gd name="T75" fmla="*/ 750 h 806"/>
                <a:gd name="T76" fmla="*/ 406 w 817"/>
                <a:gd name="T77" fmla="*/ 728 h 806"/>
                <a:gd name="T78" fmla="*/ 424 w 817"/>
                <a:gd name="T79" fmla="*/ 700 h 806"/>
                <a:gd name="T80" fmla="*/ 432 w 817"/>
                <a:gd name="T81" fmla="*/ 682 h 806"/>
                <a:gd name="T82" fmla="*/ 428 w 817"/>
                <a:gd name="T83" fmla="*/ 673 h 806"/>
                <a:gd name="T84" fmla="*/ 412 w 817"/>
                <a:gd name="T85" fmla="*/ 664 h 806"/>
                <a:gd name="T86" fmla="*/ 135 w 817"/>
                <a:gd name="T87" fmla="*/ 453 h 806"/>
                <a:gd name="T88" fmla="*/ 125 w 817"/>
                <a:gd name="T89" fmla="*/ 446 h 806"/>
                <a:gd name="T90" fmla="*/ 110 w 817"/>
                <a:gd name="T91" fmla="*/ 451 h 806"/>
                <a:gd name="T92" fmla="*/ 74 w 817"/>
                <a:gd name="T93" fmla="*/ 476 h 806"/>
                <a:gd name="T94" fmla="*/ 54 w 817"/>
                <a:gd name="T95" fmla="*/ 482 h 806"/>
                <a:gd name="T96" fmla="*/ 37 w 817"/>
                <a:gd name="T97" fmla="*/ 478 h 806"/>
                <a:gd name="T98" fmla="*/ 17 w 817"/>
                <a:gd name="T99" fmla="*/ 461 h 806"/>
                <a:gd name="T100" fmla="*/ 4 w 817"/>
                <a:gd name="T101" fmla="*/ 433 h 806"/>
                <a:gd name="T102" fmla="*/ 0 w 817"/>
                <a:gd name="T103" fmla="*/ 401 h 806"/>
                <a:gd name="T104" fmla="*/ 7 w 817"/>
                <a:gd name="T105" fmla="*/ 365 h 806"/>
                <a:gd name="T106" fmla="*/ 19 w 817"/>
                <a:gd name="T107" fmla="*/ 342 h 8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7"/>
                <a:gd name="T163" fmla="*/ 0 h 806"/>
                <a:gd name="T164" fmla="*/ 817 w 817"/>
                <a:gd name="T165" fmla="*/ 806 h 8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7" h="806">
                  <a:moveTo>
                    <a:pt x="33" y="330"/>
                  </a:moveTo>
                  <a:lnTo>
                    <a:pt x="38" y="327"/>
                  </a:lnTo>
                  <a:lnTo>
                    <a:pt x="43" y="325"/>
                  </a:lnTo>
                  <a:lnTo>
                    <a:pt x="47" y="324"/>
                  </a:lnTo>
                  <a:lnTo>
                    <a:pt x="51" y="323"/>
                  </a:lnTo>
                  <a:lnTo>
                    <a:pt x="56" y="323"/>
                  </a:lnTo>
                  <a:lnTo>
                    <a:pt x="60" y="323"/>
                  </a:lnTo>
                  <a:lnTo>
                    <a:pt x="64" y="324"/>
                  </a:lnTo>
                  <a:lnTo>
                    <a:pt x="68" y="325"/>
                  </a:lnTo>
                  <a:lnTo>
                    <a:pt x="76" y="329"/>
                  </a:lnTo>
                  <a:lnTo>
                    <a:pt x="84" y="333"/>
                  </a:lnTo>
                  <a:lnTo>
                    <a:pt x="91" y="338"/>
                  </a:lnTo>
                  <a:lnTo>
                    <a:pt x="98" y="343"/>
                  </a:lnTo>
                  <a:lnTo>
                    <a:pt x="104" y="347"/>
                  </a:lnTo>
                  <a:lnTo>
                    <a:pt x="110" y="351"/>
                  </a:lnTo>
                  <a:lnTo>
                    <a:pt x="116" y="354"/>
                  </a:lnTo>
                  <a:lnTo>
                    <a:pt x="119" y="355"/>
                  </a:lnTo>
                  <a:lnTo>
                    <a:pt x="122" y="355"/>
                  </a:lnTo>
                  <a:lnTo>
                    <a:pt x="128" y="354"/>
                  </a:lnTo>
                  <a:lnTo>
                    <a:pt x="130" y="353"/>
                  </a:lnTo>
                  <a:lnTo>
                    <a:pt x="132" y="351"/>
                  </a:lnTo>
                  <a:lnTo>
                    <a:pt x="135" y="348"/>
                  </a:lnTo>
                  <a:lnTo>
                    <a:pt x="137" y="345"/>
                  </a:lnTo>
                  <a:lnTo>
                    <a:pt x="139" y="341"/>
                  </a:lnTo>
                  <a:lnTo>
                    <a:pt x="141" y="336"/>
                  </a:lnTo>
                  <a:lnTo>
                    <a:pt x="141" y="141"/>
                  </a:lnTo>
                  <a:lnTo>
                    <a:pt x="412" y="141"/>
                  </a:lnTo>
                  <a:lnTo>
                    <a:pt x="418" y="138"/>
                  </a:lnTo>
                  <a:lnTo>
                    <a:pt x="423" y="136"/>
                  </a:lnTo>
                  <a:lnTo>
                    <a:pt x="427" y="133"/>
                  </a:lnTo>
                  <a:lnTo>
                    <a:pt x="430" y="129"/>
                  </a:lnTo>
                  <a:lnTo>
                    <a:pt x="432" y="126"/>
                  </a:lnTo>
                  <a:lnTo>
                    <a:pt x="432" y="122"/>
                  </a:lnTo>
                  <a:lnTo>
                    <a:pt x="432" y="119"/>
                  </a:lnTo>
                  <a:lnTo>
                    <a:pt x="431" y="115"/>
                  </a:lnTo>
                  <a:lnTo>
                    <a:pt x="427" y="108"/>
                  </a:lnTo>
                  <a:lnTo>
                    <a:pt x="422" y="100"/>
                  </a:lnTo>
                  <a:lnTo>
                    <a:pt x="416" y="92"/>
                  </a:lnTo>
                  <a:lnTo>
                    <a:pt x="410" y="84"/>
                  </a:lnTo>
                  <a:lnTo>
                    <a:pt x="407" y="77"/>
                  </a:lnTo>
                  <a:lnTo>
                    <a:pt x="404" y="71"/>
                  </a:lnTo>
                  <a:lnTo>
                    <a:pt x="403" y="67"/>
                  </a:lnTo>
                  <a:lnTo>
                    <a:pt x="402" y="64"/>
                  </a:lnTo>
                  <a:lnTo>
                    <a:pt x="401" y="57"/>
                  </a:lnTo>
                  <a:lnTo>
                    <a:pt x="401" y="51"/>
                  </a:lnTo>
                  <a:lnTo>
                    <a:pt x="402" y="45"/>
                  </a:lnTo>
                  <a:lnTo>
                    <a:pt x="403" y="39"/>
                  </a:lnTo>
                  <a:lnTo>
                    <a:pt x="406" y="34"/>
                  </a:lnTo>
                  <a:lnTo>
                    <a:pt x="409" y="29"/>
                  </a:lnTo>
                  <a:lnTo>
                    <a:pt x="413" y="25"/>
                  </a:lnTo>
                  <a:lnTo>
                    <a:pt x="417" y="21"/>
                  </a:lnTo>
                  <a:lnTo>
                    <a:pt x="422" y="17"/>
                  </a:lnTo>
                  <a:lnTo>
                    <a:pt x="427" y="13"/>
                  </a:lnTo>
                  <a:lnTo>
                    <a:pt x="433" y="10"/>
                  </a:lnTo>
                  <a:lnTo>
                    <a:pt x="439" y="7"/>
                  </a:lnTo>
                  <a:lnTo>
                    <a:pt x="446" y="5"/>
                  </a:lnTo>
                  <a:lnTo>
                    <a:pt x="452" y="3"/>
                  </a:lnTo>
                  <a:lnTo>
                    <a:pt x="459" y="1"/>
                  </a:lnTo>
                  <a:lnTo>
                    <a:pt x="467" y="0"/>
                  </a:lnTo>
                  <a:lnTo>
                    <a:pt x="474" y="0"/>
                  </a:lnTo>
                  <a:lnTo>
                    <a:pt x="481" y="0"/>
                  </a:lnTo>
                  <a:lnTo>
                    <a:pt x="489" y="0"/>
                  </a:lnTo>
                  <a:lnTo>
                    <a:pt x="496" y="1"/>
                  </a:lnTo>
                  <a:lnTo>
                    <a:pt x="503" y="2"/>
                  </a:lnTo>
                  <a:lnTo>
                    <a:pt x="511" y="4"/>
                  </a:lnTo>
                  <a:lnTo>
                    <a:pt x="518" y="6"/>
                  </a:lnTo>
                  <a:lnTo>
                    <a:pt x="521" y="8"/>
                  </a:lnTo>
                  <a:lnTo>
                    <a:pt x="524" y="9"/>
                  </a:lnTo>
                  <a:lnTo>
                    <a:pt x="531" y="13"/>
                  </a:lnTo>
                  <a:lnTo>
                    <a:pt x="537" y="17"/>
                  </a:lnTo>
                  <a:lnTo>
                    <a:pt x="542" y="21"/>
                  </a:lnTo>
                  <a:lnTo>
                    <a:pt x="545" y="24"/>
                  </a:lnTo>
                  <a:lnTo>
                    <a:pt x="547" y="26"/>
                  </a:lnTo>
                  <a:lnTo>
                    <a:pt x="551" y="32"/>
                  </a:lnTo>
                  <a:lnTo>
                    <a:pt x="554" y="37"/>
                  </a:lnTo>
                  <a:lnTo>
                    <a:pt x="556" y="42"/>
                  </a:lnTo>
                  <a:lnTo>
                    <a:pt x="557" y="47"/>
                  </a:lnTo>
                  <a:lnTo>
                    <a:pt x="557" y="54"/>
                  </a:lnTo>
                  <a:lnTo>
                    <a:pt x="557" y="60"/>
                  </a:lnTo>
                  <a:lnTo>
                    <a:pt x="556" y="64"/>
                  </a:lnTo>
                  <a:lnTo>
                    <a:pt x="555" y="68"/>
                  </a:lnTo>
                  <a:lnTo>
                    <a:pt x="551" y="75"/>
                  </a:lnTo>
                  <a:lnTo>
                    <a:pt x="549" y="79"/>
                  </a:lnTo>
                  <a:lnTo>
                    <a:pt x="547" y="83"/>
                  </a:lnTo>
                  <a:lnTo>
                    <a:pt x="537" y="96"/>
                  </a:lnTo>
                  <a:lnTo>
                    <a:pt x="530" y="106"/>
                  </a:lnTo>
                  <a:lnTo>
                    <a:pt x="528" y="110"/>
                  </a:lnTo>
                  <a:lnTo>
                    <a:pt x="525" y="114"/>
                  </a:lnTo>
                  <a:lnTo>
                    <a:pt x="524" y="118"/>
                  </a:lnTo>
                  <a:lnTo>
                    <a:pt x="523" y="122"/>
                  </a:lnTo>
                  <a:lnTo>
                    <a:pt x="523" y="126"/>
                  </a:lnTo>
                  <a:lnTo>
                    <a:pt x="524" y="128"/>
                  </a:lnTo>
                  <a:lnTo>
                    <a:pt x="525" y="129"/>
                  </a:lnTo>
                  <a:lnTo>
                    <a:pt x="526" y="131"/>
                  </a:lnTo>
                  <a:lnTo>
                    <a:pt x="528" y="133"/>
                  </a:lnTo>
                  <a:lnTo>
                    <a:pt x="532" y="136"/>
                  </a:lnTo>
                  <a:lnTo>
                    <a:pt x="534" y="137"/>
                  </a:lnTo>
                  <a:lnTo>
                    <a:pt x="537" y="139"/>
                  </a:lnTo>
                  <a:lnTo>
                    <a:pt x="545" y="141"/>
                  </a:lnTo>
                  <a:lnTo>
                    <a:pt x="817" y="141"/>
                  </a:lnTo>
                  <a:lnTo>
                    <a:pt x="817" y="664"/>
                  </a:lnTo>
                  <a:lnTo>
                    <a:pt x="545" y="664"/>
                  </a:lnTo>
                  <a:lnTo>
                    <a:pt x="535" y="668"/>
                  </a:lnTo>
                  <a:lnTo>
                    <a:pt x="531" y="670"/>
                  </a:lnTo>
                  <a:lnTo>
                    <a:pt x="528" y="672"/>
                  </a:lnTo>
                  <a:lnTo>
                    <a:pt x="526" y="675"/>
                  </a:lnTo>
                  <a:lnTo>
                    <a:pt x="524" y="677"/>
                  </a:lnTo>
                  <a:lnTo>
                    <a:pt x="524" y="680"/>
                  </a:lnTo>
                  <a:lnTo>
                    <a:pt x="523" y="682"/>
                  </a:lnTo>
                  <a:lnTo>
                    <a:pt x="524" y="685"/>
                  </a:lnTo>
                  <a:lnTo>
                    <a:pt x="524" y="688"/>
                  </a:lnTo>
                  <a:lnTo>
                    <a:pt x="527" y="694"/>
                  </a:lnTo>
                  <a:lnTo>
                    <a:pt x="531" y="701"/>
                  </a:lnTo>
                  <a:lnTo>
                    <a:pt x="536" y="708"/>
                  </a:lnTo>
                  <a:lnTo>
                    <a:pt x="542" y="715"/>
                  </a:lnTo>
                  <a:lnTo>
                    <a:pt x="547" y="722"/>
                  </a:lnTo>
                  <a:lnTo>
                    <a:pt x="551" y="730"/>
                  </a:lnTo>
                  <a:lnTo>
                    <a:pt x="555" y="738"/>
                  </a:lnTo>
                  <a:lnTo>
                    <a:pt x="558" y="746"/>
                  </a:lnTo>
                  <a:lnTo>
                    <a:pt x="558" y="752"/>
                  </a:lnTo>
                  <a:lnTo>
                    <a:pt x="558" y="756"/>
                  </a:lnTo>
                  <a:lnTo>
                    <a:pt x="557" y="760"/>
                  </a:lnTo>
                  <a:lnTo>
                    <a:pt x="556" y="764"/>
                  </a:lnTo>
                  <a:lnTo>
                    <a:pt x="554" y="769"/>
                  </a:lnTo>
                  <a:lnTo>
                    <a:pt x="552" y="773"/>
                  </a:lnTo>
                  <a:lnTo>
                    <a:pt x="545" y="781"/>
                  </a:lnTo>
                  <a:lnTo>
                    <a:pt x="541" y="785"/>
                  </a:lnTo>
                  <a:lnTo>
                    <a:pt x="537" y="788"/>
                  </a:lnTo>
                  <a:lnTo>
                    <a:pt x="529" y="794"/>
                  </a:lnTo>
                  <a:lnTo>
                    <a:pt x="524" y="796"/>
                  </a:lnTo>
                  <a:lnTo>
                    <a:pt x="520" y="798"/>
                  </a:lnTo>
                  <a:lnTo>
                    <a:pt x="510" y="802"/>
                  </a:lnTo>
                  <a:lnTo>
                    <a:pt x="503" y="803"/>
                  </a:lnTo>
                  <a:lnTo>
                    <a:pt x="498" y="804"/>
                  </a:lnTo>
                  <a:lnTo>
                    <a:pt x="488" y="805"/>
                  </a:lnTo>
                  <a:lnTo>
                    <a:pt x="477" y="806"/>
                  </a:lnTo>
                  <a:lnTo>
                    <a:pt x="466" y="805"/>
                  </a:lnTo>
                  <a:lnTo>
                    <a:pt x="456" y="803"/>
                  </a:lnTo>
                  <a:lnTo>
                    <a:pt x="446" y="800"/>
                  </a:lnTo>
                  <a:lnTo>
                    <a:pt x="441" y="798"/>
                  </a:lnTo>
                  <a:lnTo>
                    <a:pt x="436" y="796"/>
                  </a:lnTo>
                  <a:lnTo>
                    <a:pt x="427" y="792"/>
                  </a:lnTo>
                  <a:lnTo>
                    <a:pt x="423" y="789"/>
                  </a:lnTo>
                  <a:lnTo>
                    <a:pt x="419" y="786"/>
                  </a:lnTo>
                  <a:lnTo>
                    <a:pt x="412" y="780"/>
                  </a:lnTo>
                  <a:lnTo>
                    <a:pt x="409" y="776"/>
                  </a:lnTo>
                  <a:lnTo>
                    <a:pt x="407" y="772"/>
                  </a:lnTo>
                  <a:lnTo>
                    <a:pt x="404" y="767"/>
                  </a:lnTo>
                  <a:lnTo>
                    <a:pt x="402" y="763"/>
                  </a:lnTo>
                  <a:lnTo>
                    <a:pt x="401" y="758"/>
                  </a:lnTo>
                  <a:lnTo>
                    <a:pt x="400" y="754"/>
                  </a:lnTo>
                  <a:lnTo>
                    <a:pt x="400" y="750"/>
                  </a:lnTo>
                  <a:lnTo>
                    <a:pt x="400" y="744"/>
                  </a:lnTo>
                  <a:lnTo>
                    <a:pt x="401" y="740"/>
                  </a:lnTo>
                  <a:lnTo>
                    <a:pt x="402" y="736"/>
                  </a:lnTo>
                  <a:lnTo>
                    <a:pt x="406" y="728"/>
                  </a:lnTo>
                  <a:lnTo>
                    <a:pt x="410" y="721"/>
                  </a:lnTo>
                  <a:lnTo>
                    <a:pt x="415" y="713"/>
                  </a:lnTo>
                  <a:lnTo>
                    <a:pt x="420" y="706"/>
                  </a:lnTo>
                  <a:lnTo>
                    <a:pt x="424" y="700"/>
                  </a:lnTo>
                  <a:lnTo>
                    <a:pt x="428" y="694"/>
                  </a:lnTo>
                  <a:lnTo>
                    <a:pt x="431" y="688"/>
                  </a:lnTo>
                  <a:lnTo>
                    <a:pt x="432" y="685"/>
                  </a:lnTo>
                  <a:lnTo>
                    <a:pt x="432" y="682"/>
                  </a:lnTo>
                  <a:lnTo>
                    <a:pt x="432" y="680"/>
                  </a:lnTo>
                  <a:lnTo>
                    <a:pt x="431" y="677"/>
                  </a:lnTo>
                  <a:lnTo>
                    <a:pt x="430" y="675"/>
                  </a:lnTo>
                  <a:lnTo>
                    <a:pt x="428" y="673"/>
                  </a:lnTo>
                  <a:lnTo>
                    <a:pt x="425" y="670"/>
                  </a:lnTo>
                  <a:lnTo>
                    <a:pt x="421" y="668"/>
                  </a:lnTo>
                  <a:lnTo>
                    <a:pt x="417" y="666"/>
                  </a:lnTo>
                  <a:lnTo>
                    <a:pt x="412" y="664"/>
                  </a:lnTo>
                  <a:lnTo>
                    <a:pt x="141" y="664"/>
                  </a:lnTo>
                  <a:lnTo>
                    <a:pt x="141" y="468"/>
                  </a:lnTo>
                  <a:lnTo>
                    <a:pt x="137" y="458"/>
                  </a:lnTo>
                  <a:lnTo>
                    <a:pt x="135" y="453"/>
                  </a:lnTo>
                  <a:lnTo>
                    <a:pt x="133" y="451"/>
                  </a:lnTo>
                  <a:lnTo>
                    <a:pt x="130" y="448"/>
                  </a:lnTo>
                  <a:lnTo>
                    <a:pt x="128" y="447"/>
                  </a:lnTo>
                  <a:lnTo>
                    <a:pt x="125" y="446"/>
                  </a:lnTo>
                  <a:lnTo>
                    <a:pt x="122" y="446"/>
                  </a:lnTo>
                  <a:lnTo>
                    <a:pt x="119" y="447"/>
                  </a:lnTo>
                  <a:lnTo>
                    <a:pt x="116" y="448"/>
                  </a:lnTo>
                  <a:lnTo>
                    <a:pt x="110" y="451"/>
                  </a:lnTo>
                  <a:lnTo>
                    <a:pt x="103" y="456"/>
                  </a:lnTo>
                  <a:lnTo>
                    <a:pt x="96" y="461"/>
                  </a:lnTo>
                  <a:lnTo>
                    <a:pt x="82" y="471"/>
                  </a:lnTo>
                  <a:lnTo>
                    <a:pt x="74" y="476"/>
                  </a:lnTo>
                  <a:lnTo>
                    <a:pt x="70" y="478"/>
                  </a:lnTo>
                  <a:lnTo>
                    <a:pt x="66" y="479"/>
                  </a:lnTo>
                  <a:lnTo>
                    <a:pt x="58" y="482"/>
                  </a:lnTo>
                  <a:lnTo>
                    <a:pt x="54" y="482"/>
                  </a:lnTo>
                  <a:lnTo>
                    <a:pt x="50" y="482"/>
                  </a:lnTo>
                  <a:lnTo>
                    <a:pt x="45" y="481"/>
                  </a:lnTo>
                  <a:lnTo>
                    <a:pt x="41" y="480"/>
                  </a:lnTo>
                  <a:lnTo>
                    <a:pt x="37" y="478"/>
                  </a:lnTo>
                  <a:lnTo>
                    <a:pt x="32" y="476"/>
                  </a:lnTo>
                  <a:lnTo>
                    <a:pt x="24" y="469"/>
                  </a:lnTo>
                  <a:lnTo>
                    <a:pt x="21" y="465"/>
                  </a:lnTo>
                  <a:lnTo>
                    <a:pt x="17" y="461"/>
                  </a:lnTo>
                  <a:lnTo>
                    <a:pt x="12" y="452"/>
                  </a:lnTo>
                  <a:lnTo>
                    <a:pt x="9" y="447"/>
                  </a:lnTo>
                  <a:lnTo>
                    <a:pt x="7" y="443"/>
                  </a:lnTo>
                  <a:lnTo>
                    <a:pt x="4" y="433"/>
                  </a:lnTo>
                  <a:lnTo>
                    <a:pt x="2" y="427"/>
                  </a:lnTo>
                  <a:lnTo>
                    <a:pt x="1" y="422"/>
                  </a:lnTo>
                  <a:lnTo>
                    <a:pt x="0" y="412"/>
                  </a:lnTo>
                  <a:lnTo>
                    <a:pt x="0" y="401"/>
                  </a:lnTo>
                  <a:lnTo>
                    <a:pt x="1" y="390"/>
                  </a:lnTo>
                  <a:lnTo>
                    <a:pt x="2" y="380"/>
                  </a:lnTo>
                  <a:lnTo>
                    <a:pt x="5" y="370"/>
                  </a:lnTo>
                  <a:lnTo>
                    <a:pt x="7" y="365"/>
                  </a:lnTo>
                  <a:lnTo>
                    <a:pt x="9" y="360"/>
                  </a:lnTo>
                  <a:lnTo>
                    <a:pt x="14" y="350"/>
                  </a:lnTo>
                  <a:lnTo>
                    <a:pt x="16" y="346"/>
                  </a:lnTo>
                  <a:lnTo>
                    <a:pt x="19" y="342"/>
                  </a:lnTo>
                  <a:lnTo>
                    <a:pt x="26" y="335"/>
                  </a:lnTo>
                  <a:lnTo>
                    <a:pt x="29" y="332"/>
                  </a:lnTo>
                  <a:lnTo>
                    <a:pt x="33" y="33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9" name="Freeform 7"/>
            <p:cNvSpPr>
              <a:spLocks/>
            </p:cNvSpPr>
            <p:nvPr/>
          </p:nvSpPr>
          <p:spPr bwMode="auto">
            <a:xfrm>
              <a:off x="2972" y="3430"/>
              <a:ext cx="955" cy="667"/>
            </a:xfrm>
            <a:custGeom>
              <a:avLst/>
              <a:gdLst>
                <a:gd name="T0" fmla="*/ 134 w 955"/>
                <a:gd name="T1" fmla="*/ 454 h 667"/>
                <a:gd name="T2" fmla="*/ 123 w 955"/>
                <a:gd name="T3" fmla="*/ 449 h 667"/>
                <a:gd name="T4" fmla="*/ 105 w 955"/>
                <a:gd name="T5" fmla="*/ 457 h 667"/>
                <a:gd name="T6" fmla="*/ 76 w 955"/>
                <a:gd name="T7" fmla="*/ 477 h 667"/>
                <a:gd name="T8" fmla="*/ 51 w 955"/>
                <a:gd name="T9" fmla="*/ 483 h 667"/>
                <a:gd name="T10" fmla="*/ 33 w 955"/>
                <a:gd name="T11" fmla="*/ 477 h 667"/>
                <a:gd name="T12" fmla="*/ 12 w 955"/>
                <a:gd name="T13" fmla="*/ 454 h 667"/>
                <a:gd name="T14" fmla="*/ 3 w 955"/>
                <a:gd name="T15" fmla="*/ 430 h 667"/>
                <a:gd name="T16" fmla="*/ 1 w 955"/>
                <a:gd name="T17" fmla="*/ 391 h 667"/>
                <a:gd name="T18" fmla="*/ 9 w 955"/>
                <a:gd name="T19" fmla="*/ 361 h 667"/>
                <a:gd name="T20" fmla="*/ 26 w 955"/>
                <a:gd name="T21" fmla="*/ 338 h 667"/>
                <a:gd name="T22" fmla="*/ 44 w 955"/>
                <a:gd name="T23" fmla="*/ 327 h 667"/>
                <a:gd name="T24" fmla="*/ 61 w 955"/>
                <a:gd name="T25" fmla="*/ 326 h 667"/>
                <a:gd name="T26" fmla="*/ 92 w 955"/>
                <a:gd name="T27" fmla="*/ 341 h 667"/>
                <a:gd name="T28" fmla="*/ 118 w 955"/>
                <a:gd name="T29" fmla="*/ 356 h 667"/>
                <a:gd name="T30" fmla="*/ 129 w 955"/>
                <a:gd name="T31" fmla="*/ 356 h 667"/>
                <a:gd name="T32" fmla="*/ 138 w 955"/>
                <a:gd name="T33" fmla="*/ 346 h 667"/>
                <a:gd name="T34" fmla="*/ 412 w 955"/>
                <a:gd name="T35" fmla="*/ 142 h 667"/>
                <a:gd name="T36" fmla="*/ 428 w 955"/>
                <a:gd name="T37" fmla="*/ 134 h 667"/>
                <a:gd name="T38" fmla="*/ 431 w 955"/>
                <a:gd name="T39" fmla="*/ 120 h 667"/>
                <a:gd name="T40" fmla="*/ 419 w 955"/>
                <a:gd name="T41" fmla="*/ 99 h 667"/>
                <a:gd name="T42" fmla="*/ 401 w 955"/>
                <a:gd name="T43" fmla="*/ 70 h 667"/>
                <a:gd name="T44" fmla="*/ 398 w 955"/>
                <a:gd name="T45" fmla="*/ 53 h 667"/>
                <a:gd name="T46" fmla="*/ 402 w 955"/>
                <a:gd name="T47" fmla="*/ 40 h 667"/>
                <a:gd name="T48" fmla="*/ 414 w 955"/>
                <a:gd name="T49" fmla="*/ 23 h 667"/>
                <a:gd name="T50" fmla="*/ 440 w 955"/>
                <a:gd name="T51" fmla="*/ 8 h 667"/>
                <a:gd name="T52" fmla="*/ 476 w 955"/>
                <a:gd name="T53" fmla="*/ 0 h 667"/>
                <a:gd name="T54" fmla="*/ 518 w 955"/>
                <a:gd name="T55" fmla="*/ 8 h 667"/>
                <a:gd name="T56" fmla="*/ 536 w 955"/>
                <a:gd name="T57" fmla="*/ 18 h 667"/>
                <a:gd name="T58" fmla="*/ 551 w 955"/>
                <a:gd name="T59" fmla="*/ 34 h 667"/>
                <a:gd name="T60" fmla="*/ 557 w 955"/>
                <a:gd name="T61" fmla="*/ 51 h 667"/>
                <a:gd name="T62" fmla="*/ 551 w 955"/>
                <a:gd name="T63" fmla="*/ 75 h 667"/>
                <a:gd name="T64" fmla="*/ 526 w 955"/>
                <a:gd name="T65" fmla="*/ 111 h 667"/>
                <a:gd name="T66" fmla="*/ 522 w 955"/>
                <a:gd name="T67" fmla="*/ 128 h 667"/>
                <a:gd name="T68" fmla="*/ 531 w 955"/>
                <a:gd name="T69" fmla="*/ 138 h 667"/>
                <a:gd name="T70" fmla="*/ 814 w 955"/>
                <a:gd name="T71" fmla="*/ 338 h 667"/>
                <a:gd name="T72" fmla="*/ 822 w 955"/>
                <a:gd name="T73" fmla="*/ 353 h 667"/>
                <a:gd name="T74" fmla="*/ 832 w 955"/>
                <a:gd name="T75" fmla="*/ 357 h 667"/>
                <a:gd name="T76" fmla="*/ 850 w 955"/>
                <a:gd name="T77" fmla="*/ 350 h 667"/>
                <a:gd name="T78" fmla="*/ 882 w 955"/>
                <a:gd name="T79" fmla="*/ 329 h 667"/>
                <a:gd name="T80" fmla="*/ 898 w 955"/>
                <a:gd name="T81" fmla="*/ 324 h 667"/>
                <a:gd name="T82" fmla="*/ 916 w 955"/>
                <a:gd name="T83" fmla="*/ 329 h 667"/>
                <a:gd name="T84" fmla="*/ 932 w 955"/>
                <a:gd name="T85" fmla="*/ 341 h 667"/>
                <a:gd name="T86" fmla="*/ 948 w 955"/>
                <a:gd name="T87" fmla="*/ 366 h 667"/>
                <a:gd name="T88" fmla="*/ 955 w 955"/>
                <a:gd name="T89" fmla="*/ 397 h 667"/>
                <a:gd name="T90" fmla="*/ 951 w 955"/>
                <a:gd name="T91" fmla="*/ 435 h 667"/>
                <a:gd name="T92" fmla="*/ 940 w 955"/>
                <a:gd name="T93" fmla="*/ 459 h 667"/>
                <a:gd name="T94" fmla="*/ 927 w 955"/>
                <a:gd name="T95" fmla="*/ 474 h 667"/>
                <a:gd name="T96" fmla="*/ 909 w 955"/>
                <a:gd name="T97" fmla="*/ 483 h 667"/>
                <a:gd name="T98" fmla="*/ 888 w 955"/>
                <a:gd name="T99" fmla="*/ 481 h 667"/>
                <a:gd name="T100" fmla="*/ 851 w 955"/>
                <a:gd name="T101" fmla="*/ 457 h 667"/>
                <a:gd name="T102" fmla="*/ 832 w 955"/>
                <a:gd name="T103" fmla="*/ 449 h 667"/>
                <a:gd name="T104" fmla="*/ 822 w 955"/>
                <a:gd name="T105" fmla="*/ 453 h 667"/>
                <a:gd name="T106" fmla="*/ 814 w 955"/>
                <a:gd name="T107" fmla="*/ 469 h 6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5"/>
                <a:gd name="T163" fmla="*/ 0 h 667"/>
                <a:gd name="T164" fmla="*/ 955 w 955"/>
                <a:gd name="T165" fmla="*/ 667 h 66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5" h="667">
                  <a:moveTo>
                    <a:pt x="142" y="471"/>
                  </a:moveTo>
                  <a:lnTo>
                    <a:pt x="138" y="461"/>
                  </a:lnTo>
                  <a:lnTo>
                    <a:pt x="136" y="457"/>
                  </a:lnTo>
                  <a:lnTo>
                    <a:pt x="134" y="454"/>
                  </a:lnTo>
                  <a:lnTo>
                    <a:pt x="131" y="451"/>
                  </a:lnTo>
                  <a:lnTo>
                    <a:pt x="129" y="450"/>
                  </a:lnTo>
                  <a:lnTo>
                    <a:pt x="126" y="449"/>
                  </a:lnTo>
                  <a:lnTo>
                    <a:pt x="123" y="449"/>
                  </a:lnTo>
                  <a:lnTo>
                    <a:pt x="121" y="449"/>
                  </a:lnTo>
                  <a:lnTo>
                    <a:pt x="118" y="450"/>
                  </a:lnTo>
                  <a:lnTo>
                    <a:pt x="112" y="452"/>
                  </a:lnTo>
                  <a:lnTo>
                    <a:pt x="105" y="457"/>
                  </a:lnTo>
                  <a:lnTo>
                    <a:pt x="98" y="461"/>
                  </a:lnTo>
                  <a:lnTo>
                    <a:pt x="91" y="467"/>
                  </a:lnTo>
                  <a:lnTo>
                    <a:pt x="83" y="472"/>
                  </a:lnTo>
                  <a:lnTo>
                    <a:pt x="76" y="477"/>
                  </a:lnTo>
                  <a:lnTo>
                    <a:pt x="68" y="481"/>
                  </a:lnTo>
                  <a:lnTo>
                    <a:pt x="59" y="483"/>
                  </a:lnTo>
                  <a:lnTo>
                    <a:pt x="55" y="483"/>
                  </a:lnTo>
                  <a:lnTo>
                    <a:pt x="51" y="483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3" y="477"/>
                  </a:lnTo>
                  <a:lnTo>
                    <a:pt x="25" y="470"/>
                  </a:lnTo>
                  <a:lnTo>
                    <a:pt x="21" y="467"/>
                  </a:lnTo>
                  <a:lnTo>
                    <a:pt x="18" y="463"/>
                  </a:lnTo>
                  <a:lnTo>
                    <a:pt x="12" y="454"/>
                  </a:lnTo>
                  <a:lnTo>
                    <a:pt x="10" y="450"/>
                  </a:lnTo>
                  <a:lnTo>
                    <a:pt x="7" y="445"/>
                  </a:lnTo>
                  <a:lnTo>
                    <a:pt x="4" y="435"/>
                  </a:lnTo>
                  <a:lnTo>
                    <a:pt x="3" y="430"/>
                  </a:lnTo>
                  <a:lnTo>
                    <a:pt x="2" y="425"/>
                  </a:lnTo>
                  <a:lnTo>
                    <a:pt x="0" y="413"/>
                  </a:lnTo>
                  <a:lnTo>
                    <a:pt x="0" y="402"/>
                  </a:lnTo>
                  <a:lnTo>
                    <a:pt x="1" y="391"/>
                  </a:lnTo>
                  <a:lnTo>
                    <a:pt x="3" y="381"/>
                  </a:lnTo>
                  <a:lnTo>
                    <a:pt x="5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3"/>
                  </a:lnTo>
                  <a:lnTo>
                    <a:pt x="17" y="348"/>
                  </a:lnTo>
                  <a:lnTo>
                    <a:pt x="19" y="345"/>
                  </a:lnTo>
                  <a:lnTo>
                    <a:pt x="26" y="338"/>
                  </a:lnTo>
                  <a:lnTo>
                    <a:pt x="30" y="335"/>
                  </a:lnTo>
                  <a:lnTo>
                    <a:pt x="34" y="332"/>
                  </a:ln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6"/>
                  </a:lnTo>
                  <a:lnTo>
                    <a:pt x="57" y="324"/>
                  </a:lnTo>
                  <a:lnTo>
                    <a:pt x="61" y="326"/>
                  </a:lnTo>
                  <a:lnTo>
                    <a:pt x="70" y="328"/>
                  </a:lnTo>
                  <a:lnTo>
                    <a:pt x="78" y="331"/>
                  </a:lnTo>
                  <a:lnTo>
                    <a:pt x="85" y="336"/>
                  </a:lnTo>
                  <a:lnTo>
                    <a:pt x="92" y="341"/>
                  </a:lnTo>
                  <a:lnTo>
                    <a:pt x="99" y="345"/>
                  </a:lnTo>
                  <a:lnTo>
                    <a:pt x="106" y="350"/>
                  </a:lnTo>
                  <a:lnTo>
                    <a:pt x="112" y="354"/>
                  </a:lnTo>
                  <a:lnTo>
                    <a:pt x="118" y="356"/>
                  </a:lnTo>
                  <a:lnTo>
                    <a:pt x="121" y="357"/>
                  </a:lnTo>
                  <a:lnTo>
                    <a:pt x="123" y="357"/>
                  </a:lnTo>
                  <a:lnTo>
                    <a:pt x="126" y="357"/>
                  </a:lnTo>
                  <a:lnTo>
                    <a:pt x="129" y="356"/>
                  </a:lnTo>
                  <a:lnTo>
                    <a:pt x="131" y="355"/>
                  </a:lnTo>
                  <a:lnTo>
                    <a:pt x="133" y="353"/>
                  </a:lnTo>
                  <a:lnTo>
                    <a:pt x="136" y="350"/>
                  </a:lnTo>
                  <a:lnTo>
                    <a:pt x="138" y="346"/>
                  </a:lnTo>
                  <a:lnTo>
                    <a:pt x="140" y="342"/>
                  </a:lnTo>
                  <a:lnTo>
                    <a:pt x="142" y="336"/>
                  </a:lnTo>
                  <a:lnTo>
                    <a:pt x="142" y="142"/>
                  </a:lnTo>
                  <a:lnTo>
                    <a:pt x="412" y="142"/>
                  </a:lnTo>
                  <a:lnTo>
                    <a:pt x="418" y="140"/>
                  </a:lnTo>
                  <a:lnTo>
                    <a:pt x="422" y="138"/>
                  </a:lnTo>
                  <a:lnTo>
                    <a:pt x="425" y="136"/>
                  </a:lnTo>
                  <a:lnTo>
                    <a:pt x="428" y="134"/>
                  </a:lnTo>
                  <a:lnTo>
                    <a:pt x="429" y="131"/>
                  </a:lnTo>
                  <a:lnTo>
                    <a:pt x="430" y="128"/>
                  </a:lnTo>
                  <a:lnTo>
                    <a:pt x="431" y="123"/>
                  </a:lnTo>
                  <a:lnTo>
                    <a:pt x="431" y="120"/>
                  </a:lnTo>
                  <a:lnTo>
                    <a:pt x="430" y="117"/>
                  </a:lnTo>
                  <a:lnTo>
                    <a:pt x="427" y="112"/>
                  </a:lnTo>
                  <a:lnTo>
                    <a:pt x="423" y="105"/>
                  </a:lnTo>
                  <a:lnTo>
                    <a:pt x="419" y="99"/>
                  </a:lnTo>
                  <a:lnTo>
                    <a:pt x="413" y="92"/>
                  </a:lnTo>
                  <a:lnTo>
                    <a:pt x="408" y="85"/>
                  </a:lnTo>
                  <a:lnTo>
                    <a:pt x="404" y="77"/>
                  </a:lnTo>
                  <a:lnTo>
                    <a:pt x="401" y="70"/>
                  </a:lnTo>
                  <a:lnTo>
                    <a:pt x="399" y="66"/>
                  </a:lnTo>
                  <a:lnTo>
                    <a:pt x="399" y="61"/>
                  </a:lnTo>
                  <a:lnTo>
                    <a:pt x="398" y="57"/>
                  </a:lnTo>
                  <a:lnTo>
                    <a:pt x="398" y="53"/>
                  </a:lnTo>
                  <a:lnTo>
                    <a:pt x="399" y="51"/>
                  </a:lnTo>
                  <a:lnTo>
                    <a:pt x="399" y="49"/>
                  </a:lnTo>
                  <a:lnTo>
                    <a:pt x="400" y="44"/>
                  </a:lnTo>
                  <a:lnTo>
                    <a:pt x="402" y="40"/>
                  </a:lnTo>
                  <a:lnTo>
                    <a:pt x="405" y="35"/>
                  </a:lnTo>
                  <a:lnTo>
                    <a:pt x="408" y="30"/>
                  </a:lnTo>
                  <a:lnTo>
                    <a:pt x="411" y="27"/>
                  </a:lnTo>
                  <a:lnTo>
                    <a:pt x="414" y="23"/>
                  </a:lnTo>
                  <a:lnTo>
                    <a:pt x="418" y="20"/>
                  </a:lnTo>
                  <a:lnTo>
                    <a:pt x="426" y="14"/>
                  </a:lnTo>
                  <a:lnTo>
                    <a:pt x="435" y="10"/>
                  </a:lnTo>
                  <a:lnTo>
                    <a:pt x="440" y="8"/>
                  </a:lnTo>
                  <a:lnTo>
                    <a:pt x="445" y="6"/>
                  </a:lnTo>
                  <a:lnTo>
                    <a:pt x="455" y="3"/>
                  </a:lnTo>
                  <a:lnTo>
                    <a:pt x="465" y="1"/>
                  </a:lnTo>
                  <a:lnTo>
                    <a:pt x="476" y="0"/>
                  </a:lnTo>
                  <a:lnTo>
                    <a:pt x="487" y="1"/>
                  </a:lnTo>
                  <a:lnTo>
                    <a:pt x="497" y="2"/>
                  </a:lnTo>
                  <a:lnTo>
                    <a:pt x="508" y="4"/>
                  </a:lnTo>
                  <a:lnTo>
                    <a:pt x="518" y="8"/>
                  </a:lnTo>
                  <a:lnTo>
                    <a:pt x="522" y="10"/>
                  </a:lnTo>
                  <a:lnTo>
                    <a:pt x="527" y="12"/>
                  </a:lnTo>
                  <a:lnTo>
                    <a:pt x="531" y="15"/>
                  </a:lnTo>
                  <a:lnTo>
                    <a:pt x="536" y="18"/>
                  </a:lnTo>
                  <a:lnTo>
                    <a:pt x="540" y="21"/>
                  </a:lnTo>
                  <a:lnTo>
                    <a:pt x="544" y="25"/>
                  </a:lnTo>
                  <a:lnTo>
                    <a:pt x="548" y="29"/>
                  </a:lnTo>
                  <a:lnTo>
                    <a:pt x="551" y="34"/>
                  </a:lnTo>
                  <a:lnTo>
                    <a:pt x="553" y="38"/>
                  </a:lnTo>
                  <a:lnTo>
                    <a:pt x="555" y="43"/>
                  </a:lnTo>
                  <a:lnTo>
                    <a:pt x="557" y="47"/>
                  </a:lnTo>
                  <a:lnTo>
                    <a:pt x="557" y="51"/>
                  </a:lnTo>
                  <a:lnTo>
                    <a:pt x="557" y="55"/>
                  </a:lnTo>
                  <a:lnTo>
                    <a:pt x="557" y="59"/>
                  </a:lnTo>
                  <a:lnTo>
                    <a:pt x="555" y="67"/>
                  </a:lnTo>
                  <a:lnTo>
                    <a:pt x="551" y="75"/>
                  </a:lnTo>
                  <a:lnTo>
                    <a:pt x="546" y="83"/>
                  </a:lnTo>
                  <a:lnTo>
                    <a:pt x="535" y="98"/>
                  </a:lnTo>
                  <a:lnTo>
                    <a:pt x="530" y="104"/>
                  </a:lnTo>
                  <a:lnTo>
                    <a:pt x="526" y="111"/>
                  </a:lnTo>
                  <a:lnTo>
                    <a:pt x="523" y="117"/>
                  </a:lnTo>
                  <a:lnTo>
                    <a:pt x="522" y="123"/>
                  </a:lnTo>
                  <a:lnTo>
                    <a:pt x="522" y="125"/>
                  </a:lnTo>
                  <a:lnTo>
                    <a:pt x="522" y="128"/>
                  </a:lnTo>
                  <a:lnTo>
                    <a:pt x="523" y="131"/>
                  </a:lnTo>
                  <a:lnTo>
                    <a:pt x="525" y="134"/>
                  </a:lnTo>
                  <a:lnTo>
                    <a:pt x="528" y="136"/>
                  </a:lnTo>
                  <a:lnTo>
                    <a:pt x="531" y="138"/>
                  </a:lnTo>
                  <a:lnTo>
                    <a:pt x="535" y="140"/>
                  </a:lnTo>
                  <a:lnTo>
                    <a:pt x="540" y="142"/>
                  </a:lnTo>
                  <a:lnTo>
                    <a:pt x="814" y="142"/>
                  </a:lnTo>
                  <a:lnTo>
                    <a:pt x="814" y="338"/>
                  </a:lnTo>
                  <a:lnTo>
                    <a:pt x="816" y="343"/>
                  </a:lnTo>
                  <a:lnTo>
                    <a:pt x="818" y="347"/>
                  </a:lnTo>
                  <a:lnTo>
                    <a:pt x="820" y="350"/>
                  </a:lnTo>
                  <a:lnTo>
                    <a:pt x="822" y="353"/>
                  </a:lnTo>
                  <a:lnTo>
                    <a:pt x="825" y="355"/>
                  </a:lnTo>
                  <a:lnTo>
                    <a:pt x="827" y="356"/>
                  </a:lnTo>
                  <a:lnTo>
                    <a:pt x="830" y="357"/>
                  </a:lnTo>
                  <a:lnTo>
                    <a:pt x="832" y="357"/>
                  </a:lnTo>
                  <a:lnTo>
                    <a:pt x="835" y="357"/>
                  </a:lnTo>
                  <a:lnTo>
                    <a:pt x="838" y="356"/>
                  </a:lnTo>
                  <a:lnTo>
                    <a:pt x="843" y="354"/>
                  </a:lnTo>
                  <a:lnTo>
                    <a:pt x="850" y="350"/>
                  </a:lnTo>
                  <a:lnTo>
                    <a:pt x="856" y="345"/>
                  </a:lnTo>
                  <a:lnTo>
                    <a:pt x="870" y="335"/>
                  </a:lnTo>
                  <a:lnTo>
                    <a:pt x="878" y="331"/>
                  </a:lnTo>
                  <a:lnTo>
                    <a:pt x="882" y="329"/>
                  </a:lnTo>
                  <a:lnTo>
                    <a:pt x="886" y="328"/>
                  </a:lnTo>
                  <a:lnTo>
                    <a:pt x="890" y="327"/>
                  </a:lnTo>
                  <a:lnTo>
                    <a:pt x="894" y="326"/>
                  </a:lnTo>
                  <a:lnTo>
                    <a:pt x="898" y="324"/>
                  </a:lnTo>
                  <a:lnTo>
                    <a:pt x="903" y="326"/>
                  </a:lnTo>
                  <a:lnTo>
                    <a:pt x="907" y="326"/>
                  </a:lnTo>
                  <a:lnTo>
                    <a:pt x="911" y="327"/>
                  </a:lnTo>
                  <a:lnTo>
                    <a:pt x="916" y="329"/>
                  </a:lnTo>
                  <a:lnTo>
                    <a:pt x="921" y="332"/>
                  </a:lnTo>
                  <a:lnTo>
                    <a:pt x="925" y="335"/>
                  </a:lnTo>
                  <a:lnTo>
                    <a:pt x="929" y="338"/>
                  </a:lnTo>
                  <a:lnTo>
                    <a:pt x="932" y="341"/>
                  </a:lnTo>
                  <a:lnTo>
                    <a:pt x="936" y="345"/>
                  </a:lnTo>
                  <a:lnTo>
                    <a:pt x="941" y="353"/>
                  </a:lnTo>
                  <a:lnTo>
                    <a:pt x="946" y="361"/>
                  </a:lnTo>
                  <a:lnTo>
                    <a:pt x="948" y="366"/>
                  </a:lnTo>
                  <a:lnTo>
                    <a:pt x="950" y="371"/>
                  </a:lnTo>
                  <a:lnTo>
                    <a:pt x="953" y="381"/>
                  </a:lnTo>
                  <a:lnTo>
                    <a:pt x="954" y="391"/>
                  </a:lnTo>
                  <a:lnTo>
                    <a:pt x="955" y="397"/>
                  </a:lnTo>
                  <a:lnTo>
                    <a:pt x="955" y="402"/>
                  </a:lnTo>
                  <a:lnTo>
                    <a:pt x="955" y="413"/>
                  </a:lnTo>
                  <a:lnTo>
                    <a:pt x="954" y="425"/>
                  </a:lnTo>
                  <a:lnTo>
                    <a:pt x="951" y="435"/>
                  </a:lnTo>
                  <a:lnTo>
                    <a:pt x="948" y="445"/>
                  </a:lnTo>
                  <a:lnTo>
                    <a:pt x="946" y="450"/>
                  </a:lnTo>
                  <a:lnTo>
                    <a:pt x="943" y="454"/>
                  </a:lnTo>
                  <a:lnTo>
                    <a:pt x="940" y="459"/>
                  </a:lnTo>
                  <a:lnTo>
                    <a:pt x="937" y="463"/>
                  </a:lnTo>
                  <a:lnTo>
                    <a:pt x="934" y="467"/>
                  </a:lnTo>
                  <a:lnTo>
                    <a:pt x="931" y="470"/>
                  </a:lnTo>
                  <a:lnTo>
                    <a:pt x="927" y="474"/>
                  </a:lnTo>
                  <a:lnTo>
                    <a:pt x="922" y="477"/>
                  </a:lnTo>
                  <a:lnTo>
                    <a:pt x="917" y="480"/>
                  </a:lnTo>
                  <a:lnTo>
                    <a:pt x="913" y="482"/>
                  </a:lnTo>
                  <a:lnTo>
                    <a:pt x="909" y="483"/>
                  </a:lnTo>
                  <a:lnTo>
                    <a:pt x="904" y="483"/>
                  </a:lnTo>
                  <a:lnTo>
                    <a:pt x="900" y="483"/>
                  </a:lnTo>
                  <a:lnTo>
                    <a:pt x="896" y="483"/>
                  </a:lnTo>
                  <a:lnTo>
                    <a:pt x="888" y="481"/>
                  </a:lnTo>
                  <a:lnTo>
                    <a:pt x="880" y="477"/>
                  </a:lnTo>
                  <a:lnTo>
                    <a:pt x="872" y="472"/>
                  </a:lnTo>
                  <a:lnTo>
                    <a:pt x="857" y="462"/>
                  </a:lnTo>
                  <a:lnTo>
                    <a:pt x="851" y="457"/>
                  </a:lnTo>
                  <a:lnTo>
                    <a:pt x="844" y="453"/>
                  </a:lnTo>
                  <a:lnTo>
                    <a:pt x="838" y="450"/>
                  </a:lnTo>
                  <a:lnTo>
                    <a:pt x="835" y="449"/>
                  </a:lnTo>
                  <a:lnTo>
                    <a:pt x="832" y="449"/>
                  </a:lnTo>
                  <a:lnTo>
                    <a:pt x="830" y="449"/>
                  </a:lnTo>
                  <a:lnTo>
                    <a:pt x="827" y="450"/>
                  </a:lnTo>
                  <a:lnTo>
                    <a:pt x="824" y="451"/>
                  </a:lnTo>
                  <a:lnTo>
                    <a:pt x="822" y="453"/>
                  </a:lnTo>
                  <a:lnTo>
                    <a:pt x="820" y="456"/>
                  </a:lnTo>
                  <a:lnTo>
                    <a:pt x="818" y="459"/>
                  </a:lnTo>
                  <a:lnTo>
                    <a:pt x="816" y="464"/>
                  </a:lnTo>
                  <a:lnTo>
                    <a:pt x="814" y="469"/>
                  </a:lnTo>
                  <a:lnTo>
                    <a:pt x="814" y="667"/>
                  </a:lnTo>
                  <a:lnTo>
                    <a:pt x="142" y="667"/>
                  </a:lnTo>
                  <a:lnTo>
                    <a:pt x="142" y="471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3113" y="2908"/>
              <a:ext cx="673" cy="664"/>
            </a:xfrm>
            <a:custGeom>
              <a:avLst/>
              <a:gdLst>
                <a:gd name="T0" fmla="*/ 11 w 673"/>
                <a:gd name="T1" fmla="*/ 449 h 664"/>
                <a:gd name="T2" fmla="*/ 27 w 673"/>
                <a:gd name="T3" fmla="*/ 448 h 664"/>
                <a:gd name="T4" fmla="*/ 60 w 673"/>
                <a:gd name="T5" fmla="*/ 471 h 664"/>
                <a:gd name="T6" fmla="*/ 85 w 673"/>
                <a:gd name="T7" fmla="*/ 482 h 664"/>
                <a:gd name="T8" fmla="*/ 109 w 673"/>
                <a:gd name="T9" fmla="*/ 476 h 664"/>
                <a:gd name="T10" fmla="*/ 132 w 673"/>
                <a:gd name="T11" fmla="*/ 447 h 664"/>
                <a:gd name="T12" fmla="*/ 142 w 673"/>
                <a:gd name="T13" fmla="*/ 412 h 664"/>
                <a:gd name="T14" fmla="*/ 135 w 673"/>
                <a:gd name="T15" fmla="*/ 365 h 664"/>
                <a:gd name="T16" fmla="*/ 116 w 673"/>
                <a:gd name="T17" fmla="*/ 335 h 664"/>
                <a:gd name="T18" fmla="*/ 92 w 673"/>
                <a:gd name="T19" fmla="*/ 323 h 664"/>
                <a:gd name="T20" fmla="*/ 67 w 673"/>
                <a:gd name="T21" fmla="*/ 328 h 664"/>
                <a:gd name="T22" fmla="*/ 26 w 673"/>
                <a:gd name="T23" fmla="*/ 354 h 664"/>
                <a:gd name="T24" fmla="*/ 11 w 673"/>
                <a:gd name="T25" fmla="*/ 352 h 664"/>
                <a:gd name="T26" fmla="*/ 0 w 673"/>
                <a:gd name="T27" fmla="*/ 334 h 664"/>
                <a:gd name="T28" fmla="*/ 283 w 673"/>
                <a:gd name="T29" fmla="*/ 135 h 664"/>
                <a:gd name="T30" fmla="*/ 290 w 673"/>
                <a:gd name="T31" fmla="*/ 123 h 664"/>
                <a:gd name="T32" fmla="*/ 278 w 673"/>
                <a:gd name="T33" fmla="*/ 99 h 664"/>
                <a:gd name="T34" fmla="*/ 258 w 673"/>
                <a:gd name="T35" fmla="*/ 65 h 664"/>
                <a:gd name="T36" fmla="*/ 259 w 673"/>
                <a:gd name="T37" fmla="*/ 43 h 664"/>
                <a:gd name="T38" fmla="*/ 273 w 673"/>
                <a:gd name="T39" fmla="*/ 22 h 664"/>
                <a:gd name="T40" fmla="*/ 304 w 673"/>
                <a:gd name="T41" fmla="*/ 5 h 664"/>
                <a:gd name="T42" fmla="*/ 356 w 673"/>
                <a:gd name="T43" fmla="*/ 1 h 664"/>
                <a:gd name="T44" fmla="*/ 390 w 673"/>
                <a:gd name="T45" fmla="*/ 15 h 664"/>
                <a:gd name="T46" fmla="*/ 410 w 673"/>
                <a:gd name="T47" fmla="*/ 32 h 664"/>
                <a:gd name="T48" fmla="*/ 416 w 673"/>
                <a:gd name="T49" fmla="*/ 54 h 664"/>
                <a:gd name="T50" fmla="*/ 394 w 673"/>
                <a:gd name="T51" fmla="*/ 98 h 664"/>
                <a:gd name="T52" fmla="*/ 381 w 673"/>
                <a:gd name="T53" fmla="*/ 123 h 664"/>
                <a:gd name="T54" fmla="*/ 388 w 673"/>
                <a:gd name="T55" fmla="*/ 135 h 664"/>
                <a:gd name="T56" fmla="*/ 673 w 673"/>
                <a:gd name="T57" fmla="*/ 334 h 664"/>
                <a:gd name="T58" fmla="*/ 662 w 673"/>
                <a:gd name="T59" fmla="*/ 353 h 664"/>
                <a:gd name="T60" fmla="*/ 648 w 673"/>
                <a:gd name="T61" fmla="*/ 354 h 664"/>
                <a:gd name="T62" fmla="*/ 615 w 673"/>
                <a:gd name="T63" fmla="*/ 333 h 664"/>
                <a:gd name="T64" fmla="*/ 587 w 673"/>
                <a:gd name="T65" fmla="*/ 323 h 664"/>
                <a:gd name="T66" fmla="*/ 565 w 673"/>
                <a:gd name="T67" fmla="*/ 330 h 664"/>
                <a:gd name="T68" fmla="*/ 545 w 673"/>
                <a:gd name="T69" fmla="*/ 350 h 664"/>
                <a:gd name="T70" fmla="*/ 532 w 673"/>
                <a:gd name="T71" fmla="*/ 390 h 664"/>
                <a:gd name="T72" fmla="*/ 535 w 673"/>
                <a:gd name="T73" fmla="*/ 433 h 664"/>
                <a:gd name="T74" fmla="*/ 549 w 673"/>
                <a:gd name="T75" fmla="*/ 461 h 664"/>
                <a:gd name="T76" fmla="*/ 568 w 673"/>
                <a:gd name="T77" fmla="*/ 478 h 664"/>
                <a:gd name="T78" fmla="*/ 590 w 673"/>
                <a:gd name="T79" fmla="*/ 482 h 664"/>
                <a:gd name="T80" fmla="*/ 628 w 673"/>
                <a:gd name="T81" fmla="*/ 460 h 664"/>
                <a:gd name="T82" fmla="*/ 651 w 673"/>
                <a:gd name="T83" fmla="*/ 447 h 664"/>
                <a:gd name="T84" fmla="*/ 665 w 673"/>
                <a:gd name="T85" fmla="*/ 451 h 664"/>
                <a:gd name="T86" fmla="*/ 673 w 673"/>
                <a:gd name="T87" fmla="*/ 664 h 664"/>
                <a:gd name="T88" fmla="*/ 383 w 673"/>
                <a:gd name="T89" fmla="*/ 654 h 664"/>
                <a:gd name="T90" fmla="*/ 382 w 673"/>
                <a:gd name="T91" fmla="*/ 639 h 664"/>
                <a:gd name="T92" fmla="*/ 405 w 673"/>
                <a:gd name="T93" fmla="*/ 605 h 664"/>
                <a:gd name="T94" fmla="*/ 416 w 673"/>
                <a:gd name="T95" fmla="*/ 572 h 664"/>
                <a:gd name="T96" fmla="*/ 403 w 673"/>
                <a:gd name="T97" fmla="*/ 546 h 664"/>
                <a:gd name="T98" fmla="*/ 377 w 673"/>
                <a:gd name="T99" fmla="*/ 529 h 664"/>
                <a:gd name="T100" fmla="*/ 335 w 673"/>
                <a:gd name="T101" fmla="*/ 522 h 664"/>
                <a:gd name="T102" fmla="*/ 294 w 673"/>
                <a:gd name="T103" fmla="*/ 531 h 664"/>
                <a:gd name="T104" fmla="*/ 267 w 673"/>
                <a:gd name="T105" fmla="*/ 551 h 664"/>
                <a:gd name="T106" fmla="*/ 257 w 673"/>
                <a:gd name="T107" fmla="*/ 574 h 664"/>
                <a:gd name="T108" fmla="*/ 263 w 673"/>
                <a:gd name="T109" fmla="*/ 599 h 664"/>
                <a:gd name="T110" fmla="*/ 287 w 673"/>
                <a:gd name="T111" fmla="*/ 634 h 664"/>
                <a:gd name="T112" fmla="*/ 289 w 673"/>
                <a:gd name="T113" fmla="*/ 650 h 664"/>
                <a:gd name="T114" fmla="*/ 274 w 673"/>
                <a:gd name="T115" fmla="*/ 662 h 66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73"/>
                <a:gd name="T175" fmla="*/ 0 h 664"/>
                <a:gd name="T176" fmla="*/ 673 w 673"/>
                <a:gd name="T177" fmla="*/ 664 h 66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73" h="664">
                  <a:moveTo>
                    <a:pt x="1" y="468"/>
                  </a:moveTo>
                  <a:lnTo>
                    <a:pt x="4" y="458"/>
                  </a:lnTo>
                  <a:lnTo>
                    <a:pt x="7" y="454"/>
                  </a:lnTo>
                  <a:lnTo>
                    <a:pt x="9" y="451"/>
                  </a:lnTo>
                  <a:lnTo>
                    <a:pt x="11" y="449"/>
                  </a:lnTo>
                  <a:lnTo>
                    <a:pt x="13" y="447"/>
                  </a:lnTo>
                  <a:lnTo>
                    <a:pt x="16" y="447"/>
                  </a:lnTo>
                  <a:lnTo>
                    <a:pt x="19" y="446"/>
                  </a:lnTo>
                  <a:lnTo>
                    <a:pt x="23" y="447"/>
                  </a:lnTo>
                  <a:lnTo>
                    <a:pt x="27" y="448"/>
                  </a:lnTo>
                  <a:lnTo>
                    <a:pt x="30" y="450"/>
                  </a:lnTo>
                  <a:lnTo>
                    <a:pt x="34" y="452"/>
                  </a:lnTo>
                  <a:lnTo>
                    <a:pt x="42" y="459"/>
                  </a:lnTo>
                  <a:lnTo>
                    <a:pt x="51" y="465"/>
                  </a:lnTo>
                  <a:lnTo>
                    <a:pt x="60" y="471"/>
                  </a:lnTo>
                  <a:lnTo>
                    <a:pt x="65" y="474"/>
                  </a:lnTo>
                  <a:lnTo>
                    <a:pt x="70" y="477"/>
                  </a:lnTo>
                  <a:lnTo>
                    <a:pt x="75" y="479"/>
                  </a:lnTo>
                  <a:lnTo>
                    <a:pt x="80" y="481"/>
                  </a:lnTo>
                  <a:lnTo>
                    <a:pt x="85" y="482"/>
                  </a:lnTo>
                  <a:lnTo>
                    <a:pt x="90" y="482"/>
                  </a:lnTo>
                  <a:lnTo>
                    <a:pt x="95" y="482"/>
                  </a:lnTo>
                  <a:lnTo>
                    <a:pt x="100" y="481"/>
                  </a:lnTo>
                  <a:lnTo>
                    <a:pt x="104" y="479"/>
                  </a:lnTo>
                  <a:lnTo>
                    <a:pt x="109" y="476"/>
                  </a:lnTo>
                  <a:lnTo>
                    <a:pt x="117" y="469"/>
                  </a:lnTo>
                  <a:lnTo>
                    <a:pt x="121" y="465"/>
                  </a:lnTo>
                  <a:lnTo>
                    <a:pt x="124" y="461"/>
                  </a:lnTo>
                  <a:lnTo>
                    <a:pt x="130" y="452"/>
                  </a:lnTo>
                  <a:lnTo>
                    <a:pt x="132" y="447"/>
                  </a:lnTo>
                  <a:lnTo>
                    <a:pt x="134" y="443"/>
                  </a:lnTo>
                  <a:lnTo>
                    <a:pt x="138" y="433"/>
                  </a:lnTo>
                  <a:lnTo>
                    <a:pt x="139" y="427"/>
                  </a:lnTo>
                  <a:lnTo>
                    <a:pt x="140" y="422"/>
                  </a:lnTo>
                  <a:lnTo>
                    <a:pt x="142" y="412"/>
                  </a:lnTo>
                  <a:lnTo>
                    <a:pt x="142" y="401"/>
                  </a:lnTo>
                  <a:lnTo>
                    <a:pt x="141" y="390"/>
                  </a:lnTo>
                  <a:lnTo>
                    <a:pt x="139" y="380"/>
                  </a:lnTo>
                  <a:lnTo>
                    <a:pt x="136" y="370"/>
                  </a:lnTo>
                  <a:lnTo>
                    <a:pt x="135" y="365"/>
                  </a:lnTo>
                  <a:lnTo>
                    <a:pt x="133" y="360"/>
                  </a:lnTo>
                  <a:lnTo>
                    <a:pt x="128" y="350"/>
                  </a:lnTo>
                  <a:lnTo>
                    <a:pt x="125" y="346"/>
                  </a:lnTo>
                  <a:lnTo>
                    <a:pt x="122" y="342"/>
                  </a:lnTo>
                  <a:lnTo>
                    <a:pt x="116" y="335"/>
                  </a:lnTo>
                  <a:lnTo>
                    <a:pt x="112" y="332"/>
                  </a:lnTo>
                  <a:lnTo>
                    <a:pt x="108" y="330"/>
                  </a:lnTo>
                  <a:lnTo>
                    <a:pt x="103" y="327"/>
                  </a:lnTo>
                  <a:lnTo>
                    <a:pt x="98" y="325"/>
                  </a:lnTo>
                  <a:lnTo>
                    <a:pt x="92" y="323"/>
                  </a:lnTo>
                  <a:lnTo>
                    <a:pt x="87" y="323"/>
                  </a:lnTo>
                  <a:lnTo>
                    <a:pt x="82" y="323"/>
                  </a:lnTo>
                  <a:lnTo>
                    <a:pt x="77" y="324"/>
                  </a:lnTo>
                  <a:lnTo>
                    <a:pt x="72" y="326"/>
                  </a:lnTo>
                  <a:lnTo>
                    <a:pt x="67" y="328"/>
                  </a:lnTo>
                  <a:lnTo>
                    <a:pt x="58" y="333"/>
                  </a:lnTo>
                  <a:lnTo>
                    <a:pt x="49" y="339"/>
                  </a:lnTo>
                  <a:lnTo>
                    <a:pt x="41" y="345"/>
                  </a:lnTo>
                  <a:lnTo>
                    <a:pt x="33" y="350"/>
                  </a:lnTo>
                  <a:lnTo>
                    <a:pt x="26" y="354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4" y="354"/>
                  </a:lnTo>
                  <a:lnTo>
                    <a:pt x="11" y="352"/>
                  </a:lnTo>
                  <a:lnTo>
                    <a:pt x="9" y="350"/>
                  </a:lnTo>
                  <a:lnTo>
                    <a:pt x="7" y="347"/>
                  </a:lnTo>
                  <a:lnTo>
                    <a:pt x="4" y="344"/>
                  </a:lnTo>
                  <a:lnTo>
                    <a:pt x="2" y="339"/>
                  </a:lnTo>
                  <a:lnTo>
                    <a:pt x="0" y="334"/>
                  </a:lnTo>
                  <a:lnTo>
                    <a:pt x="1" y="141"/>
                  </a:lnTo>
                  <a:lnTo>
                    <a:pt x="269" y="141"/>
                  </a:lnTo>
                  <a:lnTo>
                    <a:pt x="276" y="139"/>
                  </a:lnTo>
                  <a:lnTo>
                    <a:pt x="280" y="137"/>
                  </a:lnTo>
                  <a:lnTo>
                    <a:pt x="283" y="135"/>
                  </a:lnTo>
                  <a:lnTo>
                    <a:pt x="286" y="133"/>
                  </a:lnTo>
                  <a:lnTo>
                    <a:pt x="288" y="130"/>
                  </a:lnTo>
                  <a:lnTo>
                    <a:pt x="289" y="128"/>
                  </a:lnTo>
                  <a:lnTo>
                    <a:pt x="290" y="125"/>
                  </a:lnTo>
                  <a:lnTo>
                    <a:pt x="290" y="123"/>
                  </a:lnTo>
                  <a:lnTo>
                    <a:pt x="290" y="120"/>
                  </a:lnTo>
                  <a:lnTo>
                    <a:pt x="289" y="117"/>
                  </a:lnTo>
                  <a:lnTo>
                    <a:pt x="286" y="112"/>
                  </a:lnTo>
                  <a:lnTo>
                    <a:pt x="283" y="105"/>
                  </a:lnTo>
                  <a:lnTo>
                    <a:pt x="278" y="99"/>
                  </a:lnTo>
                  <a:lnTo>
                    <a:pt x="267" y="85"/>
                  </a:lnTo>
                  <a:lnTo>
                    <a:pt x="263" y="77"/>
                  </a:lnTo>
                  <a:lnTo>
                    <a:pt x="261" y="73"/>
                  </a:lnTo>
                  <a:lnTo>
                    <a:pt x="260" y="69"/>
                  </a:lnTo>
                  <a:lnTo>
                    <a:pt x="258" y="65"/>
                  </a:lnTo>
                  <a:lnTo>
                    <a:pt x="258" y="60"/>
                  </a:lnTo>
                  <a:lnTo>
                    <a:pt x="257" y="56"/>
                  </a:lnTo>
                  <a:lnTo>
                    <a:pt x="257" y="51"/>
                  </a:lnTo>
                  <a:lnTo>
                    <a:pt x="258" y="47"/>
                  </a:lnTo>
                  <a:lnTo>
                    <a:pt x="259" y="43"/>
                  </a:lnTo>
                  <a:lnTo>
                    <a:pt x="261" y="38"/>
                  </a:lnTo>
                  <a:lnTo>
                    <a:pt x="264" y="33"/>
                  </a:lnTo>
                  <a:lnTo>
                    <a:pt x="267" y="30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4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6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1" y="9"/>
                  </a:lnTo>
                  <a:lnTo>
                    <a:pt x="386" y="12"/>
                  </a:lnTo>
                  <a:lnTo>
                    <a:pt x="390" y="15"/>
                  </a:lnTo>
                  <a:lnTo>
                    <a:pt x="395" y="17"/>
                  </a:lnTo>
                  <a:lnTo>
                    <a:pt x="399" y="21"/>
                  </a:lnTo>
                  <a:lnTo>
                    <a:pt x="403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2" y="37"/>
                  </a:lnTo>
                  <a:lnTo>
                    <a:pt x="414" y="41"/>
                  </a:lnTo>
                  <a:lnTo>
                    <a:pt x="416" y="45"/>
                  </a:lnTo>
                  <a:lnTo>
                    <a:pt x="416" y="50"/>
                  </a:lnTo>
                  <a:lnTo>
                    <a:pt x="416" y="54"/>
                  </a:lnTo>
                  <a:lnTo>
                    <a:pt x="416" y="58"/>
                  </a:lnTo>
                  <a:lnTo>
                    <a:pt x="413" y="67"/>
                  </a:lnTo>
                  <a:lnTo>
                    <a:pt x="410" y="75"/>
                  </a:lnTo>
                  <a:lnTo>
                    <a:pt x="405" y="83"/>
                  </a:lnTo>
                  <a:lnTo>
                    <a:pt x="394" y="98"/>
                  </a:lnTo>
                  <a:lnTo>
                    <a:pt x="389" y="104"/>
                  </a:lnTo>
                  <a:lnTo>
                    <a:pt x="385" y="111"/>
                  </a:lnTo>
                  <a:lnTo>
                    <a:pt x="382" y="117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5"/>
                  </a:lnTo>
                  <a:lnTo>
                    <a:pt x="381" y="128"/>
                  </a:lnTo>
                  <a:lnTo>
                    <a:pt x="383" y="131"/>
                  </a:lnTo>
                  <a:lnTo>
                    <a:pt x="385" y="133"/>
                  </a:lnTo>
                  <a:lnTo>
                    <a:pt x="388" y="135"/>
                  </a:lnTo>
                  <a:lnTo>
                    <a:pt x="391" y="137"/>
                  </a:lnTo>
                  <a:lnTo>
                    <a:pt x="396" y="139"/>
                  </a:lnTo>
                  <a:lnTo>
                    <a:pt x="401" y="141"/>
                  </a:lnTo>
                  <a:lnTo>
                    <a:pt x="673" y="141"/>
                  </a:lnTo>
                  <a:lnTo>
                    <a:pt x="673" y="334"/>
                  </a:lnTo>
                  <a:lnTo>
                    <a:pt x="671" y="340"/>
                  </a:lnTo>
                  <a:lnTo>
                    <a:pt x="669" y="344"/>
                  </a:lnTo>
                  <a:lnTo>
                    <a:pt x="667" y="348"/>
                  </a:lnTo>
                  <a:lnTo>
                    <a:pt x="665" y="350"/>
                  </a:lnTo>
                  <a:lnTo>
                    <a:pt x="662" y="353"/>
                  </a:lnTo>
                  <a:lnTo>
                    <a:pt x="660" y="354"/>
                  </a:lnTo>
                  <a:lnTo>
                    <a:pt x="657" y="355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48" y="354"/>
                  </a:lnTo>
                  <a:lnTo>
                    <a:pt x="642" y="351"/>
                  </a:lnTo>
                  <a:lnTo>
                    <a:pt x="636" y="348"/>
                  </a:lnTo>
                  <a:lnTo>
                    <a:pt x="630" y="343"/>
                  </a:lnTo>
                  <a:lnTo>
                    <a:pt x="623" y="338"/>
                  </a:lnTo>
                  <a:lnTo>
                    <a:pt x="615" y="333"/>
                  </a:lnTo>
                  <a:lnTo>
                    <a:pt x="608" y="329"/>
                  </a:lnTo>
                  <a:lnTo>
                    <a:pt x="600" y="326"/>
                  </a:lnTo>
                  <a:lnTo>
                    <a:pt x="596" y="324"/>
                  </a:lnTo>
                  <a:lnTo>
                    <a:pt x="592" y="323"/>
                  </a:lnTo>
                  <a:lnTo>
                    <a:pt x="587" y="323"/>
                  </a:lnTo>
                  <a:lnTo>
                    <a:pt x="583" y="323"/>
                  </a:lnTo>
                  <a:lnTo>
                    <a:pt x="579" y="324"/>
                  </a:lnTo>
                  <a:lnTo>
                    <a:pt x="574" y="325"/>
                  </a:lnTo>
                  <a:lnTo>
                    <a:pt x="570" y="327"/>
                  </a:lnTo>
                  <a:lnTo>
                    <a:pt x="565" y="330"/>
                  </a:lnTo>
                  <a:lnTo>
                    <a:pt x="561" y="332"/>
                  </a:lnTo>
                  <a:lnTo>
                    <a:pt x="557" y="335"/>
                  </a:lnTo>
                  <a:lnTo>
                    <a:pt x="554" y="339"/>
                  </a:lnTo>
                  <a:lnTo>
                    <a:pt x="551" y="342"/>
                  </a:lnTo>
                  <a:lnTo>
                    <a:pt x="545" y="350"/>
                  </a:lnTo>
                  <a:lnTo>
                    <a:pt x="540" y="360"/>
                  </a:lnTo>
                  <a:lnTo>
                    <a:pt x="538" y="365"/>
                  </a:lnTo>
                  <a:lnTo>
                    <a:pt x="537" y="370"/>
                  </a:lnTo>
                  <a:lnTo>
                    <a:pt x="534" y="380"/>
                  </a:lnTo>
                  <a:lnTo>
                    <a:pt x="532" y="390"/>
                  </a:lnTo>
                  <a:lnTo>
                    <a:pt x="532" y="395"/>
                  </a:lnTo>
                  <a:lnTo>
                    <a:pt x="531" y="401"/>
                  </a:lnTo>
                  <a:lnTo>
                    <a:pt x="532" y="412"/>
                  </a:lnTo>
                  <a:lnTo>
                    <a:pt x="533" y="422"/>
                  </a:lnTo>
                  <a:lnTo>
                    <a:pt x="535" y="433"/>
                  </a:lnTo>
                  <a:lnTo>
                    <a:pt x="539" y="443"/>
                  </a:lnTo>
                  <a:lnTo>
                    <a:pt x="541" y="447"/>
                  </a:lnTo>
                  <a:lnTo>
                    <a:pt x="543" y="452"/>
                  </a:lnTo>
                  <a:lnTo>
                    <a:pt x="546" y="457"/>
                  </a:lnTo>
                  <a:lnTo>
                    <a:pt x="549" y="461"/>
                  </a:lnTo>
                  <a:lnTo>
                    <a:pt x="552" y="465"/>
                  </a:lnTo>
                  <a:lnTo>
                    <a:pt x="556" y="469"/>
                  </a:lnTo>
                  <a:lnTo>
                    <a:pt x="560" y="473"/>
                  </a:lnTo>
                  <a:lnTo>
                    <a:pt x="564" y="476"/>
                  </a:lnTo>
                  <a:lnTo>
                    <a:pt x="568" y="478"/>
                  </a:lnTo>
                  <a:lnTo>
                    <a:pt x="573" y="480"/>
                  </a:lnTo>
                  <a:lnTo>
                    <a:pt x="577" y="481"/>
                  </a:lnTo>
                  <a:lnTo>
                    <a:pt x="581" y="482"/>
                  </a:lnTo>
                  <a:lnTo>
                    <a:pt x="585" y="482"/>
                  </a:lnTo>
                  <a:lnTo>
                    <a:pt x="590" y="482"/>
                  </a:lnTo>
                  <a:lnTo>
                    <a:pt x="598" y="479"/>
                  </a:lnTo>
                  <a:lnTo>
                    <a:pt x="602" y="478"/>
                  </a:lnTo>
                  <a:lnTo>
                    <a:pt x="606" y="475"/>
                  </a:lnTo>
                  <a:lnTo>
                    <a:pt x="614" y="471"/>
                  </a:lnTo>
                  <a:lnTo>
                    <a:pt x="628" y="460"/>
                  </a:lnTo>
                  <a:lnTo>
                    <a:pt x="635" y="454"/>
                  </a:lnTo>
                  <a:lnTo>
                    <a:pt x="642" y="450"/>
                  </a:lnTo>
                  <a:lnTo>
                    <a:pt x="645" y="449"/>
                  </a:lnTo>
                  <a:lnTo>
                    <a:pt x="648" y="447"/>
                  </a:lnTo>
                  <a:lnTo>
                    <a:pt x="651" y="447"/>
                  </a:lnTo>
                  <a:lnTo>
                    <a:pt x="654" y="446"/>
                  </a:lnTo>
                  <a:lnTo>
                    <a:pt x="657" y="447"/>
                  </a:lnTo>
                  <a:lnTo>
                    <a:pt x="660" y="447"/>
                  </a:lnTo>
                  <a:lnTo>
                    <a:pt x="662" y="449"/>
                  </a:lnTo>
                  <a:lnTo>
                    <a:pt x="665" y="451"/>
                  </a:lnTo>
                  <a:lnTo>
                    <a:pt x="667" y="454"/>
                  </a:lnTo>
                  <a:lnTo>
                    <a:pt x="669" y="459"/>
                  </a:lnTo>
                  <a:lnTo>
                    <a:pt x="671" y="463"/>
                  </a:lnTo>
                  <a:lnTo>
                    <a:pt x="673" y="469"/>
                  </a:lnTo>
                  <a:lnTo>
                    <a:pt x="673" y="664"/>
                  </a:lnTo>
                  <a:lnTo>
                    <a:pt x="403" y="664"/>
                  </a:lnTo>
                  <a:lnTo>
                    <a:pt x="392" y="660"/>
                  </a:lnTo>
                  <a:lnTo>
                    <a:pt x="388" y="658"/>
                  </a:lnTo>
                  <a:lnTo>
                    <a:pt x="385" y="656"/>
                  </a:lnTo>
                  <a:lnTo>
                    <a:pt x="383" y="654"/>
                  </a:lnTo>
                  <a:lnTo>
                    <a:pt x="382" y="650"/>
                  </a:lnTo>
                  <a:lnTo>
                    <a:pt x="381" y="648"/>
                  </a:lnTo>
                  <a:lnTo>
                    <a:pt x="380" y="645"/>
                  </a:lnTo>
                  <a:lnTo>
                    <a:pt x="381" y="642"/>
                  </a:lnTo>
                  <a:lnTo>
                    <a:pt x="382" y="639"/>
                  </a:lnTo>
                  <a:lnTo>
                    <a:pt x="384" y="633"/>
                  </a:lnTo>
                  <a:lnTo>
                    <a:pt x="388" y="626"/>
                  </a:lnTo>
                  <a:lnTo>
                    <a:pt x="393" y="620"/>
                  </a:lnTo>
                  <a:lnTo>
                    <a:pt x="399" y="612"/>
                  </a:lnTo>
                  <a:lnTo>
                    <a:pt x="405" y="605"/>
                  </a:lnTo>
                  <a:lnTo>
                    <a:pt x="410" y="597"/>
                  </a:lnTo>
                  <a:lnTo>
                    <a:pt x="413" y="589"/>
                  </a:lnTo>
                  <a:lnTo>
                    <a:pt x="416" y="581"/>
                  </a:lnTo>
                  <a:lnTo>
                    <a:pt x="416" y="577"/>
                  </a:lnTo>
                  <a:lnTo>
                    <a:pt x="416" y="572"/>
                  </a:lnTo>
                  <a:lnTo>
                    <a:pt x="416" y="568"/>
                  </a:lnTo>
                  <a:lnTo>
                    <a:pt x="414" y="564"/>
                  </a:lnTo>
                  <a:lnTo>
                    <a:pt x="413" y="559"/>
                  </a:lnTo>
                  <a:lnTo>
                    <a:pt x="410" y="555"/>
                  </a:lnTo>
                  <a:lnTo>
                    <a:pt x="403" y="546"/>
                  </a:lnTo>
                  <a:lnTo>
                    <a:pt x="399" y="542"/>
                  </a:lnTo>
                  <a:lnTo>
                    <a:pt x="395" y="539"/>
                  </a:lnTo>
                  <a:lnTo>
                    <a:pt x="386" y="534"/>
                  </a:lnTo>
                  <a:lnTo>
                    <a:pt x="381" y="531"/>
                  </a:lnTo>
                  <a:lnTo>
                    <a:pt x="377" y="529"/>
                  </a:lnTo>
                  <a:lnTo>
                    <a:pt x="367" y="525"/>
                  </a:lnTo>
                  <a:lnTo>
                    <a:pt x="362" y="524"/>
                  </a:lnTo>
                  <a:lnTo>
                    <a:pt x="356" y="523"/>
                  </a:lnTo>
                  <a:lnTo>
                    <a:pt x="346" y="522"/>
                  </a:lnTo>
                  <a:lnTo>
                    <a:pt x="335" y="522"/>
                  </a:lnTo>
                  <a:lnTo>
                    <a:pt x="324" y="522"/>
                  </a:lnTo>
                  <a:lnTo>
                    <a:pt x="314" y="524"/>
                  </a:lnTo>
                  <a:lnTo>
                    <a:pt x="304" y="527"/>
                  </a:lnTo>
                  <a:lnTo>
                    <a:pt x="299" y="529"/>
                  </a:lnTo>
                  <a:lnTo>
                    <a:pt x="294" y="531"/>
                  </a:lnTo>
                  <a:lnTo>
                    <a:pt x="285" y="535"/>
                  </a:lnTo>
                  <a:lnTo>
                    <a:pt x="281" y="538"/>
                  </a:lnTo>
                  <a:lnTo>
                    <a:pt x="277" y="541"/>
                  </a:lnTo>
                  <a:lnTo>
                    <a:pt x="270" y="548"/>
                  </a:lnTo>
                  <a:lnTo>
                    <a:pt x="267" y="551"/>
                  </a:lnTo>
                  <a:lnTo>
                    <a:pt x="264" y="556"/>
                  </a:lnTo>
                  <a:lnTo>
                    <a:pt x="261" y="561"/>
                  </a:lnTo>
                  <a:lnTo>
                    <a:pt x="259" y="565"/>
                  </a:lnTo>
                  <a:lnTo>
                    <a:pt x="258" y="570"/>
                  </a:lnTo>
                  <a:lnTo>
                    <a:pt x="257" y="574"/>
                  </a:lnTo>
                  <a:lnTo>
                    <a:pt x="257" y="579"/>
                  </a:lnTo>
                  <a:lnTo>
                    <a:pt x="258" y="583"/>
                  </a:lnTo>
                  <a:lnTo>
                    <a:pt x="258" y="587"/>
                  </a:lnTo>
                  <a:lnTo>
                    <a:pt x="260" y="591"/>
                  </a:lnTo>
                  <a:lnTo>
                    <a:pt x="263" y="599"/>
                  </a:lnTo>
                  <a:lnTo>
                    <a:pt x="267" y="607"/>
                  </a:lnTo>
                  <a:lnTo>
                    <a:pt x="272" y="614"/>
                  </a:lnTo>
                  <a:lnTo>
                    <a:pt x="278" y="621"/>
                  </a:lnTo>
                  <a:lnTo>
                    <a:pt x="283" y="627"/>
                  </a:lnTo>
                  <a:lnTo>
                    <a:pt x="287" y="634"/>
                  </a:lnTo>
                  <a:lnTo>
                    <a:pt x="289" y="639"/>
                  </a:lnTo>
                  <a:lnTo>
                    <a:pt x="290" y="642"/>
                  </a:lnTo>
                  <a:lnTo>
                    <a:pt x="290" y="645"/>
                  </a:lnTo>
                  <a:lnTo>
                    <a:pt x="290" y="647"/>
                  </a:lnTo>
                  <a:lnTo>
                    <a:pt x="289" y="650"/>
                  </a:lnTo>
                  <a:lnTo>
                    <a:pt x="288" y="653"/>
                  </a:lnTo>
                  <a:lnTo>
                    <a:pt x="286" y="656"/>
                  </a:lnTo>
                  <a:lnTo>
                    <a:pt x="283" y="658"/>
                  </a:lnTo>
                  <a:lnTo>
                    <a:pt x="279" y="660"/>
                  </a:lnTo>
                  <a:lnTo>
                    <a:pt x="274" y="662"/>
                  </a:lnTo>
                  <a:lnTo>
                    <a:pt x="268" y="664"/>
                  </a:lnTo>
                  <a:lnTo>
                    <a:pt x="1" y="664"/>
                  </a:lnTo>
                  <a:lnTo>
                    <a:pt x="1" y="468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437" y="3573"/>
              <a:ext cx="677" cy="524"/>
            </a:xfrm>
            <a:custGeom>
              <a:avLst/>
              <a:gdLst>
                <a:gd name="T0" fmla="*/ 673 w 677"/>
                <a:gd name="T1" fmla="*/ 204 h 524"/>
                <a:gd name="T2" fmla="*/ 666 w 677"/>
                <a:gd name="T3" fmla="*/ 212 h 524"/>
                <a:gd name="T4" fmla="*/ 656 w 677"/>
                <a:gd name="T5" fmla="*/ 213 h 524"/>
                <a:gd name="T6" fmla="*/ 641 w 677"/>
                <a:gd name="T7" fmla="*/ 206 h 524"/>
                <a:gd name="T8" fmla="*/ 620 w 677"/>
                <a:gd name="T9" fmla="*/ 192 h 524"/>
                <a:gd name="T10" fmla="*/ 601 w 677"/>
                <a:gd name="T11" fmla="*/ 183 h 524"/>
                <a:gd name="T12" fmla="*/ 588 w 677"/>
                <a:gd name="T13" fmla="*/ 181 h 524"/>
                <a:gd name="T14" fmla="*/ 575 w 677"/>
                <a:gd name="T15" fmla="*/ 186 h 524"/>
                <a:gd name="T16" fmla="*/ 562 w 677"/>
                <a:gd name="T17" fmla="*/ 194 h 524"/>
                <a:gd name="T18" fmla="*/ 550 w 677"/>
                <a:gd name="T19" fmla="*/ 209 h 524"/>
                <a:gd name="T20" fmla="*/ 541 w 677"/>
                <a:gd name="T21" fmla="*/ 227 h 524"/>
                <a:gd name="T22" fmla="*/ 536 w 677"/>
                <a:gd name="T23" fmla="*/ 253 h 524"/>
                <a:gd name="T24" fmla="*/ 537 w 677"/>
                <a:gd name="T25" fmla="*/ 281 h 524"/>
                <a:gd name="T26" fmla="*/ 545 w 677"/>
                <a:gd name="T27" fmla="*/ 306 h 524"/>
                <a:gd name="T28" fmla="*/ 554 w 677"/>
                <a:gd name="T29" fmla="*/ 319 h 524"/>
                <a:gd name="T30" fmla="*/ 564 w 677"/>
                <a:gd name="T31" fmla="*/ 330 h 524"/>
                <a:gd name="T32" fmla="*/ 578 w 677"/>
                <a:gd name="T33" fmla="*/ 338 h 524"/>
                <a:gd name="T34" fmla="*/ 591 w 677"/>
                <a:gd name="T35" fmla="*/ 340 h 524"/>
                <a:gd name="T36" fmla="*/ 611 w 677"/>
                <a:gd name="T37" fmla="*/ 333 h 524"/>
                <a:gd name="T38" fmla="*/ 640 w 677"/>
                <a:gd name="T39" fmla="*/ 314 h 524"/>
                <a:gd name="T40" fmla="*/ 658 w 677"/>
                <a:gd name="T41" fmla="*/ 305 h 524"/>
                <a:gd name="T42" fmla="*/ 666 w 677"/>
                <a:gd name="T43" fmla="*/ 307 h 524"/>
                <a:gd name="T44" fmla="*/ 673 w 677"/>
                <a:gd name="T45" fmla="*/ 315 h 524"/>
                <a:gd name="T46" fmla="*/ 677 w 677"/>
                <a:gd name="T47" fmla="*/ 523 h 524"/>
                <a:gd name="T48" fmla="*/ 274 w 677"/>
                <a:gd name="T49" fmla="*/ 0 h 524"/>
                <a:gd name="T50" fmla="*/ 285 w 677"/>
                <a:gd name="T51" fmla="*/ 6 h 524"/>
                <a:gd name="T52" fmla="*/ 291 w 677"/>
                <a:gd name="T53" fmla="*/ 13 h 524"/>
                <a:gd name="T54" fmla="*/ 291 w 677"/>
                <a:gd name="T55" fmla="*/ 21 h 524"/>
                <a:gd name="T56" fmla="*/ 283 w 677"/>
                <a:gd name="T57" fmla="*/ 35 h 524"/>
                <a:gd name="T58" fmla="*/ 269 w 677"/>
                <a:gd name="T59" fmla="*/ 56 h 524"/>
                <a:gd name="T60" fmla="*/ 261 w 677"/>
                <a:gd name="T61" fmla="*/ 75 h 524"/>
                <a:gd name="T62" fmla="*/ 260 w 677"/>
                <a:gd name="T63" fmla="*/ 89 h 524"/>
                <a:gd name="T64" fmla="*/ 262 w 677"/>
                <a:gd name="T65" fmla="*/ 98 h 524"/>
                <a:gd name="T66" fmla="*/ 269 w 677"/>
                <a:gd name="T67" fmla="*/ 110 h 524"/>
                <a:gd name="T68" fmla="*/ 279 w 677"/>
                <a:gd name="T69" fmla="*/ 121 h 524"/>
                <a:gd name="T70" fmla="*/ 300 w 677"/>
                <a:gd name="T71" fmla="*/ 133 h 524"/>
                <a:gd name="T72" fmla="*/ 327 w 677"/>
                <a:gd name="T73" fmla="*/ 139 h 524"/>
                <a:gd name="T74" fmla="*/ 359 w 677"/>
                <a:gd name="T75" fmla="*/ 139 h 524"/>
                <a:gd name="T76" fmla="*/ 384 w 677"/>
                <a:gd name="T77" fmla="*/ 131 h 524"/>
                <a:gd name="T78" fmla="*/ 397 w 677"/>
                <a:gd name="T79" fmla="*/ 122 h 524"/>
                <a:gd name="T80" fmla="*/ 408 w 677"/>
                <a:gd name="T81" fmla="*/ 112 h 524"/>
                <a:gd name="T82" fmla="*/ 416 w 677"/>
                <a:gd name="T83" fmla="*/ 99 h 524"/>
                <a:gd name="T84" fmla="*/ 417 w 677"/>
                <a:gd name="T85" fmla="*/ 86 h 524"/>
                <a:gd name="T86" fmla="*/ 415 w 677"/>
                <a:gd name="T87" fmla="*/ 73 h 524"/>
                <a:gd name="T88" fmla="*/ 396 w 677"/>
                <a:gd name="T89" fmla="*/ 43 h 524"/>
                <a:gd name="T90" fmla="*/ 384 w 677"/>
                <a:gd name="T91" fmla="*/ 24 h 524"/>
                <a:gd name="T92" fmla="*/ 383 w 677"/>
                <a:gd name="T93" fmla="*/ 13 h 524"/>
                <a:gd name="T94" fmla="*/ 389 w 677"/>
                <a:gd name="T95" fmla="*/ 6 h 524"/>
                <a:gd name="T96" fmla="*/ 401 w 677"/>
                <a:gd name="T97" fmla="*/ 0 h 52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7"/>
                <a:gd name="T148" fmla="*/ 0 h 524"/>
                <a:gd name="T149" fmla="*/ 677 w 677"/>
                <a:gd name="T150" fmla="*/ 524 h 52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7" h="524">
                  <a:moveTo>
                    <a:pt x="677" y="0"/>
                  </a:moveTo>
                  <a:lnTo>
                    <a:pt x="677" y="195"/>
                  </a:lnTo>
                  <a:lnTo>
                    <a:pt x="673" y="204"/>
                  </a:lnTo>
                  <a:lnTo>
                    <a:pt x="670" y="207"/>
                  </a:lnTo>
                  <a:lnTo>
                    <a:pt x="668" y="210"/>
                  </a:lnTo>
                  <a:lnTo>
                    <a:pt x="666" y="212"/>
                  </a:lnTo>
                  <a:lnTo>
                    <a:pt x="663" y="213"/>
                  </a:lnTo>
                  <a:lnTo>
                    <a:pt x="658" y="214"/>
                  </a:lnTo>
                  <a:lnTo>
                    <a:pt x="656" y="213"/>
                  </a:lnTo>
                  <a:lnTo>
                    <a:pt x="653" y="212"/>
                  </a:lnTo>
                  <a:lnTo>
                    <a:pt x="647" y="210"/>
                  </a:lnTo>
                  <a:lnTo>
                    <a:pt x="641" y="206"/>
                  </a:lnTo>
                  <a:lnTo>
                    <a:pt x="634" y="201"/>
                  </a:lnTo>
                  <a:lnTo>
                    <a:pt x="628" y="196"/>
                  </a:lnTo>
                  <a:lnTo>
                    <a:pt x="620" y="192"/>
                  </a:lnTo>
                  <a:lnTo>
                    <a:pt x="613" y="187"/>
                  </a:lnTo>
                  <a:lnTo>
                    <a:pt x="605" y="184"/>
                  </a:lnTo>
                  <a:lnTo>
                    <a:pt x="601" y="183"/>
                  </a:lnTo>
                  <a:lnTo>
                    <a:pt x="597" y="181"/>
                  </a:lnTo>
                  <a:lnTo>
                    <a:pt x="593" y="181"/>
                  </a:lnTo>
                  <a:lnTo>
                    <a:pt x="588" y="181"/>
                  </a:lnTo>
                  <a:lnTo>
                    <a:pt x="584" y="183"/>
                  </a:lnTo>
                  <a:lnTo>
                    <a:pt x="580" y="184"/>
                  </a:lnTo>
                  <a:lnTo>
                    <a:pt x="575" y="186"/>
                  </a:lnTo>
                  <a:lnTo>
                    <a:pt x="569" y="188"/>
                  </a:lnTo>
                  <a:lnTo>
                    <a:pt x="566" y="191"/>
                  </a:lnTo>
                  <a:lnTo>
                    <a:pt x="562" y="194"/>
                  </a:lnTo>
                  <a:lnTo>
                    <a:pt x="559" y="197"/>
                  </a:lnTo>
                  <a:lnTo>
                    <a:pt x="555" y="201"/>
                  </a:lnTo>
                  <a:lnTo>
                    <a:pt x="550" y="209"/>
                  </a:lnTo>
                  <a:lnTo>
                    <a:pt x="545" y="218"/>
                  </a:lnTo>
                  <a:lnTo>
                    <a:pt x="543" y="222"/>
                  </a:lnTo>
                  <a:lnTo>
                    <a:pt x="541" y="227"/>
                  </a:lnTo>
                  <a:lnTo>
                    <a:pt x="538" y="237"/>
                  </a:lnTo>
                  <a:lnTo>
                    <a:pt x="537" y="248"/>
                  </a:lnTo>
                  <a:lnTo>
                    <a:pt x="536" y="253"/>
                  </a:lnTo>
                  <a:lnTo>
                    <a:pt x="536" y="259"/>
                  </a:lnTo>
                  <a:lnTo>
                    <a:pt x="536" y="269"/>
                  </a:lnTo>
                  <a:lnTo>
                    <a:pt x="537" y="281"/>
                  </a:lnTo>
                  <a:lnTo>
                    <a:pt x="540" y="291"/>
                  </a:lnTo>
                  <a:lnTo>
                    <a:pt x="543" y="301"/>
                  </a:lnTo>
                  <a:lnTo>
                    <a:pt x="545" y="306"/>
                  </a:lnTo>
                  <a:lnTo>
                    <a:pt x="548" y="311"/>
                  </a:lnTo>
                  <a:lnTo>
                    <a:pt x="551" y="315"/>
                  </a:lnTo>
                  <a:lnTo>
                    <a:pt x="554" y="319"/>
                  </a:lnTo>
                  <a:lnTo>
                    <a:pt x="557" y="323"/>
                  </a:lnTo>
                  <a:lnTo>
                    <a:pt x="560" y="327"/>
                  </a:lnTo>
                  <a:lnTo>
                    <a:pt x="564" y="330"/>
                  </a:lnTo>
                  <a:lnTo>
                    <a:pt x="568" y="333"/>
                  </a:lnTo>
                  <a:lnTo>
                    <a:pt x="574" y="336"/>
                  </a:lnTo>
                  <a:lnTo>
                    <a:pt x="578" y="338"/>
                  </a:lnTo>
                  <a:lnTo>
                    <a:pt x="582" y="339"/>
                  </a:lnTo>
                  <a:lnTo>
                    <a:pt x="587" y="340"/>
                  </a:lnTo>
                  <a:lnTo>
                    <a:pt x="591" y="340"/>
                  </a:lnTo>
                  <a:lnTo>
                    <a:pt x="595" y="339"/>
                  </a:lnTo>
                  <a:lnTo>
                    <a:pt x="603" y="337"/>
                  </a:lnTo>
                  <a:lnTo>
                    <a:pt x="611" y="333"/>
                  </a:lnTo>
                  <a:lnTo>
                    <a:pt x="619" y="329"/>
                  </a:lnTo>
                  <a:lnTo>
                    <a:pt x="633" y="318"/>
                  </a:lnTo>
                  <a:lnTo>
                    <a:pt x="640" y="314"/>
                  </a:lnTo>
                  <a:lnTo>
                    <a:pt x="646" y="309"/>
                  </a:lnTo>
                  <a:lnTo>
                    <a:pt x="653" y="306"/>
                  </a:lnTo>
                  <a:lnTo>
                    <a:pt x="658" y="305"/>
                  </a:lnTo>
                  <a:lnTo>
                    <a:pt x="661" y="305"/>
                  </a:lnTo>
                  <a:lnTo>
                    <a:pt x="664" y="306"/>
                  </a:lnTo>
                  <a:lnTo>
                    <a:pt x="666" y="307"/>
                  </a:lnTo>
                  <a:lnTo>
                    <a:pt x="668" y="309"/>
                  </a:lnTo>
                  <a:lnTo>
                    <a:pt x="671" y="311"/>
                  </a:lnTo>
                  <a:lnTo>
                    <a:pt x="673" y="315"/>
                  </a:lnTo>
                  <a:lnTo>
                    <a:pt x="675" y="319"/>
                  </a:lnTo>
                  <a:lnTo>
                    <a:pt x="677" y="324"/>
                  </a:lnTo>
                  <a:lnTo>
                    <a:pt x="677" y="523"/>
                  </a:lnTo>
                  <a:lnTo>
                    <a:pt x="0" y="524"/>
                  </a:lnTo>
                  <a:lnTo>
                    <a:pt x="0" y="0"/>
                  </a:lnTo>
                  <a:lnTo>
                    <a:pt x="274" y="0"/>
                  </a:lnTo>
                  <a:lnTo>
                    <a:pt x="278" y="2"/>
                  </a:lnTo>
                  <a:lnTo>
                    <a:pt x="282" y="4"/>
                  </a:lnTo>
                  <a:lnTo>
                    <a:pt x="285" y="6"/>
                  </a:lnTo>
                  <a:lnTo>
                    <a:pt x="288" y="8"/>
                  </a:lnTo>
                  <a:lnTo>
                    <a:pt x="290" y="10"/>
                  </a:lnTo>
                  <a:lnTo>
                    <a:pt x="291" y="13"/>
                  </a:lnTo>
                  <a:lnTo>
                    <a:pt x="291" y="15"/>
                  </a:lnTo>
                  <a:lnTo>
                    <a:pt x="291" y="18"/>
                  </a:lnTo>
                  <a:lnTo>
                    <a:pt x="291" y="21"/>
                  </a:lnTo>
                  <a:lnTo>
                    <a:pt x="290" y="23"/>
                  </a:lnTo>
                  <a:lnTo>
                    <a:pt x="287" y="29"/>
                  </a:lnTo>
                  <a:lnTo>
                    <a:pt x="283" y="35"/>
                  </a:lnTo>
                  <a:lnTo>
                    <a:pt x="279" y="42"/>
                  </a:lnTo>
                  <a:lnTo>
                    <a:pt x="274" y="49"/>
                  </a:lnTo>
                  <a:lnTo>
                    <a:pt x="269" y="56"/>
                  </a:lnTo>
                  <a:lnTo>
                    <a:pt x="265" y="63"/>
                  </a:lnTo>
                  <a:lnTo>
                    <a:pt x="262" y="71"/>
                  </a:lnTo>
                  <a:lnTo>
                    <a:pt x="261" y="75"/>
                  </a:lnTo>
                  <a:lnTo>
                    <a:pt x="260" y="79"/>
                  </a:lnTo>
                  <a:lnTo>
                    <a:pt x="259" y="83"/>
                  </a:lnTo>
                  <a:lnTo>
                    <a:pt x="260" y="89"/>
                  </a:lnTo>
                  <a:lnTo>
                    <a:pt x="260" y="91"/>
                  </a:lnTo>
                  <a:lnTo>
                    <a:pt x="260" y="93"/>
                  </a:lnTo>
                  <a:lnTo>
                    <a:pt x="262" y="98"/>
                  </a:lnTo>
                  <a:lnTo>
                    <a:pt x="263" y="102"/>
                  </a:lnTo>
                  <a:lnTo>
                    <a:pt x="266" y="107"/>
                  </a:lnTo>
                  <a:lnTo>
                    <a:pt x="269" y="110"/>
                  </a:lnTo>
                  <a:lnTo>
                    <a:pt x="272" y="114"/>
                  </a:lnTo>
                  <a:lnTo>
                    <a:pt x="275" y="118"/>
                  </a:lnTo>
                  <a:lnTo>
                    <a:pt x="279" y="121"/>
                  </a:lnTo>
                  <a:lnTo>
                    <a:pt x="287" y="126"/>
                  </a:lnTo>
                  <a:lnTo>
                    <a:pt x="295" y="131"/>
                  </a:lnTo>
                  <a:lnTo>
                    <a:pt x="300" y="133"/>
                  </a:lnTo>
                  <a:lnTo>
                    <a:pt x="305" y="135"/>
                  </a:lnTo>
                  <a:lnTo>
                    <a:pt x="315" y="138"/>
                  </a:lnTo>
                  <a:lnTo>
                    <a:pt x="327" y="139"/>
                  </a:lnTo>
                  <a:lnTo>
                    <a:pt x="337" y="140"/>
                  </a:lnTo>
                  <a:lnTo>
                    <a:pt x="348" y="140"/>
                  </a:lnTo>
                  <a:lnTo>
                    <a:pt x="359" y="139"/>
                  </a:lnTo>
                  <a:lnTo>
                    <a:pt x="369" y="136"/>
                  </a:lnTo>
                  <a:lnTo>
                    <a:pt x="379" y="133"/>
                  </a:lnTo>
                  <a:lnTo>
                    <a:pt x="384" y="131"/>
                  </a:lnTo>
                  <a:lnTo>
                    <a:pt x="388" y="128"/>
                  </a:lnTo>
                  <a:lnTo>
                    <a:pt x="393" y="125"/>
                  </a:lnTo>
                  <a:lnTo>
                    <a:pt x="397" y="122"/>
                  </a:lnTo>
                  <a:lnTo>
                    <a:pt x="401" y="119"/>
                  </a:lnTo>
                  <a:lnTo>
                    <a:pt x="404" y="116"/>
                  </a:lnTo>
                  <a:lnTo>
                    <a:pt x="408" y="112"/>
                  </a:lnTo>
                  <a:lnTo>
                    <a:pt x="411" y="108"/>
                  </a:lnTo>
                  <a:lnTo>
                    <a:pt x="414" y="103"/>
                  </a:lnTo>
                  <a:lnTo>
                    <a:pt x="416" y="99"/>
                  </a:lnTo>
                  <a:lnTo>
                    <a:pt x="417" y="95"/>
                  </a:lnTo>
                  <a:lnTo>
                    <a:pt x="417" y="91"/>
                  </a:lnTo>
                  <a:lnTo>
                    <a:pt x="417" y="86"/>
                  </a:lnTo>
                  <a:lnTo>
                    <a:pt x="417" y="81"/>
                  </a:lnTo>
                  <a:lnTo>
                    <a:pt x="416" y="77"/>
                  </a:lnTo>
                  <a:lnTo>
                    <a:pt x="415" y="73"/>
                  </a:lnTo>
                  <a:lnTo>
                    <a:pt x="411" y="65"/>
                  </a:lnTo>
                  <a:lnTo>
                    <a:pt x="407" y="58"/>
                  </a:lnTo>
                  <a:lnTo>
                    <a:pt x="396" y="43"/>
                  </a:lnTo>
                  <a:lnTo>
                    <a:pt x="391" y="36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3" y="18"/>
                  </a:lnTo>
                  <a:lnTo>
                    <a:pt x="383" y="15"/>
                  </a:lnTo>
                  <a:lnTo>
                    <a:pt x="383" y="13"/>
                  </a:lnTo>
                  <a:lnTo>
                    <a:pt x="384" y="10"/>
                  </a:lnTo>
                  <a:lnTo>
                    <a:pt x="386" y="8"/>
                  </a:lnTo>
                  <a:lnTo>
                    <a:pt x="389" y="6"/>
                  </a:lnTo>
                  <a:lnTo>
                    <a:pt x="392" y="4"/>
                  </a:lnTo>
                  <a:lnTo>
                    <a:pt x="396" y="2"/>
                  </a:lnTo>
                  <a:lnTo>
                    <a:pt x="401" y="0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>
              <a:off x="3645" y="2527"/>
              <a:ext cx="817" cy="522"/>
            </a:xfrm>
            <a:custGeom>
              <a:avLst/>
              <a:gdLst>
                <a:gd name="T0" fmla="*/ 538 w 817"/>
                <a:gd name="T1" fmla="*/ 519 h 522"/>
                <a:gd name="T2" fmla="*/ 527 w 817"/>
                <a:gd name="T3" fmla="*/ 512 h 522"/>
                <a:gd name="T4" fmla="*/ 524 w 817"/>
                <a:gd name="T5" fmla="*/ 503 h 522"/>
                <a:gd name="T6" fmla="*/ 530 w 817"/>
                <a:gd name="T7" fmla="*/ 487 h 522"/>
                <a:gd name="T8" fmla="*/ 551 w 817"/>
                <a:gd name="T9" fmla="*/ 456 h 522"/>
                <a:gd name="T10" fmla="*/ 557 w 817"/>
                <a:gd name="T11" fmla="*/ 439 h 522"/>
                <a:gd name="T12" fmla="*/ 556 w 817"/>
                <a:gd name="T13" fmla="*/ 423 h 522"/>
                <a:gd name="T14" fmla="*/ 553 w 817"/>
                <a:gd name="T15" fmla="*/ 414 h 522"/>
                <a:gd name="T16" fmla="*/ 545 w 817"/>
                <a:gd name="T17" fmla="*/ 403 h 522"/>
                <a:gd name="T18" fmla="*/ 528 w 817"/>
                <a:gd name="T19" fmla="*/ 391 h 522"/>
                <a:gd name="T20" fmla="*/ 513 w 817"/>
                <a:gd name="T21" fmla="*/ 385 h 522"/>
                <a:gd name="T22" fmla="*/ 489 w 817"/>
                <a:gd name="T23" fmla="*/ 381 h 522"/>
                <a:gd name="T24" fmla="*/ 453 w 817"/>
                <a:gd name="T25" fmla="*/ 383 h 522"/>
                <a:gd name="T26" fmla="*/ 432 w 817"/>
                <a:gd name="T27" fmla="*/ 391 h 522"/>
                <a:gd name="T28" fmla="*/ 418 w 817"/>
                <a:gd name="T29" fmla="*/ 401 h 522"/>
                <a:gd name="T30" fmla="*/ 406 w 817"/>
                <a:gd name="T31" fmla="*/ 414 h 522"/>
                <a:gd name="T32" fmla="*/ 401 w 817"/>
                <a:gd name="T33" fmla="*/ 428 h 522"/>
                <a:gd name="T34" fmla="*/ 400 w 817"/>
                <a:gd name="T35" fmla="*/ 441 h 522"/>
                <a:gd name="T36" fmla="*/ 406 w 817"/>
                <a:gd name="T37" fmla="*/ 458 h 522"/>
                <a:gd name="T38" fmla="*/ 420 w 817"/>
                <a:gd name="T39" fmla="*/ 480 h 522"/>
                <a:gd name="T40" fmla="*/ 431 w 817"/>
                <a:gd name="T41" fmla="*/ 498 h 522"/>
                <a:gd name="T42" fmla="*/ 431 w 817"/>
                <a:gd name="T43" fmla="*/ 506 h 522"/>
                <a:gd name="T44" fmla="*/ 427 w 817"/>
                <a:gd name="T45" fmla="*/ 514 h 522"/>
                <a:gd name="T46" fmla="*/ 416 w 817"/>
                <a:gd name="T47" fmla="*/ 520 h 522"/>
                <a:gd name="T48" fmla="*/ 141 w 817"/>
                <a:gd name="T49" fmla="*/ 325 h 522"/>
                <a:gd name="T50" fmla="*/ 130 w 817"/>
                <a:gd name="T51" fmla="*/ 307 h 522"/>
                <a:gd name="T52" fmla="*/ 122 w 817"/>
                <a:gd name="T53" fmla="*/ 305 h 522"/>
                <a:gd name="T54" fmla="*/ 110 w 817"/>
                <a:gd name="T55" fmla="*/ 310 h 522"/>
                <a:gd name="T56" fmla="*/ 82 w 817"/>
                <a:gd name="T57" fmla="*/ 329 h 522"/>
                <a:gd name="T58" fmla="*/ 70 w 817"/>
                <a:gd name="T59" fmla="*/ 336 h 522"/>
                <a:gd name="T60" fmla="*/ 54 w 817"/>
                <a:gd name="T61" fmla="*/ 340 h 522"/>
                <a:gd name="T62" fmla="*/ 41 w 817"/>
                <a:gd name="T63" fmla="*/ 338 h 522"/>
                <a:gd name="T64" fmla="*/ 24 w 817"/>
                <a:gd name="T65" fmla="*/ 327 h 522"/>
                <a:gd name="T66" fmla="*/ 12 w 817"/>
                <a:gd name="T67" fmla="*/ 311 h 522"/>
                <a:gd name="T68" fmla="*/ 4 w 817"/>
                <a:gd name="T69" fmla="*/ 292 h 522"/>
                <a:gd name="T70" fmla="*/ 0 w 817"/>
                <a:gd name="T71" fmla="*/ 271 h 522"/>
                <a:gd name="T72" fmla="*/ 3 w 817"/>
                <a:gd name="T73" fmla="*/ 238 h 522"/>
                <a:gd name="T74" fmla="*/ 9 w 817"/>
                <a:gd name="T75" fmla="*/ 218 h 522"/>
                <a:gd name="T76" fmla="*/ 19 w 817"/>
                <a:gd name="T77" fmla="*/ 201 h 522"/>
                <a:gd name="T78" fmla="*/ 33 w 817"/>
                <a:gd name="T79" fmla="*/ 189 h 522"/>
                <a:gd name="T80" fmla="*/ 47 w 817"/>
                <a:gd name="T81" fmla="*/ 183 h 522"/>
                <a:gd name="T82" fmla="*/ 60 w 817"/>
                <a:gd name="T83" fmla="*/ 182 h 522"/>
                <a:gd name="T84" fmla="*/ 76 w 817"/>
                <a:gd name="T85" fmla="*/ 188 h 522"/>
                <a:gd name="T86" fmla="*/ 98 w 817"/>
                <a:gd name="T87" fmla="*/ 202 h 522"/>
                <a:gd name="T88" fmla="*/ 116 w 817"/>
                <a:gd name="T89" fmla="*/ 213 h 522"/>
                <a:gd name="T90" fmla="*/ 125 w 817"/>
                <a:gd name="T91" fmla="*/ 214 h 522"/>
                <a:gd name="T92" fmla="*/ 132 w 817"/>
                <a:gd name="T93" fmla="*/ 210 h 522"/>
                <a:gd name="T94" fmla="*/ 141 w 817"/>
                <a:gd name="T95" fmla="*/ 195 h 522"/>
                <a:gd name="T96" fmla="*/ 817 w 817"/>
                <a:gd name="T97" fmla="*/ 522 h 52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7"/>
                <a:gd name="T148" fmla="*/ 0 h 522"/>
                <a:gd name="T149" fmla="*/ 817 w 817"/>
                <a:gd name="T150" fmla="*/ 522 h 52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7" h="522">
                  <a:moveTo>
                    <a:pt x="817" y="522"/>
                  </a:moveTo>
                  <a:lnTo>
                    <a:pt x="546" y="522"/>
                  </a:lnTo>
                  <a:lnTo>
                    <a:pt x="538" y="519"/>
                  </a:lnTo>
                  <a:lnTo>
                    <a:pt x="533" y="517"/>
                  </a:lnTo>
                  <a:lnTo>
                    <a:pt x="528" y="513"/>
                  </a:lnTo>
                  <a:lnTo>
                    <a:pt x="527" y="512"/>
                  </a:lnTo>
                  <a:lnTo>
                    <a:pt x="526" y="510"/>
                  </a:lnTo>
                  <a:lnTo>
                    <a:pt x="524" y="507"/>
                  </a:lnTo>
                  <a:lnTo>
                    <a:pt x="524" y="503"/>
                  </a:lnTo>
                  <a:lnTo>
                    <a:pt x="524" y="499"/>
                  </a:lnTo>
                  <a:lnTo>
                    <a:pt x="525" y="495"/>
                  </a:lnTo>
                  <a:lnTo>
                    <a:pt x="530" y="487"/>
                  </a:lnTo>
                  <a:lnTo>
                    <a:pt x="537" y="477"/>
                  </a:lnTo>
                  <a:lnTo>
                    <a:pt x="547" y="464"/>
                  </a:lnTo>
                  <a:lnTo>
                    <a:pt x="551" y="456"/>
                  </a:lnTo>
                  <a:lnTo>
                    <a:pt x="555" y="449"/>
                  </a:lnTo>
                  <a:lnTo>
                    <a:pt x="557" y="442"/>
                  </a:lnTo>
                  <a:lnTo>
                    <a:pt x="557" y="439"/>
                  </a:lnTo>
                  <a:lnTo>
                    <a:pt x="558" y="435"/>
                  </a:lnTo>
                  <a:lnTo>
                    <a:pt x="558" y="429"/>
                  </a:lnTo>
                  <a:lnTo>
                    <a:pt x="556" y="423"/>
                  </a:lnTo>
                  <a:lnTo>
                    <a:pt x="556" y="420"/>
                  </a:lnTo>
                  <a:lnTo>
                    <a:pt x="555" y="418"/>
                  </a:lnTo>
                  <a:lnTo>
                    <a:pt x="553" y="414"/>
                  </a:lnTo>
                  <a:lnTo>
                    <a:pt x="551" y="410"/>
                  </a:lnTo>
                  <a:lnTo>
                    <a:pt x="548" y="406"/>
                  </a:lnTo>
                  <a:lnTo>
                    <a:pt x="545" y="403"/>
                  </a:lnTo>
                  <a:lnTo>
                    <a:pt x="541" y="400"/>
                  </a:lnTo>
                  <a:lnTo>
                    <a:pt x="533" y="394"/>
                  </a:lnTo>
                  <a:lnTo>
                    <a:pt x="528" y="391"/>
                  </a:lnTo>
                  <a:lnTo>
                    <a:pt x="523" y="389"/>
                  </a:lnTo>
                  <a:lnTo>
                    <a:pt x="518" y="387"/>
                  </a:lnTo>
                  <a:lnTo>
                    <a:pt x="513" y="385"/>
                  </a:lnTo>
                  <a:lnTo>
                    <a:pt x="500" y="382"/>
                  </a:lnTo>
                  <a:lnTo>
                    <a:pt x="495" y="381"/>
                  </a:lnTo>
                  <a:lnTo>
                    <a:pt x="489" y="381"/>
                  </a:lnTo>
                  <a:lnTo>
                    <a:pt x="477" y="380"/>
                  </a:lnTo>
                  <a:lnTo>
                    <a:pt x="465" y="381"/>
                  </a:lnTo>
                  <a:lnTo>
                    <a:pt x="453" y="383"/>
                  </a:lnTo>
                  <a:lnTo>
                    <a:pt x="442" y="386"/>
                  </a:lnTo>
                  <a:lnTo>
                    <a:pt x="437" y="389"/>
                  </a:lnTo>
                  <a:lnTo>
                    <a:pt x="432" y="391"/>
                  </a:lnTo>
                  <a:lnTo>
                    <a:pt x="427" y="394"/>
                  </a:lnTo>
                  <a:lnTo>
                    <a:pt x="422" y="397"/>
                  </a:lnTo>
                  <a:lnTo>
                    <a:pt x="418" y="401"/>
                  </a:lnTo>
                  <a:lnTo>
                    <a:pt x="413" y="405"/>
                  </a:lnTo>
                  <a:lnTo>
                    <a:pt x="410" y="409"/>
                  </a:lnTo>
                  <a:lnTo>
                    <a:pt x="406" y="414"/>
                  </a:lnTo>
                  <a:lnTo>
                    <a:pt x="404" y="418"/>
                  </a:lnTo>
                  <a:lnTo>
                    <a:pt x="402" y="423"/>
                  </a:lnTo>
                  <a:lnTo>
                    <a:pt x="401" y="428"/>
                  </a:lnTo>
                  <a:lnTo>
                    <a:pt x="400" y="432"/>
                  </a:lnTo>
                  <a:lnTo>
                    <a:pt x="400" y="436"/>
                  </a:lnTo>
                  <a:lnTo>
                    <a:pt x="400" y="441"/>
                  </a:lnTo>
                  <a:lnTo>
                    <a:pt x="401" y="446"/>
                  </a:lnTo>
                  <a:lnTo>
                    <a:pt x="402" y="450"/>
                  </a:lnTo>
                  <a:lnTo>
                    <a:pt x="406" y="458"/>
                  </a:lnTo>
                  <a:lnTo>
                    <a:pt x="410" y="466"/>
                  </a:lnTo>
                  <a:lnTo>
                    <a:pt x="415" y="473"/>
                  </a:lnTo>
                  <a:lnTo>
                    <a:pt x="420" y="480"/>
                  </a:lnTo>
                  <a:lnTo>
                    <a:pt x="424" y="486"/>
                  </a:lnTo>
                  <a:lnTo>
                    <a:pt x="428" y="492"/>
                  </a:lnTo>
                  <a:lnTo>
                    <a:pt x="431" y="498"/>
                  </a:lnTo>
                  <a:lnTo>
                    <a:pt x="431" y="501"/>
                  </a:lnTo>
                  <a:lnTo>
                    <a:pt x="432" y="504"/>
                  </a:lnTo>
                  <a:lnTo>
                    <a:pt x="431" y="506"/>
                  </a:lnTo>
                  <a:lnTo>
                    <a:pt x="431" y="509"/>
                  </a:lnTo>
                  <a:lnTo>
                    <a:pt x="429" y="511"/>
                  </a:lnTo>
                  <a:lnTo>
                    <a:pt x="427" y="514"/>
                  </a:lnTo>
                  <a:lnTo>
                    <a:pt x="424" y="516"/>
                  </a:lnTo>
                  <a:lnTo>
                    <a:pt x="421" y="518"/>
                  </a:lnTo>
                  <a:lnTo>
                    <a:pt x="416" y="520"/>
                  </a:lnTo>
                  <a:lnTo>
                    <a:pt x="411" y="522"/>
                  </a:lnTo>
                  <a:lnTo>
                    <a:pt x="141" y="522"/>
                  </a:lnTo>
                  <a:lnTo>
                    <a:pt x="141" y="325"/>
                  </a:lnTo>
                  <a:lnTo>
                    <a:pt x="137" y="315"/>
                  </a:lnTo>
                  <a:lnTo>
                    <a:pt x="133" y="309"/>
                  </a:lnTo>
                  <a:lnTo>
                    <a:pt x="130" y="307"/>
                  </a:lnTo>
                  <a:lnTo>
                    <a:pt x="128" y="306"/>
                  </a:lnTo>
                  <a:lnTo>
                    <a:pt x="125" y="305"/>
                  </a:lnTo>
                  <a:lnTo>
                    <a:pt x="122" y="305"/>
                  </a:lnTo>
                  <a:lnTo>
                    <a:pt x="119" y="306"/>
                  </a:lnTo>
                  <a:lnTo>
                    <a:pt x="116" y="307"/>
                  </a:lnTo>
                  <a:lnTo>
                    <a:pt x="110" y="310"/>
                  </a:lnTo>
                  <a:lnTo>
                    <a:pt x="103" y="314"/>
                  </a:lnTo>
                  <a:lnTo>
                    <a:pt x="96" y="319"/>
                  </a:lnTo>
                  <a:lnTo>
                    <a:pt x="82" y="329"/>
                  </a:lnTo>
                  <a:lnTo>
                    <a:pt x="78" y="331"/>
                  </a:lnTo>
                  <a:lnTo>
                    <a:pt x="74" y="334"/>
                  </a:lnTo>
                  <a:lnTo>
                    <a:pt x="70" y="336"/>
                  </a:lnTo>
                  <a:lnTo>
                    <a:pt x="66" y="337"/>
                  </a:lnTo>
                  <a:lnTo>
                    <a:pt x="58" y="340"/>
                  </a:lnTo>
                  <a:lnTo>
                    <a:pt x="54" y="340"/>
                  </a:lnTo>
                  <a:lnTo>
                    <a:pt x="50" y="340"/>
                  </a:lnTo>
                  <a:lnTo>
                    <a:pt x="45" y="339"/>
                  </a:lnTo>
                  <a:lnTo>
                    <a:pt x="41" y="338"/>
                  </a:lnTo>
                  <a:lnTo>
                    <a:pt x="37" y="336"/>
                  </a:lnTo>
                  <a:lnTo>
                    <a:pt x="32" y="334"/>
                  </a:lnTo>
                  <a:lnTo>
                    <a:pt x="24" y="327"/>
                  </a:lnTo>
                  <a:lnTo>
                    <a:pt x="21" y="323"/>
                  </a:lnTo>
                  <a:lnTo>
                    <a:pt x="18" y="319"/>
                  </a:lnTo>
                  <a:lnTo>
                    <a:pt x="12" y="311"/>
                  </a:lnTo>
                  <a:lnTo>
                    <a:pt x="10" y="306"/>
                  </a:lnTo>
                  <a:lnTo>
                    <a:pt x="7" y="302"/>
                  </a:lnTo>
                  <a:lnTo>
                    <a:pt x="4" y="292"/>
                  </a:lnTo>
                  <a:lnTo>
                    <a:pt x="3" y="286"/>
                  </a:lnTo>
                  <a:lnTo>
                    <a:pt x="2" y="281"/>
                  </a:lnTo>
                  <a:lnTo>
                    <a:pt x="0" y="271"/>
                  </a:lnTo>
                  <a:lnTo>
                    <a:pt x="0" y="260"/>
                  </a:lnTo>
                  <a:lnTo>
                    <a:pt x="1" y="249"/>
                  </a:lnTo>
                  <a:lnTo>
                    <a:pt x="3" y="238"/>
                  </a:lnTo>
                  <a:lnTo>
                    <a:pt x="5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19" y="201"/>
                  </a:lnTo>
                  <a:lnTo>
                    <a:pt x="26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8" y="186"/>
                  </a:lnTo>
                  <a:lnTo>
                    <a:pt x="43" y="184"/>
                  </a:lnTo>
                  <a:lnTo>
                    <a:pt x="47" y="183"/>
                  </a:lnTo>
                  <a:lnTo>
                    <a:pt x="52" y="182"/>
                  </a:lnTo>
                  <a:lnTo>
                    <a:pt x="56" y="182"/>
                  </a:lnTo>
                  <a:lnTo>
                    <a:pt x="60" y="182"/>
                  </a:lnTo>
                  <a:lnTo>
                    <a:pt x="64" y="183"/>
                  </a:lnTo>
                  <a:lnTo>
                    <a:pt x="68" y="184"/>
                  </a:lnTo>
                  <a:lnTo>
                    <a:pt x="76" y="188"/>
                  </a:lnTo>
                  <a:lnTo>
                    <a:pt x="84" y="192"/>
                  </a:lnTo>
                  <a:lnTo>
                    <a:pt x="91" y="197"/>
                  </a:lnTo>
                  <a:lnTo>
                    <a:pt x="98" y="202"/>
                  </a:lnTo>
                  <a:lnTo>
                    <a:pt x="104" y="206"/>
                  </a:lnTo>
                  <a:lnTo>
                    <a:pt x="110" y="210"/>
                  </a:lnTo>
                  <a:lnTo>
                    <a:pt x="116" y="213"/>
                  </a:lnTo>
                  <a:lnTo>
                    <a:pt x="119" y="214"/>
                  </a:lnTo>
                  <a:lnTo>
                    <a:pt x="122" y="214"/>
                  </a:lnTo>
                  <a:lnTo>
                    <a:pt x="125" y="214"/>
                  </a:lnTo>
                  <a:lnTo>
                    <a:pt x="128" y="213"/>
                  </a:lnTo>
                  <a:lnTo>
                    <a:pt x="130" y="212"/>
                  </a:lnTo>
                  <a:lnTo>
                    <a:pt x="132" y="210"/>
                  </a:lnTo>
                  <a:lnTo>
                    <a:pt x="137" y="204"/>
                  </a:lnTo>
                  <a:lnTo>
                    <a:pt x="139" y="200"/>
                  </a:lnTo>
                  <a:lnTo>
                    <a:pt x="141" y="195"/>
                  </a:lnTo>
                  <a:lnTo>
                    <a:pt x="141" y="0"/>
                  </a:lnTo>
                  <a:lnTo>
                    <a:pt x="817" y="0"/>
                  </a:lnTo>
                  <a:lnTo>
                    <a:pt x="817" y="522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2972" y="2527"/>
              <a:ext cx="814" cy="522"/>
            </a:xfrm>
            <a:custGeom>
              <a:avLst/>
              <a:gdLst>
                <a:gd name="T0" fmla="*/ 133 w 814"/>
                <a:gd name="T1" fmla="*/ 310 h 522"/>
                <a:gd name="T2" fmla="*/ 123 w 814"/>
                <a:gd name="T3" fmla="*/ 305 h 522"/>
                <a:gd name="T4" fmla="*/ 105 w 814"/>
                <a:gd name="T5" fmla="*/ 313 h 522"/>
                <a:gd name="T6" fmla="*/ 76 w 814"/>
                <a:gd name="T7" fmla="*/ 333 h 522"/>
                <a:gd name="T8" fmla="*/ 51 w 814"/>
                <a:gd name="T9" fmla="*/ 340 h 522"/>
                <a:gd name="T10" fmla="*/ 33 w 814"/>
                <a:gd name="T11" fmla="*/ 334 h 522"/>
                <a:gd name="T12" fmla="*/ 12 w 814"/>
                <a:gd name="T13" fmla="*/ 311 h 522"/>
                <a:gd name="T14" fmla="*/ 3 w 814"/>
                <a:gd name="T15" fmla="*/ 286 h 522"/>
                <a:gd name="T16" fmla="*/ 1 w 814"/>
                <a:gd name="T17" fmla="*/ 249 h 522"/>
                <a:gd name="T18" fmla="*/ 9 w 814"/>
                <a:gd name="T19" fmla="*/ 218 h 522"/>
                <a:gd name="T20" fmla="*/ 26 w 814"/>
                <a:gd name="T21" fmla="*/ 194 h 522"/>
                <a:gd name="T22" fmla="*/ 44 w 814"/>
                <a:gd name="T23" fmla="*/ 184 h 522"/>
                <a:gd name="T24" fmla="*/ 61 w 814"/>
                <a:gd name="T25" fmla="*/ 182 h 522"/>
                <a:gd name="T26" fmla="*/ 85 w 814"/>
                <a:gd name="T27" fmla="*/ 192 h 522"/>
                <a:gd name="T28" fmla="*/ 112 w 814"/>
                <a:gd name="T29" fmla="*/ 210 h 522"/>
                <a:gd name="T30" fmla="*/ 126 w 814"/>
                <a:gd name="T31" fmla="*/ 214 h 522"/>
                <a:gd name="T32" fmla="*/ 136 w 814"/>
                <a:gd name="T33" fmla="*/ 207 h 522"/>
                <a:gd name="T34" fmla="*/ 142 w 814"/>
                <a:gd name="T35" fmla="*/ 0 h 522"/>
                <a:gd name="T36" fmla="*/ 810 w 814"/>
                <a:gd name="T37" fmla="*/ 204 h 522"/>
                <a:gd name="T38" fmla="*/ 801 w 814"/>
                <a:gd name="T39" fmla="*/ 213 h 522"/>
                <a:gd name="T40" fmla="*/ 789 w 814"/>
                <a:gd name="T41" fmla="*/ 213 h 522"/>
                <a:gd name="T42" fmla="*/ 757 w 814"/>
                <a:gd name="T43" fmla="*/ 192 h 522"/>
                <a:gd name="T44" fmla="*/ 737 w 814"/>
                <a:gd name="T45" fmla="*/ 183 h 522"/>
                <a:gd name="T46" fmla="*/ 720 w 814"/>
                <a:gd name="T47" fmla="*/ 183 h 522"/>
                <a:gd name="T48" fmla="*/ 702 w 814"/>
                <a:gd name="T49" fmla="*/ 191 h 522"/>
                <a:gd name="T50" fmla="*/ 687 w 814"/>
                <a:gd name="T51" fmla="*/ 209 h 522"/>
                <a:gd name="T52" fmla="*/ 675 w 814"/>
                <a:gd name="T53" fmla="*/ 238 h 522"/>
                <a:gd name="T54" fmla="*/ 673 w 814"/>
                <a:gd name="T55" fmla="*/ 271 h 522"/>
                <a:gd name="T56" fmla="*/ 682 w 814"/>
                <a:gd name="T57" fmla="*/ 306 h 522"/>
                <a:gd name="T58" fmla="*/ 694 w 814"/>
                <a:gd name="T59" fmla="*/ 323 h 522"/>
                <a:gd name="T60" fmla="*/ 710 w 814"/>
                <a:gd name="T61" fmla="*/ 336 h 522"/>
                <a:gd name="T62" fmla="*/ 727 w 814"/>
                <a:gd name="T63" fmla="*/ 340 h 522"/>
                <a:gd name="T64" fmla="*/ 755 w 814"/>
                <a:gd name="T65" fmla="*/ 329 h 522"/>
                <a:gd name="T66" fmla="*/ 783 w 814"/>
                <a:gd name="T67" fmla="*/ 309 h 522"/>
                <a:gd name="T68" fmla="*/ 801 w 814"/>
                <a:gd name="T69" fmla="*/ 306 h 522"/>
                <a:gd name="T70" fmla="*/ 810 w 814"/>
                <a:gd name="T71" fmla="*/ 316 h 522"/>
                <a:gd name="T72" fmla="*/ 544 w 814"/>
                <a:gd name="T73" fmla="*/ 522 h 522"/>
                <a:gd name="T74" fmla="*/ 524 w 814"/>
                <a:gd name="T75" fmla="*/ 512 h 522"/>
                <a:gd name="T76" fmla="*/ 522 w 814"/>
                <a:gd name="T77" fmla="*/ 501 h 522"/>
                <a:gd name="T78" fmla="*/ 534 w 814"/>
                <a:gd name="T79" fmla="*/ 479 h 522"/>
                <a:gd name="T80" fmla="*/ 554 w 814"/>
                <a:gd name="T81" fmla="*/ 448 h 522"/>
                <a:gd name="T82" fmla="*/ 557 w 814"/>
                <a:gd name="T83" fmla="*/ 426 h 522"/>
                <a:gd name="T84" fmla="*/ 544 w 814"/>
                <a:gd name="T85" fmla="*/ 405 h 522"/>
                <a:gd name="T86" fmla="*/ 522 w 814"/>
                <a:gd name="T87" fmla="*/ 390 h 522"/>
                <a:gd name="T88" fmla="*/ 497 w 814"/>
                <a:gd name="T89" fmla="*/ 382 h 522"/>
                <a:gd name="T90" fmla="*/ 455 w 814"/>
                <a:gd name="T91" fmla="*/ 383 h 522"/>
                <a:gd name="T92" fmla="*/ 426 w 814"/>
                <a:gd name="T93" fmla="*/ 394 h 522"/>
                <a:gd name="T94" fmla="*/ 408 w 814"/>
                <a:gd name="T95" fmla="*/ 410 h 522"/>
                <a:gd name="T96" fmla="*/ 399 w 814"/>
                <a:gd name="T97" fmla="*/ 428 h 522"/>
                <a:gd name="T98" fmla="*/ 399 w 814"/>
                <a:gd name="T99" fmla="*/ 446 h 522"/>
                <a:gd name="T100" fmla="*/ 413 w 814"/>
                <a:gd name="T101" fmla="*/ 473 h 522"/>
                <a:gd name="T102" fmla="*/ 430 w 814"/>
                <a:gd name="T103" fmla="*/ 498 h 522"/>
                <a:gd name="T104" fmla="*/ 430 w 814"/>
                <a:gd name="T105" fmla="*/ 509 h 522"/>
                <a:gd name="T106" fmla="*/ 420 w 814"/>
                <a:gd name="T107" fmla="*/ 518 h 522"/>
                <a:gd name="T108" fmla="*/ 142 w 814"/>
                <a:gd name="T109" fmla="*/ 327 h 52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4"/>
                <a:gd name="T166" fmla="*/ 0 h 522"/>
                <a:gd name="T167" fmla="*/ 814 w 814"/>
                <a:gd name="T168" fmla="*/ 522 h 52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4" h="522">
                  <a:moveTo>
                    <a:pt x="142" y="327"/>
                  </a:moveTo>
                  <a:lnTo>
                    <a:pt x="138" y="317"/>
                  </a:lnTo>
                  <a:lnTo>
                    <a:pt x="136" y="313"/>
                  </a:lnTo>
                  <a:lnTo>
                    <a:pt x="133" y="310"/>
                  </a:lnTo>
                  <a:lnTo>
                    <a:pt x="131" y="308"/>
                  </a:lnTo>
                  <a:lnTo>
                    <a:pt x="129" y="306"/>
                  </a:lnTo>
                  <a:lnTo>
                    <a:pt x="126" y="305"/>
                  </a:lnTo>
                  <a:lnTo>
                    <a:pt x="123" y="305"/>
                  </a:lnTo>
                  <a:lnTo>
                    <a:pt x="121" y="306"/>
                  </a:lnTo>
                  <a:lnTo>
                    <a:pt x="118" y="306"/>
                  </a:lnTo>
                  <a:lnTo>
                    <a:pt x="112" y="309"/>
                  </a:lnTo>
                  <a:lnTo>
                    <a:pt x="105" y="313"/>
                  </a:lnTo>
                  <a:lnTo>
                    <a:pt x="98" y="318"/>
                  </a:lnTo>
                  <a:lnTo>
                    <a:pt x="91" y="324"/>
                  </a:lnTo>
                  <a:lnTo>
                    <a:pt x="83" y="329"/>
                  </a:lnTo>
                  <a:lnTo>
                    <a:pt x="76" y="333"/>
                  </a:lnTo>
                  <a:lnTo>
                    <a:pt x="68" y="337"/>
                  </a:lnTo>
                  <a:lnTo>
                    <a:pt x="59" y="340"/>
                  </a:lnTo>
                  <a:lnTo>
                    <a:pt x="55" y="340"/>
                  </a:lnTo>
                  <a:lnTo>
                    <a:pt x="51" y="340"/>
                  </a:lnTo>
                  <a:lnTo>
                    <a:pt x="47" y="339"/>
                  </a:lnTo>
                  <a:lnTo>
                    <a:pt x="42" y="338"/>
                  </a:lnTo>
                  <a:lnTo>
                    <a:pt x="38" y="336"/>
                  </a:lnTo>
                  <a:lnTo>
                    <a:pt x="33" y="334"/>
                  </a:lnTo>
                  <a:lnTo>
                    <a:pt x="25" y="327"/>
                  </a:lnTo>
                  <a:lnTo>
                    <a:pt x="21" y="323"/>
                  </a:lnTo>
                  <a:lnTo>
                    <a:pt x="18" y="319"/>
                  </a:lnTo>
                  <a:lnTo>
                    <a:pt x="12" y="311"/>
                  </a:lnTo>
                  <a:lnTo>
                    <a:pt x="10" y="306"/>
                  </a:lnTo>
                  <a:lnTo>
                    <a:pt x="8" y="302"/>
                  </a:lnTo>
                  <a:lnTo>
                    <a:pt x="4" y="292"/>
                  </a:lnTo>
                  <a:lnTo>
                    <a:pt x="3" y="286"/>
                  </a:lnTo>
                  <a:lnTo>
                    <a:pt x="2" y="281"/>
                  </a:lnTo>
                  <a:lnTo>
                    <a:pt x="0" y="271"/>
                  </a:lnTo>
                  <a:lnTo>
                    <a:pt x="0" y="260"/>
                  </a:lnTo>
                  <a:lnTo>
                    <a:pt x="1" y="249"/>
                  </a:lnTo>
                  <a:lnTo>
                    <a:pt x="3" y="238"/>
                  </a:lnTo>
                  <a:lnTo>
                    <a:pt x="6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20" y="201"/>
                  </a:lnTo>
                  <a:lnTo>
                    <a:pt x="26" y="194"/>
                  </a:lnTo>
                  <a:lnTo>
                    <a:pt x="30" y="191"/>
                  </a:lnTo>
                  <a:lnTo>
                    <a:pt x="34" y="189"/>
                  </a:lnTo>
                  <a:lnTo>
                    <a:pt x="39" y="186"/>
                  </a:lnTo>
                  <a:lnTo>
                    <a:pt x="44" y="184"/>
                  </a:lnTo>
                  <a:lnTo>
                    <a:pt x="48" y="183"/>
                  </a:lnTo>
                  <a:lnTo>
                    <a:pt x="53" y="182"/>
                  </a:lnTo>
                  <a:lnTo>
                    <a:pt x="57" y="182"/>
                  </a:lnTo>
                  <a:lnTo>
                    <a:pt x="61" y="182"/>
                  </a:lnTo>
                  <a:lnTo>
                    <a:pt x="66" y="183"/>
                  </a:lnTo>
                  <a:lnTo>
                    <a:pt x="70" y="184"/>
                  </a:lnTo>
                  <a:lnTo>
                    <a:pt x="78" y="188"/>
                  </a:lnTo>
                  <a:lnTo>
                    <a:pt x="85" y="192"/>
                  </a:lnTo>
                  <a:lnTo>
                    <a:pt x="92" y="197"/>
                  </a:lnTo>
                  <a:lnTo>
                    <a:pt x="99" y="202"/>
                  </a:lnTo>
                  <a:lnTo>
                    <a:pt x="106" y="206"/>
                  </a:lnTo>
                  <a:lnTo>
                    <a:pt x="112" y="210"/>
                  </a:lnTo>
                  <a:lnTo>
                    <a:pt x="118" y="213"/>
                  </a:lnTo>
                  <a:lnTo>
                    <a:pt x="121" y="214"/>
                  </a:lnTo>
                  <a:lnTo>
                    <a:pt x="123" y="214"/>
                  </a:lnTo>
                  <a:lnTo>
                    <a:pt x="126" y="214"/>
                  </a:lnTo>
                  <a:lnTo>
                    <a:pt x="129" y="213"/>
                  </a:lnTo>
                  <a:lnTo>
                    <a:pt x="131" y="212"/>
                  </a:lnTo>
                  <a:lnTo>
                    <a:pt x="133" y="210"/>
                  </a:lnTo>
                  <a:lnTo>
                    <a:pt x="136" y="207"/>
                  </a:lnTo>
                  <a:lnTo>
                    <a:pt x="138" y="203"/>
                  </a:lnTo>
                  <a:lnTo>
                    <a:pt x="140" y="199"/>
                  </a:lnTo>
                  <a:lnTo>
                    <a:pt x="142" y="194"/>
                  </a:lnTo>
                  <a:lnTo>
                    <a:pt x="142" y="0"/>
                  </a:lnTo>
                  <a:lnTo>
                    <a:pt x="814" y="0"/>
                  </a:lnTo>
                  <a:lnTo>
                    <a:pt x="814" y="195"/>
                  </a:lnTo>
                  <a:lnTo>
                    <a:pt x="812" y="200"/>
                  </a:lnTo>
                  <a:lnTo>
                    <a:pt x="810" y="204"/>
                  </a:lnTo>
                  <a:lnTo>
                    <a:pt x="808" y="207"/>
                  </a:lnTo>
                  <a:lnTo>
                    <a:pt x="805" y="210"/>
                  </a:lnTo>
                  <a:lnTo>
                    <a:pt x="803" y="212"/>
                  </a:lnTo>
                  <a:lnTo>
                    <a:pt x="801" y="213"/>
                  </a:lnTo>
                  <a:lnTo>
                    <a:pt x="798" y="214"/>
                  </a:lnTo>
                  <a:lnTo>
                    <a:pt x="795" y="214"/>
                  </a:lnTo>
                  <a:lnTo>
                    <a:pt x="792" y="214"/>
                  </a:lnTo>
                  <a:lnTo>
                    <a:pt x="789" y="213"/>
                  </a:lnTo>
                  <a:lnTo>
                    <a:pt x="783" y="210"/>
                  </a:lnTo>
                  <a:lnTo>
                    <a:pt x="777" y="206"/>
                  </a:lnTo>
                  <a:lnTo>
                    <a:pt x="771" y="202"/>
                  </a:lnTo>
                  <a:lnTo>
                    <a:pt x="757" y="192"/>
                  </a:lnTo>
                  <a:lnTo>
                    <a:pt x="749" y="188"/>
                  </a:lnTo>
                  <a:lnTo>
                    <a:pt x="745" y="186"/>
                  </a:lnTo>
                  <a:lnTo>
                    <a:pt x="741" y="184"/>
                  </a:lnTo>
                  <a:lnTo>
                    <a:pt x="737" y="183"/>
                  </a:lnTo>
                  <a:lnTo>
                    <a:pt x="733" y="182"/>
                  </a:lnTo>
                  <a:lnTo>
                    <a:pt x="729" y="182"/>
                  </a:lnTo>
                  <a:lnTo>
                    <a:pt x="724" y="182"/>
                  </a:lnTo>
                  <a:lnTo>
                    <a:pt x="720" y="183"/>
                  </a:lnTo>
                  <a:lnTo>
                    <a:pt x="715" y="184"/>
                  </a:lnTo>
                  <a:lnTo>
                    <a:pt x="711" y="186"/>
                  </a:lnTo>
                  <a:lnTo>
                    <a:pt x="706" y="189"/>
                  </a:lnTo>
                  <a:lnTo>
                    <a:pt x="702" y="191"/>
                  </a:lnTo>
                  <a:lnTo>
                    <a:pt x="699" y="194"/>
                  </a:lnTo>
                  <a:lnTo>
                    <a:pt x="695" y="198"/>
                  </a:lnTo>
                  <a:lnTo>
                    <a:pt x="692" y="201"/>
                  </a:lnTo>
                  <a:lnTo>
                    <a:pt x="687" y="209"/>
                  </a:lnTo>
                  <a:lnTo>
                    <a:pt x="682" y="218"/>
                  </a:lnTo>
                  <a:lnTo>
                    <a:pt x="680" y="223"/>
                  </a:lnTo>
                  <a:lnTo>
                    <a:pt x="678" y="228"/>
                  </a:lnTo>
                  <a:lnTo>
                    <a:pt x="675" y="238"/>
                  </a:lnTo>
                  <a:lnTo>
                    <a:pt x="674" y="249"/>
                  </a:lnTo>
                  <a:lnTo>
                    <a:pt x="673" y="254"/>
                  </a:lnTo>
                  <a:lnTo>
                    <a:pt x="673" y="260"/>
                  </a:lnTo>
                  <a:lnTo>
                    <a:pt x="673" y="271"/>
                  </a:lnTo>
                  <a:lnTo>
                    <a:pt x="674" y="281"/>
                  </a:lnTo>
                  <a:lnTo>
                    <a:pt x="677" y="292"/>
                  </a:lnTo>
                  <a:lnTo>
                    <a:pt x="680" y="302"/>
                  </a:lnTo>
                  <a:lnTo>
                    <a:pt x="682" y="306"/>
                  </a:lnTo>
                  <a:lnTo>
                    <a:pt x="685" y="311"/>
                  </a:lnTo>
                  <a:lnTo>
                    <a:pt x="687" y="315"/>
                  </a:lnTo>
                  <a:lnTo>
                    <a:pt x="690" y="319"/>
                  </a:lnTo>
                  <a:lnTo>
                    <a:pt x="694" y="323"/>
                  </a:lnTo>
                  <a:lnTo>
                    <a:pt x="697" y="327"/>
                  </a:lnTo>
                  <a:lnTo>
                    <a:pt x="701" y="331"/>
                  </a:lnTo>
                  <a:lnTo>
                    <a:pt x="705" y="334"/>
                  </a:lnTo>
                  <a:lnTo>
                    <a:pt x="710" y="336"/>
                  </a:lnTo>
                  <a:lnTo>
                    <a:pt x="714" y="338"/>
                  </a:lnTo>
                  <a:lnTo>
                    <a:pt x="718" y="339"/>
                  </a:lnTo>
                  <a:lnTo>
                    <a:pt x="722" y="340"/>
                  </a:lnTo>
                  <a:lnTo>
                    <a:pt x="727" y="340"/>
                  </a:lnTo>
                  <a:lnTo>
                    <a:pt x="731" y="340"/>
                  </a:lnTo>
                  <a:lnTo>
                    <a:pt x="739" y="337"/>
                  </a:lnTo>
                  <a:lnTo>
                    <a:pt x="747" y="334"/>
                  </a:lnTo>
                  <a:lnTo>
                    <a:pt x="755" y="329"/>
                  </a:lnTo>
                  <a:lnTo>
                    <a:pt x="762" y="324"/>
                  </a:lnTo>
                  <a:lnTo>
                    <a:pt x="769" y="319"/>
                  </a:lnTo>
                  <a:lnTo>
                    <a:pt x="776" y="314"/>
                  </a:lnTo>
                  <a:lnTo>
                    <a:pt x="783" y="309"/>
                  </a:lnTo>
                  <a:lnTo>
                    <a:pt x="789" y="307"/>
                  </a:lnTo>
                  <a:lnTo>
                    <a:pt x="792" y="306"/>
                  </a:lnTo>
                  <a:lnTo>
                    <a:pt x="795" y="305"/>
                  </a:lnTo>
                  <a:lnTo>
                    <a:pt x="801" y="306"/>
                  </a:lnTo>
                  <a:lnTo>
                    <a:pt x="803" y="307"/>
                  </a:lnTo>
                  <a:lnTo>
                    <a:pt x="806" y="310"/>
                  </a:lnTo>
                  <a:lnTo>
                    <a:pt x="808" y="312"/>
                  </a:lnTo>
                  <a:lnTo>
                    <a:pt x="810" y="316"/>
                  </a:lnTo>
                  <a:lnTo>
                    <a:pt x="812" y="320"/>
                  </a:lnTo>
                  <a:lnTo>
                    <a:pt x="814" y="326"/>
                  </a:lnTo>
                  <a:lnTo>
                    <a:pt x="814" y="522"/>
                  </a:lnTo>
                  <a:lnTo>
                    <a:pt x="544" y="522"/>
                  </a:lnTo>
                  <a:lnTo>
                    <a:pt x="533" y="518"/>
                  </a:lnTo>
                  <a:lnTo>
                    <a:pt x="529" y="516"/>
                  </a:lnTo>
                  <a:lnTo>
                    <a:pt x="526" y="514"/>
                  </a:lnTo>
                  <a:lnTo>
                    <a:pt x="524" y="512"/>
                  </a:lnTo>
                  <a:lnTo>
                    <a:pt x="523" y="509"/>
                  </a:lnTo>
                  <a:lnTo>
                    <a:pt x="522" y="506"/>
                  </a:lnTo>
                  <a:lnTo>
                    <a:pt x="521" y="504"/>
                  </a:lnTo>
                  <a:lnTo>
                    <a:pt x="522" y="501"/>
                  </a:lnTo>
                  <a:lnTo>
                    <a:pt x="523" y="498"/>
                  </a:lnTo>
                  <a:lnTo>
                    <a:pt x="525" y="492"/>
                  </a:lnTo>
                  <a:lnTo>
                    <a:pt x="530" y="485"/>
                  </a:lnTo>
                  <a:lnTo>
                    <a:pt x="534" y="479"/>
                  </a:lnTo>
                  <a:lnTo>
                    <a:pt x="540" y="471"/>
                  </a:lnTo>
                  <a:lnTo>
                    <a:pt x="546" y="464"/>
                  </a:lnTo>
                  <a:lnTo>
                    <a:pt x="551" y="456"/>
                  </a:lnTo>
                  <a:lnTo>
                    <a:pt x="554" y="448"/>
                  </a:lnTo>
                  <a:lnTo>
                    <a:pt x="557" y="439"/>
                  </a:lnTo>
                  <a:lnTo>
                    <a:pt x="557" y="435"/>
                  </a:lnTo>
                  <a:lnTo>
                    <a:pt x="557" y="430"/>
                  </a:lnTo>
                  <a:lnTo>
                    <a:pt x="557" y="426"/>
                  </a:lnTo>
                  <a:lnTo>
                    <a:pt x="555" y="422"/>
                  </a:lnTo>
                  <a:lnTo>
                    <a:pt x="554" y="418"/>
                  </a:lnTo>
                  <a:lnTo>
                    <a:pt x="551" y="413"/>
                  </a:lnTo>
                  <a:lnTo>
                    <a:pt x="544" y="405"/>
                  </a:lnTo>
                  <a:lnTo>
                    <a:pt x="540" y="402"/>
                  </a:lnTo>
                  <a:lnTo>
                    <a:pt x="536" y="398"/>
                  </a:lnTo>
                  <a:lnTo>
                    <a:pt x="527" y="393"/>
                  </a:lnTo>
                  <a:lnTo>
                    <a:pt x="522" y="390"/>
                  </a:lnTo>
                  <a:lnTo>
                    <a:pt x="518" y="388"/>
                  </a:lnTo>
                  <a:lnTo>
                    <a:pt x="508" y="385"/>
                  </a:lnTo>
                  <a:lnTo>
                    <a:pt x="503" y="383"/>
                  </a:lnTo>
                  <a:lnTo>
                    <a:pt x="497" y="382"/>
                  </a:lnTo>
                  <a:lnTo>
                    <a:pt x="487" y="381"/>
                  </a:lnTo>
                  <a:lnTo>
                    <a:pt x="476" y="381"/>
                  </a:lnTo>
                  <a:lnTo>
                    <a:pt x="465" y="381"/>
                  </a:lnTo>
                  <a:lnTo>
                    <a:pt x="455" y="383"/>
                  </a:lnTo>
                  <a:lnTo>
                    <a:pt x="445" y="386"/>
                  </a:lnTo>
                  <a:lnTo>
                    <a:pt x="440" y="388"/>
                  </a:lnTo>
                  <a:lnTo>
                    <a:pt x="435" y="390"/>
                  </a:lnTo>
                  <a:lnTo>
                    <a:pt x="426" y="394"/>
                  </a:lnTo>
                  <a:lnTo>
                    <a:pt x="422" y="397"/>
                  </a:lnTo>
                  <a:lnTo>
                    <a:pt x="418" y="400"/>
                  </a:lnTo>
                  <a:lnTo>
                    <a:pt x="411" y="407"/>
                  </a:lnTo>
                  <a:lnTo>
                    <a:pt x="408" y="410"/>
                  </a:lnTo>
                  <a:lnTo>
                    <a:pt x="405" y="414"/>
                  </a:lnTo>
                  <a:lnTo>
                    <a:pt x="402" y="419"/>
                  </a:lnTo>
                  <a:lnTo>
                    <a:pt x="400" y="423"/>
                  </a:lnTo>
                  <a:lnTo>
                    <a:pt x="399" y="428"/>
                  </a:lnTo>
                  <a:lnTo>
                    <a:pt x="398" y="432"/>
                  </a:lnTo>
                  <a:lnTo>
                    <a:pt x="398" y="437"/>
                  </a:lnTo>
                  <a:lnTo>
                    <a:pt x="399" y="441"/>
                  </a:lnTo>
                  <a:lnTo>
                    <a:pt x="399" y="446"/>
                  </a:lnTo>
                  <a:lnTo>
                    <a:pt x="401" y="450"/>
                  </a:lnTo>
                  <a:lnTo>
                    <a:pt x="404" y="458"/>
                  </a:lnTo>
                  <a:lnTo>
                    <a:pt x="408" y="466"/>
                  </a:lnTo>
                  <a:lnTo>
                    <a:pt x="413" y="473"/>
                  </a:lnTo>
                  <a:lnTo>
                    <a:pt x="419" y="480"/>
                  </a:lnTo>
                  <a:lnTo>
                    <a:pt x="423" y="486"/>
                  </a:lnTo>
                  <a:lnTo>
                    <a:pt x="427" y="492"/>
                  </a:lnTo>
                  <a:lnTo>
                    <a:pt x="430" y="498"/>
                  </a:lnTo>
                  <a:lnTo>
                    <a:pt x="431" y="501"/>
                  </a:lnTo>
                  <a:lnTo>
                    <a:pt x="431" y="504"/>
                  </a:lnTo>
                  <a:lnTo>
                    <a:pt x="431" y="506"/>
                  </a:lnTo>
                  <a:lnTo>
                    <a:pt x="430" y="509"/>
                  </a:lnTo>
                  <a:lnTo>
                    <a:pt x="429" y="511"/>
                  </a:lnTo>
                  <a:lnTo>
                    <a:pt x="427" y="514"/>
                  </a:lnTo>
                  <a:lnTo>
                    <a:pt x="424" y="516"/>
                  </a:lnTo>
                  <a:lnTo>
                    <a:pt x="420" y="518"/>
                  </a:lnTo>
                  <a:lnTo>
                    <a:pt x="415" y="520"/>
                  </a:lnTo>
                  <a:lnTo>
                    <a:pt x="410" y="522"/>
                  </a:lnTo>
                  <a:lnTo>
                    <a:pt x="142" y="522"/>
                  </a:lnTo>
                  <a:lnTo>
                    <a:pt x="142" y="327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2437" y="2907"/>
              <a:ext cx="818" cy="807"/>
            </a:xfrm>
            <a:custGeom>
              <a:avLst/>
              <a:gdLst>
                <a:gd name="T0" fmla="*/ 388 w 818"/>
                <a:gd name="T1" fmla="*/ 673 h 807"/>
                <a:gd name="T2" fmla="*/ 383 w 818"/>
                <a:gd name="T3" fmla="*/ 683 h 807"/>
                <a:gd name="T4" fmla="*/ 391 w 818"/>
                <a:gd name="T5" fmla="*/ 702 h 807"/>
                <a:gd name="T6" fmla="*/ 411 w 818"/>
                <a:gd name="T7" fmla="*/ 731 h 807"/>
                <a:gd name="T8" fmla="*/ 417 w 818"/>
                <a:gd name="T9" fmla="*/ 757 h 807"/>
                <a:gd name="T10" fmla="*/ 411 w 818"/>
                <a:gd name="T11" fmla="*/ 774 h 807"/>
                <a:gd name="T12" fmla="*/ 388 w 818"/>
                <a:gd name="T13" fmla="*/ 795 h 807"/>
                <a:gd name="T14" fmla="*/ 364 w 818"/>
                <a:gd name="T15" fmla="*/ 804 h 807"/>
                <a:gd name="T16" fmla="*/ 327 w 818"/>
                <a:gd name="T17" fmla="*/ 806 h 807"/>
                <a:gd name="T18" fmla="*/ 295 w 818"/>
                <a:gd name="T19" fmla="*/ 798 h 807"/>
                <a:gd name="T20" fmla="*/ 272 w 818"/>
                <a:gd name="T21" fmla="*/ 781 h 807"/>
                <a:gd name="T22" fmla="*/ 261 w 818"/>
                <a:gd name="T23" fmla="*/ 764 h 807"/>
                <a:gd name="T24" fmla="*/ 260 w 818"/>
                <a:gd name="T25" fmla="*/ 745 h 807"/>
                <a:gd name="T26" fmla="*/ 275 w 818"/>
                <a:gd name="T27" fmla="*/ 714 h 807"/>
                <a:gd name="T28" fmla="*/ 290 w 818"/>
                <a:gd name="T29" fmla="*/ 689 h 807"/>
                <a:gd name="T30" fmla="*/ 290 w 818"/>
                <a:gd name="T31" fmla="*/ 678 h 807"/>
                <a:gd name="T32" fmla="*/ 280 w 818"/>
                <a:gd name="T33" fmla="*/ 669 h 807"/>
                <a:gd name="T34" fmla="*/ 0 w 818"/>
                <a:gd name="T35" fmla="*/ 142 h 807"/>
                <a:gd name="T36" fmla="*/ 284 w 818"/>
                <a:gd name="T37" fmla="*/ 136 h 807"/>
                <a:gd name="T38" fmla="*/ 291 w 818"/>
                <a:gd name="T39" fmla="*/ 126 h 807"/>
                <a:gd name="T40" fmla="*/ 289 w 818"/>
                <a:gd name="T41" fmla="*/ 115 h 807"/>
                <a:gd name="T42" fmla="*/ 275 w 818"/>
                <a:gd name="T43" fmla="*/ 93 h 807"/>
                <a:gd name="T44" fmla="*/ 261 w 818"/>
                <a:gd name="T45" fmla="*/ 66 h 807"/>
                <a:gd name="T46" fmla="*/ 260 w 818"/>
                <a:gd name="T47" fmla="*/ 48 h 807"/>
                <a:gd name="T48" fmla="*/ 269 w 818"/>
                <a:gd name="T49" fmla="*/ 30 h 807"/>
                <a:gd name="T50" fmla="*/ 287 w 818"/>
                <a:gd name="T51" fmla="*/ 14 h 807"/>
                <a:gd name="T52" fmla="*/ 315 w 818"/>
                <a:gd name="T53" fmla="*/ 3 h 807"/>
                <a:gd name="T54" fmla="*/ 359 w 818"/>
                <a:gd name="T55" fmla="*/ 2 h 807"/>
                <a:gd name="T56" fmla="*/ 388 w 818"/>
                <a:gd name="T57" fmla="*/ 12 h 807"/>
                <a:gd name="T58" fmla="*/ 404 w 818"/>
                <a:gd name="T59" fmla="*/ 25 h 807"/>
                <a:gd name="T60" fmla="*/ 416 w 818"/>
                <a:gd name="T61" fmla="*/ 42 h 807"/>
                <a:gd name="T62" fmla="*/ 417 w 818"/>
                <a:gd name="T63" fmla="*/ 59 h 807"/>
                <a:gd name="T64" fmla="*/ 406 w 818"/>
                <a:gd name="T65" fmla="*/ 84 h 807"/>
                <a:gd name="T66" fmla="*/ 385 w 818"/>
                <a:gd name="T67" fmla="*/ 115 h 807"/>
                <a:gd name="T68" fmla="*/ 383 w 818"/>
                <a:gd name="T69" fmla="*/ 127 h 807"/>
                <a:gd name="T70" fmla="*/ 391 w 818"/>
                <a:gd name="T71" fmla="*/ 136 h 807"/>
                <a:gd name="T72" fmla="*/ 677 w 818"/>
                <a:gd name="T73" fmla="*/ 142 h 807"/>
                <a:gd name="T74" fmla="*/ 683 w 818"/>
                <a:gd name="T75" fmla="*/ 349 h 807"/>
                <a:gd name="T76" fmla="*/ 692 w 818"/>
                <a:gd name="T77" fmla="*/ 356 h 807"/>
                <a:gd name="T78" fmla="*/ 707 w 818"/>
                <a:gd name="T79" fmla="*/ 352 h 807"/>
                <a:gd name="T80" fmla="*/ 742 w 818"/>
                <a:gd name="T81" fmla="*/ 330 h 807"/>
                <a:gd name="T82" fmla="*/ 762 w 818"/>
                <a:gd name="T83" fmla="*/ 324 h 807"/>
                <a:gd name="T84" fmla="*/ 780 w 818"/>
                <a:gd name="T85" fmla="*/ 328 h 807"/>
                <a:gd name="T86" fmla="*/ 795 w 818"/>
                <a:gd name="T87" fmla="*/ 340 h 807"/>
                <a:gd name="T88" fmla="*/ 811 w 818"/>
                <a:gd name="T89" fmla="*/ 366 h 807"/>
                <a:gd name="T90" fmla="*/ 818 w 818"/>
                <a:gd name="T91" fmla="*/ 396 h 807"/>
                <a:gd name="T92" fmla="*/ 814 w 818"/>
                <a:gd name="T93" fmla="*/ 434 h 807"/>
                <a:gd name="T94" fmla="*/ 803 w 818"/>
                <a:gd name="T95" fmla="*/ 458 h 807"/>
                <a:gd name="T96" fmla="*/ 790 w 818"/>
                <a:gd name="T97" fmla="*/ 474 h 807"/>
                <a:gd name="T98" fmla="*/ 773 w 818"/>
                <a:gd name="T99" fmla="*/ 482 h 807"/>
                <a:gd name="T100" fmla="*/ 752 w 818"/>
                <a:gd name="T101" fmla="*/ 480 h 807"/>
                <a:gd name="T102" fmla="*/ 714 w 818"/>
                <a:gd name="T103" fmla="*/ 455 h 807"/>
                <a:gd name="T104" fmla="*/ 699 w 818"/>
                <a:gd name="T105" fmla="*/ 448 h 807"/>
                <a:gd name="T106" fmla="*/ 687 w 818"/>
                <a:gd name="T107" fmla="*/ 450 h 807"/>
                <a:gd name="T108" fmla="*/ 679 w 818"/>
                <a:gd name="T109" fmla="*/ 464 h 80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8"/>
                <a:gd name="T166" fmla="*/ 0 h 807"/>
                <a:gd name="T167" fmla="*/ 818 w 818"/>
                <a:gd name="T168" fmla="*/ 807 h 80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8" h="807">
                  <a:moveTo>
                    <a:pt x="405" y="665"/>
                  </a:moveTo>
                  <a:lnTo>
                    <a:pt x="395" y="669"/>
                  </a:lnTo>
                  <a:lnTo>
                    <a:pt x="391" y="671"/>
                  </a:lnTo>
                  <a:lnTo>
                    <a:pt x="388" y="673"/>
                  </a:lnTo>
                  <a:lnTo>
                    <a:pt x="385" y="676"/>
                  </a:lnTo>
                  <a:lnTo>
                    <a:pt x="384" y="678"/>
                  </a:lnTo>
                  <a:lnTo>
                    <a:pt x="383" y="681"/>
                  </a:lnTo>
                  <a:lnTo>
                    <a:pt x="383" y="683"/>
                  </a:lnTo>
                  <a:lnTo>
                    <a:pt x="383" y="686"/>
                  </a:lnTo>
                  <a:lnTo>
                    <a:pt x="384" y="689"/>
                  </a:lnTo>
                  <a:lnTo>
                    <a:pt x="387" y="695"/>
                  </a:lnTo>
                  <a:lnTo>
                    <a:pt x="391" y="702"/>
                  </a:lnTo>
                  <a:lnTo>
                    <a:pt x="395" y="709"/>
                  </a:lnTo>
                  <a:lnTo>
                    <a:pt x="401" y="716"/>
                  </a:lnTo>
                  <a:lnTo>
                    <a:pt x="406" y="723"/>
                  </a:lnTo>
                  <a:lnTo>
                    <a:pt x="411" y="731"/>
                  </a:lnTo>
                  <a:lnTo>
                    <a:pt x="415" y="739"/>
                  </a:lnTo>
                  <a:lnTo>
                    <a:pt x="417" y="747"/>
                  </a:lnTo>
                  <a:lnTo>
                    <a:pt x="417" y="753"/>
                  </a:lnTo>
                  <a:lnTo>
                    <a:pt x="417" y="757"/>
                  </a:lnTo>
                  <a:lnTo>
                    <a:pt x="417" y="761"/>
                  </a:lnTo>
                  <a:lnTo>
                    <a:pt x="416" y="766"/>
                  </a:lnTo>
                  <a:lnTo>
                    <a:pt x="414" y="770"/>
                  </a:lnTo>
                  <a:lnTo>
                    <a:pt x="411" y="774"/>
                  </a:lnTo>
                  <a:lnTo>
                    <a:pt x="404" y="782"/>
                  </a:lnTo>
                  <a:lnTo>
                    <a:pt x="401" y="786"/>
                  </a:lnTo>
                  <a:lnTo>
                    <a:pt x="397" y="789"/>
                  </a:lnTo>
                  <a:lnTo>
                    <a:pt x="388" y="795"/>
                  </a:lnTo>
                  <a:lnTo>
                    <a:pt x="384" y="797"/>
                  </a:lnTo>
                  <a:lnTo>
                    <a:pt x="379" y="799"/>
                  </a:lnTo>
                  <a:lnTo>
                    <a:pt x="369" y="803"/>
                  </a:lnTo>
                  <a:lnTo>
                    <a:pt x="364" y="804"/>
                  </a:lnTo>
                  <a:lnTo>
                    <a:pt x="359" y="805"/>
                  </a:lnTo>
                  <a:lnTo>
                    <a:pt x="348" y="807"/>
                  </a:lnTo>
                  <a:lnTo>
                    <a:pt x="337" y="807"/>
                  </a:lnTo>
                  <a:lnTo>
                    <a:pt x="327" y="806"/>
                  </a:lnTo>
                  <a:lnTo>
                    <a:pt x="315" y="804"/>
                  </a:lnTo>
                  <a:lnTo>
                    <a:pt x="305" y="801"/>
                  </a:lnTo>
                  <a:lnTo>
                    <a:pt x="300" y="800"/>
                  </a:lnTo>
                  <a:lnTo>
                    <a:pt x="295" y="798"/>
                  </a:lnTo>
                  <a:lnTo>
                    <a:pt x="287" y="793"/>
                  </a:lnTo>
                  <a:lnTo>
                    <a:pt x="282" y="790"/>
                  </a:lnTo>
                  <a:lnTo>
                    <a:pt x="279" y="787"/>
                  </a:lnTo>
                  <a:lnTo>
                    <a:pt x="272" y="781"/>
                  </a:lnTo>
                  <a:lnTo>
                    <a:pt x="269" y="777"/>
                  </a:lnTo>
                  <a:lnTo>
                    <a:pt x="266" y="773"/>
                  </a:lnTo>
                  <a:lnTo>
                    <a:pt x="263" y="769"/>
                  </a:lnTo>
                  <a:lnTo>
                    <a:pt x="261" y="764"/>
                  </a:lnTo>
                  <a:lnTo>
                    <a:pt x="260" y="760"/>
                  </a:lnTo>
                  <a:lnTo>
                    <a:pt x="260" y="755"/>
                  </a:lnTo>
                  <a:lnTo>
                    <a:pt x="259" y="751"/>
                  </a:lnTo>
                  <a:lnTo>
                    <a:pt x="260" y="745"/>
                  </a:lnTo>
                  <a:lnTo>
                    <a:pt x="262" y="737"/>
                  </a:lnTo>
                  <a:lnTo>
                    <a:pt x="265" y="729"/>
                  </a:lnTo>
                  <a:lnTo>
                    <a:pt x="270" y="722"/>
                  </a:lnTo>
                  <a:lnTo>
                    <a:pt x="275" y="714"/>
                  </a:lnTo>
                  <a:lnTo>
                    <a:pt x="279" y="707"/>
                  </a:lnTo>
                  <a:lnTo>
                    <a:pt x="284" y="701"/>
                  </a:lnTo>
                  <a:lnTo>
                    <a:pt x="288" y="695"/>
                  </a:lnTo>
                  <a:lnTo>
                    <a:pt x="290" y="689"/>
                  </a:lnTo>
                  <a:lnTo>
                    <a:pt x="291" y="686"/>
                  </a:lnTo>
                  <a:lnTo>
                    <a:pt x="291" y="683"/>
                  </a:lnTo>
                  <a:lnTo>
                    <a:pt x="291" y="681"/>
                  </a:lnTo>
                  <a:lnTo>
                    <a:pt x="290" y="678"/>
                  </a:lnTo>
                  <a:lnTo>
                    <a:pt x="289" y="676"/>
                  </a:lnTo>
                  <a:lnTo>
                    <a:pt x="287" y="673"/>
                  </a:lnTo>
                  <a:lnTo>
                    <a:pt x="284" y="671"/>
                  </a:lnTo>
                  <a:lnTo>
                    <a:pt x="280" y="669"/>
                  </a:lnTo>
                  <a:lnTo>
                    <a:pt x="276" y="667"/>
                  </a:lnTo>
                  <a:lnTo>
                    <a:pt x="270" y="665"/>
                  </a:lnTo>
                  <a:lnTo>
                    <a:pt x="0" y="665"/>
                  </a:lnTo>
                  <a:lnTo>
                    <a:pt x="0" y="142"/>
                  </a:lnTo>
                  <a:lnTo>
                    <a:pt x="270" y="142"/>
                  </a:lnTo>
                  <a:lnTo>
                    <a:pt x="276" y="140"/>
                  </a:lnTo>
                  <a:lnTo>
                    <a:pt x="280" y="138"/>
                  </a:lnTo>
                  <a:lnTo>
                    <a:pt x="284" y="136"/>
                  </a:lnTo>
                  <a:lnTo>
                    <a:pt x="287" y="134"/>
                  </a:lnTo>
                  <a:lnTo>
                    <a:pt x="289" y="131"/>
                  </a:lnTo>
                  <a:lnTo>
                    <a:pt x="290" y="129"/>
                  </a:lnTo>
                  <a:lnTo>
                    <a:pt x="291" y="126"/>
                  </a:lnTo>
                  <a:lnTo>
                    <a:pt x="291" y="124"/>
                  </a:lnTo>
                  <a:lnTo>
                    <a:pt x="291" y="121"/>
                  </a:lnTo>
                  <a:lnTo>
                    <a:pt x="290" y="118"/>
                  </a:lnTo>
                  <a:lnTo>
                    <a:pt x="289" y="115"/>
                  </a:lnTo>
                  <a:lnTo>
                    <a:pt x="288" y="113"/>
                  </a:lnTo>
                  <a:lnTo>
                    <a:pt x="284" y="106"/>
                  </a:lnTo>
                  <a:lnTo>
                    <a:pt x="279" y="100"/>
                  </a:lnTo>
                  <a:lnTo>
                    <a:pt x="275" y="93"/>
                  </a:lnTo>
                  <a:lnTo>
                    <a:pt x="270" y="86"/>
                  </a:lnTo>
                  <a:lnTo>
                    <a:pt x="265" y="78"/>
                  </a:lnTo>
                  <a:lnTo>
                    <a:pt x="262" y="70"/>
                  </a:lnTo>
                  <a:lnTo>
                    <a:pt x="261" y="66"/>
                  </a:lnTo>
                  <a:lnTo>
                    <a:pt x="260" y="61"/>
                  </a:lnTo>
                  <a:lnTo>
                    <a:pt x="259" y="56"/>
                  </a:lnTo>
                  <a:lnTo>
                    <a:pt x="260" y="52"/>
                  </a:lnTo>
                  <a:lnTo>
                    <a:pt x="260" y="48"/>
                  </a:lnTo>
                  <a:lnTo>
                    <a:pt x="261" y="43"/>
                  </a:lnTo>
                  <a:lnTo>
                    <a:pt x="263" y="39"/>
                  </a:lnTo>
                  <a:lnTo>
                    <a:pt x="266" y="34"/>
                  </a:lnTo>
                  <a:lnTo>
                    <a:pt x="269" y="30"/>
                  </a:lnTo>
                  <a:lnTo>
                    <a:pt x="272" y="26"/>
                  </a:lnTo>
                  <a:lnTo>
                    <a:pt x="275" y="23"/>
                  </a:lnTo>
                  <a:lnTo>
                    <a:pt x="279" y="20"/>
                  </a:lnTo>
                  <a:lnTo>
                    <a:pt x="287" y="14"/>
                  </a:lnTo>
                  <a:lnTo>
                    <a:pt x="295" y="9"/>
                  </a:lnTo>
                  <a:lnTo>
                    <a:pt x="300" y="7"/>
                  </a:lnTo>
                  <a:lnTo>
                    <a:pt x="305" y="6"/>
                  </a:lnTo>
                  <a:lnTo>
                    <a:pt x="315" y="3"/>
                  </a:lnTo>
                  <a:lnTo>
                    <a:pt x="327" y="1"/>
                  </a:lnTo>
                  <a:lnTo>
                    <a:pt x="337" y="0"/>
                  </a:lnTo>
                  <a:lnTo>
                    <a:pt x="348" y="1"/>
                  </a:lnTo>
                  <a:lnTo>
                    <a:pt x="359" y="2"/>
                  </a:lnTo>
                  <a:lnTo>
                    <a:pt x="369" y="4"/>
                  </a:lnTo>
                  <a:lnTo>
                    <a:pt x="379" y="8"/>
                  </a:lnTo>
                  <a:lnTo>
                    <a:pt x="384" y="10"/>
                  </a:lnTo>
                  <a:lnTo>
                    <a:pt x="388" y="12"/>
                  </a:lnTo>
                  <a:lnTo>
                    <a:pt x="393" y="15"/>
                  </a:lnTo>
                  <a:lnTo>
                    <a:pt x="397" y="18"/>
                  </a:lnTo>
                  <a:lnTo>
                    <a:pt x="401" y="21"/>
                  </a:lnTo>
                  <a:lnTo>
                    <a:pt x="404" y="25"/>
                  </a:lnTo>
                  <a:lnTo>
                    <a:pt x="408" y="29"/>
                  </a:lnTo>
                  <a:lnTo>
                    <a:pt x="411" y="33"/>
                  </a:lnTo>
                  <a:lnTo>
                    <a:pt x="414" y="37"/>
                  </a:lnTo>
                  <a:lnTo>
                    <a:pt x="416" y="42"/>
                  </a:lnTo>
                  <a:lnTo>
                    <a:pt x="417" y="46"/>
                  </a:lnTo>
                  <a:lnTo>
                    <a:pt x="417" y="50"/>
                  </a:lnTo>
                  <a:lnTo>
                    <a:pt x="417" y="55"/>
                  </a:lnTo>
                  <a:lnTo>
                    <a:pt x="417" y="59"/>
                  </a:lnTo>
                  <a:lnTo>
                    <a:pt x="415" y="68"/>
                  </a:lnTo>
                  <a:lnTo>
                    <a:pt x="413" y="72"/>
                  </a:lnTo>
                  <a:lnTo>
                    <a:pt x="411" y="76"/>
                  </a:lnTo>
                  <a:lnTo>
                    <a:pt x="406" y="84"/>
                  </a:lnTo>
                  <a:lnTo>
                    <a:pt x="395" y="99"/>
                  </a:lnTo>
                  <a:lnTo>
                    <a:pt x="391" y="105"/>
                  </a:lnTo>
                  <a:lnTo>
                    <a:pt x="387" y="112"/>
                  </a:lnTo>
                  <a:lnTo>
                    <a:pt x="385" y="115"/>
                  </a:lnTo>
                  <a:lnTo>
                    <a:pt x="384" y="118"/>
                  </a:lnTo>
                  <a:lnTo>
                    <a:pt x="383" y="121"/>
                  </a:lnTo>
                  <a:lnTo>
                    <a:pt x="383" y="124"/>
                  </a:lnTo>
                  <a:lnTo>
                    <a:pt x="383" y="127"/>
                  </a:lnTo>
                  <a:lnTo>
                    <a:pt x="384" y="129"/>
                  </a:lnTo>
                  <a:lnTo>
                    <a:pt x="385" y="132"/>
                  </a:lnTo>
                  <a:lnTo>
                    <a:pt x="388" y="134"/>
                  </a:lnTo>
                  <a:lnTo>
                    <a:pt x="391" y="136"/>
                  </a:lnTo>
                  <a:lnTo>
                    <a:pt x="395" y="138"/>
                  </a:lnTo>
                  <a:lnTo>
                    <a:pt x="399" y="140"/>
                  </a:lnTo>
                  <a:lnTo>
                    <a:pt x="405" y="142"/>
                  </a:lnTo>
                  <a:lnTo>
                    <a:pt x="677" y="142"/>
                  </a:lnTo>
                  <a:lnTo>
                    <a:pt x="677" y="336"/>
                  </a:lnTo>
                  <a:lnTo>
                    <a:pt x="679" y="341"/>
                  </a:lnTo>
                  <a:lnTo>
                    <a:pt x="681" y="345"/>
                  </a:lnTo>
                  <a:lnTo>
                    <a:pt x="683" y="349"/>
                  </a:lnTo>
                  <a:lnTo>
                    <a:pt x="685" y="352"/>
                  </a:lnTo>
                  <a:lnTo>
                    <a:pt x="687" y="354"/>
                  </a:lnTo>
                  <a:lnTo>
                    <a:pt x="690" y="355"/>
                  </a:lnTo>
                  <a:lnTo>
                    <a:pt x="692" y="356"/>
                  </a:lnTo>
                  <a:lnTo>
                    <a:pt x="695" y="356"/>
                  </a:lnTo>
                  <a:lnTo>
                    <a:pt x="699" y="356"/>
                  </a:lnTo>
                  <a:lnTo>
                    <a:pt x="701" y="355"/>
                  </a:lnTo>
                  <a:lnTo>
                    <a:pt x="707" y="352"/>
                  </a:lnTo>
                  <a:lnTo>
                    <a:pt x="713" y="348"/>
                  </a:lnTo>
                  <a:lnTo>
                    <a:pt x="720" y="344"/>
                  </a:lnTo>
                  <a:lnTo>
                    <a:pt x="734" y="334"/>
                  </a:lnTo>
                  <a:lnTo>
                    <a:pt x="742" y="330"/>
                  </a:lnTo>
                  <a:lnTo>
                    <a:pt x="750" y="327"/>
                  </a:lnTo>
                  <a:lnTo>
                    <a:pt x="754" y="325"/>
                  </a:lnTo>
                  <a:lnTo>
                    <a:pt x="758" y="324"/>
                  </a:lnTo>
                  <a:lnTo>
                    <a:pt x="762" y="324"/>
                  </a:lnTo>
                  <a:lnTo>
                    <a:pt x="766" y="324"/>
                  </a:lnTo>
                  <a:lnTo>
                    <a:pt x="771" y="325"/>
                  </a:lnTo>
                  <a:lnTo>
                    <a:pt x="775" y="326"/>
                  </a:lnTo>
                  <a:lnTo>
                    <a:pt x="780" y="328"/>
                  </a:lnTo>
                  <a:lnTo>
                    <a:pt x="785" y="331"/>
                  </a:lnTo>
                  <a:lnTo>
                    <a:pt x="788" y="333"/>
                  </a:lnTo>
                  <a:lnTo>
                    <a:pt x="792" y="336"/>
                  </a:lnTo>
                  <a:lnTo>
                    <a:pt x="795" y="340"/>
                  </a:lnTo>
                  <a:lnTo>
                    <a:pt x="799" y="343"/>
                  </a:lnTo>
                  <a:lnTo>
                    <a:pt x="804" y="351"/>
                  </a:lnTo>
                  <a:lnTo>
                    <a:pt x="809" y="361"/>
                  </a:lnTo>
                  <a:lnTo>
                    <a:pt x="811" y="366"/>
                  </a:lnTo>
                  <a:lnTo>
                    <a:pt x="813" y="371"/>
                  </a:lnTo>
                  <a:lnTo>
                    <a:pt x="815" y="381"/>
                  </a:lnTo>
                  <a:lnTo>
                    <a:pt x="817" y="391"/>
                  </a:lnTo>
                  <a:lnTo>
                    <a:pt x="818" y="396"/>
                  </a:lnTo>
                  <a:lnTo>
                    <a:pt x="818" y="402"/>
                  </a:lnTo>
                  <a:lnTo>
                    <a:pt x="818" y="413"/>
                  </a:lnTo>
                  <a:lnTo>
                    <a:pt x="816" y="423"/>
                  </a:lnTo>
                  <a:lnTo>
                    <a:pt x="814" y="434"/>
                  </a:lnTo>
                  <a:lnTo>
                    <a:pt x="811" y="444"/>
                  </a:lnTo>
                  <a:lnTo>
                    <a:pt x="809" y="448"/>
                  </a:lnTo>
                  <a:lnTo>
                    <a:pt x="806" y="453"/>
                  </a:lnTo>
                  <a:lnTo>
                    <a:pt x="803" y="458"/>
                  </a:lnTo>
                  <a:lnTo>
                    <a:pt x="800" y="462"/>
                  </a:lnTo>
                  <a:lnTo>
                    <a:pt x="797" y="466"/>
                  </a:lnTo>
                  <a:lnTo>
                    <a:pt x="794" y="470"/>
                  </a:lnTo>
                  <a:lnTo>
                    <a:pt x="790" y="474"/>
                  </a:lnTo>
                  <a:lnTo>
                    <a:pt x="786" y="477"/>
                  </a:lnTo>
                  <a:lnTo>
                    <a:pt x="781" y="479"/>
                  </a:lnTo>
                  <a:lnTo>
                    <a:pt x="777" y="481"/>
                  </a:lnTo>
                  <a:lnTo>
                    <a:pt x="773" y="482"/>
                  </a:lnTo>
                  <a:lnTo>
                    <a:pt x="768" y="483"/>
                  </a:lnTo>
                  <a:lnTo>
                    <a:pt x="764" y="483"/>
                  </a:lnTo>
                  <a:lnTo>
                    <a:pt x="760" y="483"/>
                  </a:lnTo>
                  <a:lnTo>
                    <a:pt x="752" y="480"/>
                  </a:lnTo>
                  <a:lnTo>
                    <a:pt x="744" y="477"/>
                  </a:lnTo>
                  <a:lnTo>
                    <a:pt x="736" y="472"/>
                  </a:lnTo>
                  <a:lnTo>
                    <a:pt x="721" y="461"/>
                  </a:lnTo>
                  <a:lnTo>
                    <a:pt x="714" y="455"/>
                  </a:lnTo>
                  <a:lnTo>
                    <a:pt x="708" y="451"/>
                  </a:lnTo>
                  <a:lnTo>
                    <a:pt x="705" y="450"/>
                  </a:lnTo>
                  <a:lnTo>
                    <a:pt x="702" y="448"/>
                  </a:lnTo>
                  <a:lnTo>
                    <a:pt x="699" y="448"/>
                  </a:lnTo>
                  <a:lnTo>
                    <a:pt x="695" y="447"/>
                  </a:lnTo>
                  <a:lnTo>
                    <a:pt x="692" y="448"/>
                  </a:lnTo>
                  <a:lnTo>
                    <a:pt x="690" y="448"/>
                  </a:lnTo>
                  <a:lnTo>
                    <a:pt x="687" y="450"/>
                  </a:lnTo>
                  <a:lnTo>
                    <a:pt x="685" y="452"/>
                  </a:lnTo>
                  <a:lnTo>
                    <a:pt x="683" y="455"/>
                  </a:lnTo>
                  <a:lnTo>
                    <a:pt x="681" y="459"/>
                  </a:lnTo>
                  <a:lnTo>
                    <a:pt x="679" y="464"/>
                  </a:lnTo>
                  <a:lnTo>
                    <a:pt x="677" y="469"/>
                  </a:lnTo>
                  <a:lnTo>
                    <a:pt x="677" y="665"/>
                  </a:lnTo>
                  <a:lnTo>
                    <a:pt x="405" y="665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2437" y="2527"/>
              <a:ext cx="677" cy="522"/>
            </a:xfrm>
            <a:custGeom>
              <a:avLst/>
              <a:gdLst>
                <a:gd name="T0" fmla="*/ 675 w 677"/>
                <a:gd name="T1" fmla="*/ 196 h 522"/>
                <a:gd name="T2" fmla="*/ 669 w 677"/>
                <a:gd name="T3" fmla="*/ 207 h 522"/>
                <a:gd name="T4" fmla="*/ 661 w 677"/>
                <a:gd name="T5" fmla="*/ 213 h 522"/>
                <a:gd name="T6" fmla="*/ 650 w 677"/>
                <a:gd name="T7" fmla="*/ 212 h 522"/>
                <a:gd name="T8" fmla="*/ 634 w 677"/>
                <a:gd name="T9" fmla="*/ 202 h 522"/>
                <a:gd name="T10" fmla="*/ 615 w 677"/>
                <a:gd name="T11" fmla="*/ 189 h 522"/>
                <a:gd name="T12" fmla="*/ 601 w 677"/>
                <a:gd name="T13" fmla="*/ 184 h 522"/>
                <a:gd name="T14" fmla="*/ 589 w 677"/>
                <a:gd name="T15" fmla="*/ 182 h 522"/>
                <a:gd name="T16" fmla="*/ 578 w 677"/>
                <a:gd name="T17" fmla="*/ 184 h 522"/>
                <a:gd name="T18" fmla="*/ 566 w 677"/>
                <a:gd name="T19" fmla="*/ 190 h 522"/>
                <a:gd name="T20" fmla="*/ 556 w 677"/>
                <a:gd name="T21" fmla="*/ 198 h 522"/>
                <a:gd name="T22" fmla="*/ 542 w 677"/>
                <a:gd name="T23" fmla="*/ 222 h 522"/>
                <a:gd name="T24" fmla="*/ 537 w 677"/>
                <a:gd name="T25" fmla="*/ 241 h 522"/>
                <a:gd name="T26" fmla="*/ 535 w 677"/>
                <a:gd name="T27" fmla="*/ 273 h 522"/>
                <a:gd name="T28" fmla="*/ 539 w 677"/>
                <a:gd name="T29" fmla="*/ 294 h 522"/>
                <a:gd name="T30" fmla="*/ 548 w 677"/>
                <a:gd name="T31" fmla="*/ 312 h 522"/>
                <a:gd name="T32" fmla="*/ 562 w 677"/>
                <a:gd name="T33" fmla="*/ 330 h 522"/>
                <a:gd name="T34" fmla="*/ 577 w 677"/>
                <a:gd name="T35" fmla="*/ 338 h 522"/>
                <a:gd name="T36" fmla="*/ 590 w 677"/>
                <a:gd name="T37" fmla="*/ 340 h 522"/>
                <a:gd name="T38" fmla="*/ 603 w 677"/>
                <a:gd name="T39" fmla="*/ 337 h 522"/>
                <a:gd name="T40" fmla="*/ 619 w 677"/>
                <a:gd name="T41" fmla="*/ 329 h 522"/>
                <a:gd name="T42" fmla="*/ 650 w 677"/>
                <a:gd name="T43" fmla="*/ 308 h 522"/>
                <a:gd name="T44" fmla="*/ 658 w 677"/>
                <a:gd name="T45" fmla="*/ 306 h 522"/>
                <a:gd name="T46" fmla="*/ 666 w 677"/>
                <a:gd name="T47" fmla="*/ 308 h 522"/>
                <a:gd name="T48" fmla="*/ 673 w 677"/>
                <a:gd name="T49" fmla="*/ 317 h 522"/>
                <a:gd name="T50" fmla="*/ 405 w 677"/>
                <a:gd name="T51" fmla="*/ 522 h 522"/>
                <a:gd name="T52" fmla="*/ 388 w 677"/>
                <a:gd name="T53" fmla="*/ 513 h 522"/>
                <a:gd name="T54" fmla="*/ 383 w 677"/>
                <a:gd name="T55" fmla="*/ 506 h 522"/>
                <a:gd name="T56" fmla="*/ 385 w 677"/>
                <a:gd name="T57" fmla="*/ 495 h 522"/>
                <a:gd name="T58" fmla="*/ 406 w 677"/>
                <a:gd name="T59" fmla="*/ 463 h 522"/>
                <a:gd name="T60" fmla="*/ 416 w 677"/>
                <a:gd name="T61" fmla="*/ 441 h 522"/>
                <a:gd name="T62" fmla="*/ 417 w 677"/>
                <a:gd name="T63" fmla="*/ 429 h 522"/>
                <a:gd name="T64" fmla="*/ 414 w 677"/>
                <a:gd name="T65" fmla="*/ 418 h 522"/>
                <a:gd name="T66" fmla="*/ 407 w 677"/>
                <a:gd name="T67" fmla="*/ 406 h 522"/>
                <a:gd name="T68" fmla="*/ 392 w 677"/>
                <a:gd name="T69" fmla="*/ 393 h 522"/>
                <a:gd name="T70" fmla="*/ 377 w 677"/>
                <a:gd name="T71" fmla="*/ 386 h 522"/>
                <a:gd name="T72" fmla="*/ 355 w 677"/>
                <a:gd name="T73" fmla="*/ 381 h 522"/>
                <a:gd name="T74" fmla="*/ 325 w 677"/>
                <a:gd name="T75" fmla="*/ 381 h 522"/>
                <a:gd name="T76" fmla="*/ 296 w 677"/>
                <a:gd name="T77" fmla="*/ 388 h 522"/>
                <a:gd name="T78" fmla="*/ 281 w 677"/>
                <a:gd name="T79" fmla="*/ 397 h 522"/>
                <a:gd name="T80" fmla="*/ 269 w 677"/>
                <a:gd name="T81" fmla="*/ 409 h 522"/>
                <a:gd name="T82" fmla="*/ 261 w 677"/>
                <a:gd name="T83" fmla="*/ 423 h 522"/>
                <a:gd name="T84" fmla="*/ 259 w 677"/>
                <a:gd name="T85" fmla="*/ 436 h 522"/>
                <a:gd name="T86" fmla="*/ 262 w 677"/>
                <a:gd name="T87" fmla="*/ 450 h 522"/>
                <a:gd name="T88" fmla="*/ 274 w 677"/>
                <a:gd name="T89" fmla="*/ 472 h 522"/>
                <a:gd name="T90" fmla="*/ 288 w 677"/>
                <a:gd name="T91" fmla="*/ 492 h 522"/>
                <a:gd name="T92" fmla="*/ 291 w 677"/>
                <a:gd name="T93" fmla="*/ 503 h 522"/>
                <a:gd name="T94" fmla="*/ 289 w 677"/>
                <a:gd name="T95" fmla="*/ 511 h 522"/>
                <a:gd name="T96" fmla="*/ 280 w 677"/>
                <a:gd name="T97" fmla="*/ 517 h 522"/>
                <a:gd name="T98" fmla="*/ 0 w 677"/>
                <a:gd name="T99" fmla="*/ 522 h 52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7"/>
                <a:gd name="T151" fmla="*/ 0 h 522"/>
                <a:gd name="T152" fmla="*/ 677 w 677"/>
                <a:gd name="T153" fmla="*/ 522 h 52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7" h="522">
                  <a:moveTo>
                    <a:pt x="677" y="0"/>
                  </a:moveTo>
                  <a:lnTo>
                    <a:pt x="677" y="193"/>
                  </a:lnTo>
                  <a:lnTo>
                    <a:pt x="675" y="196"/>
                  </a:lnTo>
                  <a:lnTo>
                    <a:pt x="674" y="200"/>
                  </a:lnTo>
                  <a:lnTo>
                    <a:pt x="671" y="205"/>
                  </a:lnTo>
                  <a:lnTo>
                    <a:pt x="669" y="207"/>
                  </a:lnTo>
                  <a:lnTo>
                    <a:pt x="668" y="209"/>
                  </a:lnTo>
                  <a:lnTo>
                    <a:pt x="665" y="212"/>
                  </a:lnTo>
                  <a:lnTo>
                    <a:pt x="661" y="213"/>
                  </a:lnTo>
                  <a:lnTo>
                    <a:pt x="657" y="214"/>
                  </a:lnTo>
                  <a:lnTo>
                    <a:pt x="654" y="213"/>
                  </a:lnTo>
                  <a:lnTo>
                    <a:pt x="650" y="212"/>
                  </a:lnTo>
                  <a:lnTo>
                    <a:pt x="646" y="210"/>
                  </a:lnTo>
                  <a:lnTo>
                    <a:pt x="642" y="208"/>
                  </a:lnTo>
                  <a:lnTo>
                    <a:pt x="634" y="202"/>
                  </a:lnTo>
                  <a:lnTo>
                    <a:pt x="627" y="197"/>
                  </a:lnTo>
                  <a:lnTo>
                    <a:pt x="620" y="192"/>
                  </a:lnTo>
                  <a:lnTo>
                    <a:pt x="615" y="189"/>
                  </a:lnTo>
                  <a:lnTo>
                    <a:pt x="610" y="187"/>
                  </a:lnTo>
                  <a:lnTo>
                    <a:pt x="606" y="185"/>
                  </a:lnTo>
                  <a:lnTo>
                    <a:pt x="601" y="184"/>
                  </a:lnTo>
                  <a:lnTo>
                    <a:pt x="597" y="183"/>
                  </a:lnTo>
                  <a:lnTo>
                    <a:pt x="593" y="182"/>
                  </a:lnTo>
                  <a:lnTo>
                    <a:pt x="589" y="182"/>
                  </a:lnTo>
                  <a:lnTo>
                    <a:pt x="586" y="183"/>
                  </a:lnTo>
                  <a:lnTo>
                    <a:pt x="582" y="183"/>
                  </a:lnTo>
                  <a:lnTo>
                    <a:pt x="578" y="184"/>
                  </a:lnTo>
                  <a:lnTo>
                    <a:pt x="574" y="186"/>
                  </a:lnTo>
                  <a:lnTo>
                    <a:pt x="569" y="188"/>
                  </a:lnTo>
                  <a:lnTo>
                    <a:pt x="566" y="190"/>
                  </a:lnTo>
                  <a:lnTo>
                    <a:pt x="562" y="192"/>
                  </a:lnTo>
                  <a:lnTo>
                    <a:pt x="559" y="195"/>
                  </a:lnTo>
                  <a:lnTo>
                    <a:pt x="556" y="198"/>
                  </a:lnTo>
                  <a:lnTo>
                    <a:pt x="551" y="205"/>
                  </a:lnTo>
                  <a:lnTo>
                    <a:pt x="546" y="213"/>
                  </a:lnTo>
                  <a:lnTo>
                    <a:pt x="542" y="222"/>
                  </a:lnTo>
                  <a:lnTo>
                    <a:pt x="539" y="231"/>
                  </a:lnTo>
                  <a:lnTo>
                    <a:pt x="538" y="236"/>
                  </a:lnTo>
                  <a:lnTo>
                    <a:pt x="537" y="241"/>
                  </a:lnTo>
                  <a:lnTo>
                    <a:pt x="535" y="253"/>
                  </a:lnTo>
                  <a:lnTo>
                    <a:pt x="535" y="263"/>
                  </a:lnTo>
                  <a:lnTo>
                    <a:pt x="535" y="273"/>
                  </a:lnTo>
                  <a:lnTo>
                    <a:pt x="536" y="279"/>
                  </a:lnTo>
                  <a:lnTo>
                    <a:pt x="537" y="284"/>
                  </a:lnTo>
                  <a:lnTo>
                    <a:pt x="539" y="294"/>
                  </a:lnTo>
                  <a:lnTo>
                    <a:pt x="543" y="303"/>
                  </a:lnTo>
                  <a:lnTo>
                    <a:pt x="545" y="308"/>
                  </a:lnTo>
                  <a:lnTo>
                    <a:pt x="548" y="312"/>
                  </a:lnTo>
                  <a:lnTo>
                    <a:pt x="552" y="319"/>
                  </a:lnTo>
                  <a:lnTo>
                    <a:pt x="557" y="325"/>
                  </a:lnTo>
                  <a:lnTo>
                    <a:pt x="562" y="330"/>
                  </a:lnTo>
                  <a:lnTo>
                    <a:pt x="568" y="334"/>
                  </a:lnTo>
                  <a:lnTo>
                    <a:pt x="573" y="337"/>
                  </a:lnTo>
                  <a:lnTo>
                    <a:pt x="577" y="338"/>
                  </a:lnTo>
                  <a:lnTo>
                    <a:pt x="582" y="340"/>
                  </a:lnTo>
                  <a:lnTo>
                    <a:pt x="586" y="340"/>
                  </a:lnTo>
                  <a:lnTo>
                    <a:pt x="590" y="340"/>
                  </a:lnTo>
                  <a:lnTo>
                    <a:pt x="595" y="340"/>
                  </a:lnTo>
                  <a:lnTo>
                    <a:pt x="599" y="339"/>
                  </a:lnTo>
                  <a:lnTo>
                    <a:pt x="603" y="337"/>
                  </a:lnTo>
                  <a:lnTo>
                    <a:pt x="607" y="336"/>
                  </a:lnTo>
                  <a:lnTo>
                    <a:pt x="611" y="334"/>
                  </a:lnTo>
                  <a:lnTo>
                    <a:pt x="619" y="329"/>
                  </a:lnTo>
                  <a:lnTo>
                    <a:pt x="633" y="318"/>
                  </a:lnTo>
                  <a:lnTo>
                    <a:pt x="647" y="309"/>
                  </a:lnTo>
                  <a:lnTo>
                    <a:pt x="650" y="308"/>
                  </a:lnTo>
                  <a:lnTo>
                    <a:pt x="653" y="307"/>
                  </a:lnTo>
                  <a:lnTo>
                    <a:pt x="656" y="306"/>
                  </a:lnTo>
                  <a:lnTo>
                    <a:pt x="658" y="306"/>
                  </a:lnTo>
                  <a:lnTo>
                    <a:pt x="661" y="306"/>
                  </a:lnTo>
                  <a:lnTo>
                    <a:pt x="664" y="307"/>
                  </a:lnTo>
                  <a:lnTo>
                    <a:pt x="666" y="308"/>
                  </a:lnTo>
                  <a:lnTo>
                    <a:pt x="668" y="310"/>
                  </a:lnTo>
                  <a:lnTo>
                    <a:pt x="671" y="313"/>
                  </a:lnTo>
                  <a:lnTo>
                    <a:pt x="673" y="317"/>
                  </a:lnTo>
                  <a:lnTo>
                    <a:pt x="677" y="328"/>
                  </a:lnTo>
                  <a:lnTo>
                    <a:pt x="677" y="522"/>
                  </a:lnTo>
                  <a:lnTo>
                    <a:pt x="405" y="522"/>
                  </a:lnTo>
                  <a:lnTo>
                    <a:pt x="398" y="519"/>
                  </a:lnTo>
                  <a:lnTo>
                    <a:pt x="392" y="516"/>
                  </a:lnTo>
                  <a:lnTo>
                    <a:pt x="388" y="513"/>
                  </a:lnTo>
                  <a:lnTo>
                    <a:pt x="386" y="511"/>
                  </a:lnTo>
                  <a:lnTo>
                    <a:pt x="385" y="510"/>
                  </a:lnTo>
                  <a:lnTo>
                    <a:pt x="383" y="506"/>
                  </a:lnTo>
                  <a:lnTo>
                    <a:pt x="383" y="502"/>
                  </a:lnTo>
                  <a:lnTo>
                    <a:pt x="383" y="499"/>
                  </a:lnTo>
                  <a:lnTo>
                    <a:pt x="385" y="495"/>
                  </a:lnTo>
                  <a:lnTo>
                    <a:pt x="390" y="486"/>
                  </a:lnTo>
                  <a:lnTo>
                    <a:pt x="396" y="477"/>
                  </a:lnTo>
                  <a:lnTo>
                    <a:pt x="406" y="463"/>
                  </a:lnTo>
                  <a:lnTo>
                    <a:pt x="411" y="456"/>
                  </a:lnTo>
                  <a:lnTo>
                    <a:pt x="414" y="448"/>
                  </a:lnTo>
                  <a:lnTo>
                    <a:pt x="416" y="441"/>
                  </a:lnTo>
                  <a:lnTo>
                    <a:pt x="417" y="438"/>
                  </a:lnTo>
                  <a:lnTo>
                    <a:pt x="417" y="435"/>
                  </a:lnTo>
                  <a:lnTo>
                    <a:pt x="417" y="429"/>
                  </a:lnTo>
                  <a:lnTo>
                    <a:pt x="416" y="422"/>
                  </a:lnTo>
                  <a:lnTo>
                    <a:pt x="415" y="420"/>
                  </a:lnTo>
                  <a:lnTo>
                    <a:pt x="414" y="418"/>
                  </a:lnTo>
                  <a:lnTo>
                    <a:pt x="412" y="414"/>
                  </a:lnTo>
                  <a:lnTo>
                    <a:pt x="410" y="410"/>
                  </a:lnTo>
                  <a:lnTo>
                    <a:pt x="407" y="406"/>
                  </a:lnTo>
                  <a:lnTo>
                    <a:pt x="404" y="402"/>
                  </a:lnTo>
                  <a:lnTo>
                    <a:pt x="400" y="399"/>
                  </a:lnTo>
                  <a:lnTo>
                    <a:pt x="392" y="393"/>
                  </a:lnTo>
                  <a:lnTo>
                    <a:pt x="387" y="391"/>
                  </a:lnTo>
                  <a:lnTo>
                    <a:pt x="382" y="388"/>
                  </a:lnTo>
                  <a:lnTo>
                    <a:pt x="377" y="386"/>
                  </a:lnTo>
                  <a:lnTo>
                    <a:pt x="372" y="385"/>
                  </a:lnTo>
                  <a:lnTo>
                    <a:pt x="361" y="382"/>
                  </a:lnTo>
                  <a:lnTo>
                    <a:pt x="355" y="381"/>
                  </a:lnTo>
                  <a:lnTo>
                    <a:pt x="349" y="380"/>
                  </a:lnTo>
                  <a:lnTo>
                    <a:pt x="337" y="380"/>
                  </a:lnTo>
                  <a:lnTo>
                    <a:pt x="325" y="381"/>
                  </a:lnTo>
                  <a:lnTo>
                    <a:pt x="313" y="383"/>
                  </a:lnTo>
                  <a:lnTo>
                    <a:pt x="301" y="386"/>
                  </a:lnTo>
                  <a:lnTo>
                    <a:pt x="296" y="388"/>
                  </a:lnTo>
                  <a:lnTo>
                    <a:pt x="291" y="391"/>
                  </a:lnTo>
                  <a:lnTo>
                    <a:pt x="286" y="394"/>
                  </a:lnTo>
                  <a:lnTo>
                    <a:pt x="281" y="397"/>
                  </a:lnTo>
                  <a:lnTo>
                    <a:pt x="277" y="400"/>
                  </a:lnTo>
                  <a:lnTo>
                    <a:pt x="273" y="404"/>
                  </a:lnTo>
                  <a:lnTo>
                    <a:pt x="269" y="409"/>
                  </a:lnTo>
                  <a:lnTo>
                    <a:pt x="266" y="413"/>
                  </a:lnTo>
                  <a:lnTo>
                    <a:pt x="263" y="418"/>
                  </a:lnTo>
                  <a:lnTo>
                    <a:pt x="261" y="423"/>
                  </a:lnTo>
                  <a:lnTo>
                    <a:pt x="260" y="427"/>
                  </a:lnTo>
                  <a:lnTo>
                    <a:pt x="259" y="432"/>
                  </a:lnTo>
                  <a:lnTo>
                    <a:pt x="259" y="436"/>
                  </a:lnTo>
                  <a:lnTo>
                    <a:pt x="260" y="440"/>
                  </a:lnTo>
                  <a:lnTo>
                    <a:pt x="260" y="445"/>
                  </a:lnTo>
                  <a:lnTo>
                    <a:pt x="262" y="450"/>
                  </a:lnTo>
                  <a:lnTo>
                    <a:pt x="265" y="457"/>
                  </a:lnTo>
                  <a:lnTo>
                    <a:pt x="269" y="465"/>
                  </a:lnTo>
                  <a:lnTo>
                    <a:pt x="274" y="472"/>
                  </a:lnTo>
                  <a:lnTo>
                    <a:pt x="279" y="479"/>
                  </a:lnTo>
                  <a:lnTo>
                    <a:pt x="284" y="486"/>
                  </a:lnTo>
                  <a:lnTo>
                    <a:pt x="288" y="492"/>
                  </a:lnTo>
                  <a:lnTo>
                    <a:pt x="290" y="498"/>
                  </a:lnTo>
                  <a:lnTo>
                    <a:pt x="291" y="501"/>
                  </a:lnTo>
                  <a:lnTo>
                    <a:pt x="291" y="503"/>
                  </a:lnTo>
                  <a:lnTo>
                    <a:pt x="291" y="506"/>
                  </a:lnTo>
                  <a:lnTo>
                    <a:pt x="290" y="508"/>
                  </a:lnTo>
                  <a:lnTo>
                    <a:pt x="289" y="511"/>
                  </a:lnTo>
                  <a:lnTo>
                    <a:pt x="286" y="513"/>
                  </a:lnTo>
                  <a:lnTo>
                    <a:pt x="284" y="515"/>
                  </a:lnTo>
                  <a:lnTo>
                    <a:pt x="280" y="517"/>
                  </a:lnTo>
                  <a:lnTo>
                    <a:pt x="276" y="520"/>
                  </a:lnTo>
                  <a:lnTo>
                    <a:pt x="270" y="521"/>
                  </a:lnTo>
                  <a:lnTo>
                    <a:pt x="0" y="522"/>
                  </a:lnTo>
                  <a:lnTo>
                    <a:pt x="0" y="0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grpSp>
        <p:nvGrpSpPr>
          <p:cNvPr id="53" name="Group 14"/>
          <p:cNvGrpSpPr>
            <a:grpSpLocks/>
          </p:cNvGrpSpPr>
          <p:nvPr/>
        </p:nvGrpSpPr>
        <p:grpSpPr bwMode="auto">
          <a:xfrm>
            <a:off x="4182594" y="2901473"/>
            <a:ext cx="2474912" cy="2765425"/>
            <a:chOff x="219" y="2020"/>
            <a:chExt cx="2026" cy="2089"/>
          </a:xfrm>
        </p:grpSpPr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754" y="2020"/>
              <a:ext cx="814" cy="521"/>
            </a:xfrm>
            <a:custGeom>
              <a:avLst/>
              <a:gdLst>
                <a:gd name="T0" fmla="*/ 133 w 814"/>
                <a:gd name="T1" fmla="*/ 309 h 521"/>
                <a:gd name="T2" fmla="*/ 123 w 814"/>
                <a:gd name="T3" fmla="*/ 304 h 521"/>
                <a:gd name="T4" fmla="*/ 105 w 814"/>
                <a:gd name="T5" fmla="*/ 312 h 521"/>
                <a:gd name="T6" fmla="*/ 76 w 814"/>
                <a:gd name="T7" fmla="*/ 333 h 521"/>
                <a:gd name="T8" fmla="*/ 51 w 814"/>
                <a:gd name="T9" fmla="*/ 340 h 521"/>
                <a:gd name="T10" fmla="*/ 34 w 814"/>
                <a:gd name="T11" fmla="*/ 334 h 521"/>
                <a:gd name="T12" fmla="*/ 12 w 814"/>
                <a:gd name="T13" fmla="*/ 310 h 521"/>
                <a:gd name="T14" fmla="*/ 3 w 814"/>
                <a:gd name="T15" fmla="*/ 285 h 521"/>
                <a:gd name="T16" fmla="*/ 1 w 814"/>
                <a:gd name="T17" fmla="*/ 248 h 521"/>
                <a:gd name="T18" fmla="*/ 9 w 814"/>
                <a:gd name="T19" fmla="*/ 218 h 521"/>
                <a:gd name="T20" fmla="*/ 26 w 814"/>
                <a:gd name="T21" fmla="*/ 193 h 521"/>
                <a:gd name="T22" fmla="*/ 44 w 814"/>
                <a:gd name="T23" fmla="*/ 183 h 521"/>
                <a:gd name="T24" fmla="*/ 61 w 814"/>
                <a:gd name="T25" fmla="*/ 181 h 521"/>
                <a:gd name="T26" fmla="*/ 85 w 814"/>
                <a:gd name="T27" fmla="*/ 191 h 521"/>
                <a:gd name="T28" fmla="*/ 112 w 814"/>
                <a:gd name="T29" fmla="*/ 210 h 521"/>
                <a:gd name="T30" fmla="*/ 126 w 814"/>
                <a:gd name="T31" fmla="*/ 214 h 521"/>
                <a:gd name="T32" fmla="*/ 136 w 814"/>
                <a:gd name="T33" fmla="*/ 207 h 521"/>
                <a:gd name="T34" fmla="*/ 142 w 814"/>
                <a:gd name="T35" fmla="*/ 0 h 521"/>
                <a:gd name="T36" fmla="*/ 810 w 814"/>
                <a:gd name="T37" fmla="*/ 204 h 521"/>
                <a:gd name="T38" fmla="*/ 801 w 814"/>
                <a:gd name="T39" fmla="*/ 213 h 521"/>
                <a:gd name="T40" fmla="*/ 789 w 814"/>
                <a:gd name="T41" fmla="*/ 213 h 521"/>
                <a:gd name="T42" fmla="*/ 757 w 814"/>
                <a:gd name="T43" fmla="*/ 191 h 521"/>
                <a:gd name="T44" fmla="*/ 737 w 814"/>
                <a:gd name="T45" fmla="*/ 182 h 521"/>
                <a:gd name="T46" fmla="*/ 720 w 814"/>
                <a:gd name="T47" fmla="*/ 182 h 521"/>
                <a:gd name="T48" fmla="*/ 702 w 814"/>
                <a:gd name="T49" fmla="*/ 190 h 521"/>
                <a:gd name="T50" fmla="*/ 687 w 814"/>
                <a:gd name="T51" fmla="*/ 209 h 521"/>
                <a:gd name="T52" fmla="*/ 675 w 814"/>
                <a:gd name="T53" fmla="*/ 238 h 521"/>
                <a:gd name="T54" fmla="*/ 673 w 814"/>
                <a:gd name="T55" fmla="*/ 270 h 521"/>
                <a:gd name="T56" fmla="*/ 682 w 814"/>
                <a:gd name="T57" fmla="*/ 305 h 521"/>
                <a:gd name="T58" fmla="*/ 694 w 814"/>
                <a:gd name="T59" fmla="*/ 322 h 521"/>
                <a:gd name="T60" fmla="*/ 710 w 814"/>
                <a:gd name="T61" fmla="*/ 336 h 521"/>
                <a:gd name="T62" fmla="*/ 727 w 814"/>
                <a:gd name="T63" fmla="*/ 340 h 521"/>
                <a:gd name="T64" fmla="*/ 755 w 814"/>
                <a:gd name="T65" fmla="*/ 329 h 521"/>
                <a:gd name="T66" fmla="*/ 783 w 814"/>
                <a:gd name="T67" fmla="*/ 308 h 521"/>
                <a:gd name="T68" fmla="*/ 801 w 814"/>
                <a:gd name="T69" fmla="*/ 305 h 521"/>
                <a:gd name="T70" fmla="*/ 810 w 814"/>
                <a:gd name="T71" fmla="*/ 315 h 521"/>
                <a:gd name="T72" fmla="*/ 544 w 814"/>
                <a:gd name="T73" fmla="*/ 521 h 521"/>
                <a:gd name="T74" fmla="*/ 524 w 814"/>
                <a:gd name="T75" fmla="*/ 511 h 521"/>
                <a:gd name="T76" fmla="*/ 522 w 814"/>
                <a:gd name="T77" fmla="*/ 500 h 521"/>
                <a:gd name="T78" fmla="*/ 534 w 814"/>
                <a:gd name="T79" fmla="*/ 478 h 521"/>
                <a:gd name="T80" fmla="*/ 554 w 814"/>
                <a:gd name="T81" fmla="*/ 446 h 521"/>
                <a:gd name="T82" fmla="*/ 557 w 814"/>
                <a:gd name="T83" fmla="*/ 425 h 521"/>
                <a:gd name="T84" fmla="*/ 544 w 814"/>
                <a:gd name="T85" fmla="*/ 404 h 521"/>
                <a:gd name="T86" fmla="*/ 522 w 814"/>
                <a:gd name="T87" fmla="*/ 389 h 521"/>
                <a:gd name="T88" fmla="*/ 497 w 814"/>
                <a:gd name="T89" fmla="*/ 381 h 521"/>
                <a:gd name="T90" fmla="*/ 455 w 814"/>
                <a:gd name="T91" fmla="*/ 382 h 521"/>
                <a:gd name="T92" fmla="*/ 426 w 814"/>
                <a:gd name="T93" fmla="*/ 393 h 521"/>
                <a:gd name="T94" fmla="*/ 408 w 814"/>
                <a:gd name="T95" fmla="*/ 409 h 521"/>
                <a:gd name="T96" fmla="*/ 399 w 814"/>
                <a:gd name="T97" fmla="*/ 427 h 521"/>
                <a:gd name="T98" fmla="*/ 399 w 814"/>
                <a:gd name="T99" fmla="*/ 444 h 521"/>
                <a:gd name="T100" fmla="*/ 414 w 814"/>
                <a:gd name="T101" fmla="*/ 472 h 521"/>
                <a:gd name="T102" fmla="*/ 430 w 814"/>
                <a:gd name="T103" fmla="*/ 497 h 521"/>
                <a:gd name="T104" fmla="*/ 430 w 814"/>
                <a:gd name="T105" fmla="*/ 508 h 521"/>
                <a:gd name="T106" fmla="*/ 420 w 814"/>
                <a:gd name="T107" fmla="*/ 517 h 521"/>
                <a:gd name="T108" fmla="*/ 142 w 814"/>
                <a:gd name="T109" fmla="*/ 326 h 52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4"/>
                <a:gd name="T166" fmla="*/ 0 h 521"/>
                <a:gd name="T167" fmla="*/ 814 w 814"/>
                <a:gd name="T168" fmla="*/ 521 h 52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4" h="521">
                  <a:moveTo>
                    <a:pt x="142" y="326"/>
                  </a:moveTo>
                  <a:lnTo>
                    <a:pt x="138" y="316"/>
                  </a:lnTo>
                  <a:lnTo>
                    <a:pt x="136" y="312"/>
                  </a:lnTo>
                  <a:lnTo>
                    <a:pt x="133" y="309"/>
                  </a:lnTo>
                  <a:lnTo>
                    <a:pt x="131" y="307"/>
                  </a:lnTo>
                  <a:lnTo>
                    <a:pt x="129" y="305"/>
                  </a:lnTo>
                  <a:lnTo>
                    <a:pt x="126" y="304"/>
                  </a:lnTo>
                  <a:lnTo>
                    <a:pt x="123" y="304"/>
                  </a:lnTo>
                  <a:lnTo>
                    <a:pt x="121" y="305"/>
                  </a:lnTo>
                  <a:lnTo>
                    <a:pt x="118" y="305"/>
                  </a:lnTo>
                  <a:lnTo>
                    <a:pt x="112" y="308"/>
                  </a:lnTo>
                  <a:lnTo>
                    <a:pt x="105" y="312"/>
                  </a:lnTo>
                  <a:lnTo>
                    <a:pt x="98" y="317"/>
                  </a:lnTo>
                  <a:lnTo>
                    <a:pt x="91" y="323"/>
                  </a:lnTo>
                  <a:lnTo>
                    <a:pt x="83" y="329"/>
                  </a:lnTo>
                  <a:lnTo>
                    <a:pt x="76" y="333"/>
                  </a:lnTo>
                  <a:lnTo>
                    <a:pt x="68" y="337"/>
                  </a:lnTo>
                  <a:lnTo>
                    <a:pt x="59" y="340"/>
                  </a:lnTo>
                  <a:lnTo>
                    <a:pt x="55" y="340"/>
                  </a:lnTo>
                  <a:lnTo>
                    <a:pt x="51" y="340"/>
                  </a:lnTo>
                  <a:lnTo>
                    <a:pt x="47" y="339"/>
                  </a:lnTo>
                  <a:lnTo>
                    <a:pt x="42" y="338"/>
                  </a:lnTo>
                  <a:lnTo>
                    <a:pt x="38" y="336"/>
                  </a:lnTo>
                  <a:lnTo>
                    <a:pt x="34" y="334"/>
                  </a:lnTo>
                  <a:lnTo>
                    <a:pt x="25" y="326"/>
                  </a:lnTo>
                  <a:lnTo>
                    <a:pt x="21" y="322"/>
                  </a:lnTo>
                  <a:lnTo>
                    <a:pt x="18" y="318"/>
                  </a:lnTo>
                  <a:lnTo>
                    <a:pt x="12" y="310"/>
                  </a:lnTo>
                  <a:lnTo>
                    <a:pt x="10" y="305"/>
                  </a:lnTo>
                  <a:lnTo>
                    <a:pt x="8" y="300"/>
                  </a:lnTo>
                  <a:lnTo>
                    <a:pt x="4" y="291"/>
                  </a:lnTo>
                  <a:lnTo>
                    <a:pt x="3" y="285"/>
                  </a:lnTo>
                  <a:lnTo>
                    <a:pt x="2" y="280"/>
                  </a:lnTo>
                  <a:lnTo>
                    <a:pt x="0" y="270"/>
                  </a:lnTo>
                  <a:lnTo>
                    <a:pt x="0" y="259"/>
                  </a:lnTo>
                  <a:lnTo>
                    <a:pt x="1" y="248"/>
                  </a:lnTo>
                  <a:lnTo>
                    <a:pt x="3" y="238"/>
                  </a:lnTo>
                  <a:lnTo>
                    <a:pt x="6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20" y="201"/>
                  </a:lnTo>
                  <a:lnTo>
                    <a:pt x="26" y="193"/>
                  </a:lnTo>
                  <a:lnTo>
                    <a:pt x="30" y="190"/>
                  </a:lnTo>
                  <a:lnTo>
                    <a:pt x="35" y="188"/>
                  </a:lnTo>
                  <a:lnTo>
                    <a:pt x="39" y="185"/>
                  </a:lnTo>
                  <a:lnTo>
                    <a:pt x="44" y="183"/>
                  </a:lnTo>
                  <a:lnTo>
                    <a:pt x="48" y="182"/>
                  </a:lnTo>
                  <a:lnTo>
                    <a:pt x="53" y="181"/>
                  </a:lnTo>
                  <a:lnTo>
                    <a:pt x="57" y="181"/>
                  </a:lnTo>
                  <a:lnTo>
                    <a:pt x="61" y="181"/>
                  </a:lnTo>
                  <a:lnTo>
                    <a:pt x="66" y="182"/>
                  </a:lnTo>
                  <a:lnTo>
                    <a:pt x="70" y="183"/>
                  </a:lnTo>
                  <a:lnTo>
                    <a:pt x="78" y="187"/>
                  </a:lnTo>
                  <a:lnTo>
                    <a:pt x="85" y="191"/>
                  </a:lnTo>
                  <a:lnTo>
                    <a:pt x="92" y="196"/>
                  </a:lnTo>
                  <a:lnTo>
                    <a:pt x="99" y="202"/>
                  </a:lnTo>
                  <a:lnTo>
                    <a:pt x="106" y="206"/>
                  </a:lnTo>
                  <a:lnTo>
                    <a:pt x="112" y="210"/>
                  </a:lnTo>
                  <a:lnTo>
                    <a:pt x="118" y="213"/>
                  </a:lnTo>
                  <a:lnTo>
                    <a:pt x="121" y="214"/>
                  </a:lnTo>
                  <a:lnTo>
                    <a:pt x="123" y="214"/>
                  </a:lnTo>
                  <a:lnTo>
                    <a:pt x="126" y="214"/>
                  </a:lnTo>
                  <a:lnTo>
                    <a:pt x="129" y="213"/>
                  </a:lnTo>
                  <a:lnTo>
                    <a:pt x="131" y="212"/>
                  </a:lnTo>
                  <a:lnTo>
                    <a:pt x="133" y="210"/>
                  </a:lnTo>
                  <a:lnTo>
                    <a:pt x="136" y="207"/>
                  </a:lnTo>
                  <a:lnTo>
                    <a:pt x="138" y="203"/>
                  </a:lnTo>
                  <a:lnTo>
                    <a:pt x="140" y="199"/>
                  </a:lnTo>
                  <a:lnTo>
                    <a:pt x="142" y="193"/>
                  </a:lnTo>
                  <a:lnTo>
                    <a:pt x="142" y="0"/>
                  </a:lnTo>
                  <a:lnTo>
                    <a:pt x="814" y="0"/>
                  </a:lnTo>
                  <a:lnTo>
                    <a:pt x="814" y="194"/>
                  </a:lnTo>
                  <a:lnTo>
                    <a:pt x="812" y="200"/>
                  </a:lnTo>
                  <a:lnTo>
                    <a:pt x="810" y="204"/>
                  </a:lnTo>
                  <a:lnTo>
                    <a:pt x="808" y="207"/>
                  </a:lnTo>
                  <a:lnTo>
                    <a:pt x="805" y="210"/>
                  </a:lnTo>
                  <a:lnTo>
                    <a:pt x="803" y="212"/>
                  </a:lnTo>
                  <a:lnTo>
                    <a:pt x="801" y="213"/>
                  </a:lnTo>
                  <a:lnTo>
                    <a:pt x="798" y="214"/>
                  </a:lnTo>
                  <a:lnTo>
                    <a:pt x="796" y="214"/>
                  </a:lnTo>
                  <a:lnTo>
                    <a:pt x="793" y="214"/>
                  </a:lnTo>
                  <a:lnTo>
                    <a:pt x="789" y="213"/>
                  </a:lnTo>
                  <a:lnTo>
                    <a:pt x="783" y="210"/>
                  </a:lnTo>
                  <a:lnTo>
                    <a:pt x="777" y="206"/>
                  </a:lnTo>
                  <a:lnTo>
                    <a:pt x="771" y="202"/>
                  </a:lnTo>
                  <a:lnTo>
                    <a:pt x="757" y="191"/>
                  </a:lnTo>
                  <a:lnTo>
                    <a:pt x="749" y="187"/>
                  </a:lnTo>
                  <a:lnTo>
                    <a:pt x="745" y="185"/>
                  </a:lnTo>
                  <a:lnTo>
                    <a:pt x="741" y="183"/>
                  </a:lnTo>
                  <a:lnTo>
                    <a:pt x="737" y="182"/>
                  </a:lnTo>
                  <a:lnTo>
                    <a:pt x="733" y="181"/>
                  </a:lnTo>
                  <a:lnTo>
                    <a:pt x="729" y="181"/>
                  </a:lnTo>
                  <a:lnTo>
                    <a:pt x="724" y="181"/>
                  </a:lnTo>
                  <a:lnTo>
                    <a:pt x="720" y="182"/>
                  </a:lnTo>
                  <a:lnTo>
                    <a:pt x="715" y="183"/>
                  </a:lnTo>
                  <a:lnTo>
                    <a:pt x="711" y="185"/>
                  </a:lnTo>
                  <a:lnTo>
                    <a:pt x="706" y="188"/>
                  </a:lnTo>
                  <a:lnTo>
                    <a:pt x="702" y="190"/>
                  </a:lnTo>
                  <a:lnTo>
                    <a:pt x="699" y="193"/>
                  </a:lnTo>
                  <a:lnTo>
                    <a:pt x="695" y="197"/>
                  </a:lnTo>
                  <a:lnTo>
                    <a:pt x="692" y="201"/>
                  </a:lnTo>
                  <a:lnTo>
                    <a:pt x="687" y="209"/>
                  </a:lnTo>
                  <a:lnTo>
                    <a:pt x="682" y="218"/>
                  </a:lnTo>
                  <a:lnTo>
                    <a:pt x="680" y="223"/>
                  </a:lnTo>
                  <a:lnTo>
                    <a:pt x="678" y="228"/>
                  </a:lnTo>
                  <a:lnTo>
                    <a:pt x="675" y="238"/>
                  </a:lnTo>
                  <a:lnTo>
                    <a:pt x="674" y="248"/>
                  </a:lnTo>
                  <a:lnTo>
                    <a:pt x="673" y="253"/>
                  </a:lnTo>
                  <a:lnTo>
                    <a:pt x="673" y="259"/>
                  </a:lnTo>
                  <a:lnTo>
                    <a:pt x="673" y="270"/>
                  </a:lnTo>
                  <a:lnTo>
                    <a:pt x="674" y="280"/>
                  </a:lnTo>
                  <a:lnTo>
                    <a:pt x="677" y="291"/>
                  </a:lnTo>
                  <a:lnTo>
                    <a:pt x="680" y="300"/>
                  </a:lnTo>
                  <a:lnTo>
                    <a:pt x="682" y="305"/>
                  </a:lnTo>
                  <a:lnTo>
                    <a:pt x="685" y="310"/>
                  </a:lnTo>
                  <a:lnTo>
                    <a:pt x="687" y="314"/>
                  </a:lnTo>
                  <a:lnTo>
                    <a:pt x="690" y="318"/>
                  </a:lnTo>
                  <a:lnTo>
                    <a:pt x="694" y="322"/>
                  </a:lnTo>
                  <a:lnTo>
                    <a:pt x="697" y="326"/>
                  </a:lnTo>
                  <a:lnTo>
                    <a:pt x="701" y="330"/>
                  </a:lnTo>
                  <a:lnTo>
                    <a:pt x="705" y="334"/>
                  </a:lnTo>
                  <a:lnTo>
                    <a:pt x="710" y="336"/>
                  </a:lnTo>
                  <a:lnTo>
                    <a:pt x="714" y="338"/>
                  </a:lnTo>
                  <a:lnTo>
                    <a:pt x="718" y="339"/>
                  </a:lnTo>
                  <a:lnTo>
                    <a:pt x="722" y="340"/>
                  </a:lnTo>
                  <a:lnTo>
                    <a:pt x="727" y="340"/>
                  </a:lnTo>
                  <a:lnTo>
                    <a:pt x="731" y="340"/>
                  </a:lnTo>
                  <a:lnTo>
                    <a:pt x="739" y="337"/>
                  </a:lnTo>
                  <a:lnTo>
                    <a:pt x="747" y="334"/>
                  </a:lnTo>
                  <a:lnTo>
                    <a:pt x="755" y="329"/>
                  </a:lnTo>
                  <a:lnTo>
                    <a:pt x="762" y="323"/>
                  </a:lnTo>
                  <a:lnTo>
                    <a:pt x="769" y="317"/>
                  </a:lnTo>
                  <a:lnTo>
                    <a:pt x="776" y="313"/>
                  </a:lnTo>
                  <a:lnTo>
                    <a:pt x="783" y="308"/>
                  </a:lnTo>
                  <a:lnTo>
                    <a:pt x="789" y="306"/>
                  </a:lnTo>
                  <a:lnTo>
                    <a:pt x="793" y="305"/>
                  </a:lnTo>
                  <a:lnTo>
                    <a:pt x="796" y="304"/>
                  </a:lnTo>
                  <a:lnTo>
                    <a:pt x="801" y="305"/>
                  </a:lnTo>
                  <a:lnTo>
                    <a:pt x="803" y="306"/>
                  </a:lnTo>
                  <a:lnTo>
                    <a:pt x="806" y="308"/>
                  </a:lnTo>
                  <a:lnTo>
                    <a:pt x="808" y="311"/>
                  </a:lnTo>
                  <a:lnTo>
                    <a:pt x="810" y="315"/>
                  </a:lnTo>
                  <a:lnTo>
                    <a:pt x="812" y="319"/>
                  </a:lnTo>
                  <a:lnTo>
                    <a:pt x="814" y="325"/>
                  </a:lnTo>
                  <a:lnTo>
                    <a:pt x="814" y="521"/>
                  </a:lnTo>
                  <a:lnTo>
                    <a:pt x="544" y="521"/>
                  </a:lnTo>
                  <a:lnTo>
                    <a:pt x="533" y="517"/>
                  </a:lnTo>
                  <a:lnTo>
                    <a:pt x="529" y="515"/>
                  </a:lnTo>
                  <a:lnTo>
                    <a:pt x="526" y="513"/>
                  </a:lnTo>
                  <a:lnTo>
                    <a:pt x="524" y="511"/>
                  </a:lnTo>
                  <a:lnTo>
                    <a:pt x="523" y="508"/>
                  </a:lnTo>
                  <a:lnTo>
                    <a:pt x="522" y="505"/>
                  </a:lnTo>
                  <a:lnTo>
                    <a:pt x="521" y="503"/>
                  </a:lnTo>
                  <a:lnTo>
                    <a:pt x="522" y="500"/>
                  </a:lnTo>
                  <a:lnTo>
                    <a:pt x="523" y="497"/>
                  </a:lnTo>
                  <a:lnTo>
                    <a:pt x="525" y="491"/>
                  </a:lnTo>
                  <a:lnTo>
                    <a:pt x="530" y="484"/>
                  </a:lnTo>
                  <a:lnTo>
                    <a:pt x="534" y="478"/>
                  </a:lnTo>
                  <a:lnTo>
                    <a:pt x="541" y="470"/>
                  </a:lnTo>
                  <a:lnTo>
                    <a:pt x="546" y="463"/>
                  </a:lnTo>
                  <a:lnTo>
                    <a:pt x="551" y="454"/>
                  </a:lnTo>
                  <a:lnTo>
                    <a:pt x="554" y="446"/>
                  </a:lnTo>
                  <a:lnTo>
                    <a:pt x="557" y="438"/>
                  </a:lnTo>
                  <a:lnTo>
                    <a:pt x="557" y="434"/>
                  </a:lnTo>
                  <a:lnTo>
                    <a:pt x="557" y="429"/>
                  </a:lnTo>
                  <a:lnTo>
                    <a:pt x="557" y="425"/>
                  </a:lnTo>
                  <a:lnTo>
                    <a:pt x="555" y="421"/>
                  </a:lnTo>
                  <a:lnTo>
                    <a:pt x="554" y="416"/>
                  </a:lnTo>
                  <a:lnTo>
                    <a:pt x="551" y="412"/>
                  </a:lnTo>
                  <a:lnTo>
                    <a:pt x="544" y="404"/>
                  </a:lnTo>
                  <a:lnTo>
                    <a:pt x="541" y="401"/>
                  </a:lnTo>
                  <a:lnTo>
                    <a:pt x="536" y="397"/>
                  </a:lnTo>
                  <a:lnTo>
                    <a:pt x="527" y="392"/>
                  </a:lnTo>
                  <a:lnTo>
                    <a:pt x="522" y="389"/>
                  </a:lnTo>
                  <a:lnTo>
                    <a:pt x="518" y="387"/>
                  </a:lnTo>
                  <a:lnTo>
                    <a:pt x="508" y="384"/>
                  </a:lnTo>
                  <a:lnTo>
                    <a:pt x="503" y="382"/>
                  </a:lnTo>
                  <a:lnTo>
                    <a:pt x="497" y="381"/>
                  </a:lnTo>
                  <a:lnTo>
                    <a:pt x="487" y="380"/>
                  </a:lnTo>
                  <a:lnTo>
                    <a:pt x="476" y="380"/>
                  </a:lnTo>
                  <a:lnTo>
                    <a:pt x="465" y="380"/>
                  </a:lnTo>
                  <a:lnTo>
                    <a:pt x="455" y="382"/>
                  </a:lnTo>
                  <a:lnTo>
                    <a:pt x="445" y="385"/>
                  </a:lnTo>
                  <a:lnTo>
                    <a:pt x="440" y="387"/>
                  </a:lnTo>
                  <a:lnTo>
                    <a:pt x="435" y="389"/>
                  </a:lnTo>
                  <a:lnTo>
                    <a:pt x="426" y="393"/>
                  </a:lnTo>
                  <a:lnTo>
                    <a:pt x="422" y="396"/>
                  </a:lnTo>
                  <a:lnTo>
                    <a:pt x="418" y="399"/>
                  </a:lnTo>
                  <a:lnTo>
                    <a:pt x="411" y="406"/>
                  </a:lnTo>
                  <a:lnTo>
                    <a:pt x="408" y="409"/>
                  </a:lnTo>
                  <a:lnTo>
                    <a:pt x="405" y="413"/>
                  </a:lnTo>
                  <a:lnTo>
                    <a:pt x="402" y="418"/>
                  </a:lnTo>
                  <a:lnTo>
                    <a:pt x="400" y="422"/>
                  </a:lnTo>
                  <a:lnTo>
                    <a:pt x="399" y="427"/>
                  </a:lnTo>
                  <a:lnTo>
                    <a:pt x="398" y="431"/>
                  </a:lnTo>
                  <a:lnTo>
                    <a:pt x="398" y="436"/>
                  </a:lnTo>
                  <a:lnTo>
                    <a:pt x="399" y="440"/>
                  </a:lnTo>
                  <a:lnTo>
                    <a:pt x="399" y="444"/>
                  </a:lnTo>
                  <a:lnTo>
                    <a:pt x="401" y="448"/>
                  </a:lnTo>
                  <a:lnTo>
                    <a:pt x="404" y="456"/>
                  </a:lnTo>
                  <a:lnTo>
                    <a:pt x="408" y="464"/>
                  </a:lnTo>
                  <a:lnTo>
                    <a:pt x="414" y="472"/>
                  </a:lnTo>
                  <a:lnTo>
                    <a:pt x="419" y="479"/>
                  </a:lnTo>
                  <a:lnTo>
                    <a:pt x="423" y="485"/>
                  </a:lnTo>
                  <a:lnTo>
                    <a:pt x="427" y="491"/>
                  </a:lnTo>
                  <a:lnTo>
                    <a:pt x="430" y="497"/>
                  </a:lnTo>
                  <a:lnTo>
                    <a:pt x="431" y="500"/>
                  </a:lnTo>
                  <a:lnTo>
                    <a:pt x="431" y="503"/>
                  </a:lnTo>
                  <a:lnTo>
                    <a:pt x="431" y="505"/>
                  </a:lnTo>
                  <a:lnTo>
                    <a:pt x="430" y="508"/>
                  </a:lnTo>
                  <a:lnTo>
                    <a:pt x="429" y="510"/>
                  </a:lnTo>
                  <a:lnTo>
                    <a:pt x="427" y="513"/>
                  </a:lnTo>
                  <a:lnTo>
                    <a:pt x="424" y="515"/>
                  </a:lnTo>
                  <a:lnTo>
                    <a:pt x="420" y="517"/>
                  </a:lnTo>
                  <a:lnTo>
                    <a:pt x="416" y="519"/>
                  </a:lnTo>
                  <a:lnTo>
                    <a:pt x="410" y="521"/>
                  </a:lnTo>
                  <a:lnTo>
                    <a:pt x="142" y="521"/>
                  </a:lnTo>
                  <a:lnTo>
                    <a:pt x="142" y="326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219" y="2020"/>
              <a:ext cx="677" cy="521"/>
            </a:xfrm>
            <a:custGeom>
              <a:avLst/>
              <a:gdLst>
                <a:gd name="T0" fmla="*/ 675 w 677"/>
                <a:gd name="T1" fmla="*/ 195 h 521"/>
                <a:gd name="T2" fmla="*/ 669 w 677"/>
                <a:gd name="T3" fmla="*/ 207 h 521"/>
                <a:gd name="T4" fmla="*/ 661 w 677"/>
                <a:gd name="T5" fmla="*/ 213 h 521"/>
                <a:gd name="T6" fmla="*/ 650 w 677"/>
                <a:gd name="T7" fmla="*/ 212 h 521"/>
                <a:gd name="T8" fmla="*/ 634 w 677"/>
                <a:gd name="T9" fmla="*/ 202 h 521"/>
                <a:gd name="T10" fmla="*/ 615 w 677"/>
                <a:gd name="T11" fmla="*/ 188 h 521"/>
                <a:gd name="T12" fmla="*/ 601 w 677"/>
                <a:gd name="T13" fmla="*/ 183 h 521"/>
                <a:gd name="T14" fmla="*/ 589 w 677"/>
                <a:gd name="T15" fmla="*/ 181 h 521"/>
                <a:gd name="T16" fmla="*/ 578 w 677"/>
                <a:gd name="T17" fmla="*/ 183 h 521"/>
                <a:gd name="T18" fmla="*/ 566 w 677"/>
                <a:gd name="T19" fmla="*/ 189 h 521"/>
                <a:gd name="T20" fmla="*/ 556 w 677"/>
                <a:gd name="T21" fmla="*/ 197 h 521"/>
                <a:gd name="T22" fmla="*/ 542 w 677"/>
                <a:gd name="T23" fmla="*/ 222 h 521"/>
                <a:gd name="T24" fmla="*/ 537 w 677"/>
                <a:gd name="T25" fmla="*/ 241 h 521"/>
                <a:gd name="T26" fmla="*/ 535 w 677"/>
                <a:gd name="T27" fmla="*/ 272 h 521"/>
                <a:gd name="T28" fmla="*/ 539 w 677"/>
                <a:gd name="T29" fmla="*/ 293 h 521"/>
                <a:gd name="T30" fmla="*/ 548 w 677"/>
                <a:gd name="T31" fmla="*/ 311 h 521"/>
                <a:gd name="T32" fmla="*/ 562 w 677"/>
                <a:gd name="T33" fmla="*/ 330 h 521"/>
                <a:gd name="T34" fmla="*/ 577 w 677"/>
                <a:gd name="T35" fmla="*/ 338 h 521"/>
                <a:gd name="T36" fmla="*/ 590 w 677"/>
                <a:gd name="T37" fmla="*/ 340 h 521"/>
                <a:gd name="T38" fmla="*/ 603 w 677"/>
                <a:gd name="T39" fmla="*/ 337 h 521"/>
                <a:gd name="T40" fmla="*/ 619 w 677"/>
                <a:gd name="T41" fmla="*/ 329 h 521"/>
                <a:gd name="T42" fmla="*/ 650 w 677"/>
                <a:gd name="T43" fmla="*/ 307 h 521"/>
                <a:gd name="T44" fmla="*/ 658 w 677"/>
                <a:gd name="T45" fmla="*/ 305 h 521"/>
                <a:gd name="T46" fmla="*/ 666 w 677"/>
                <a:gd name="T47" fmla="*/ 307 h 521"/>
                <a:gd name="T48" fmla="*/ 673 w 677"/>
                <a:gd name="T49" fmla="*/ 316 h 521"/>
                <a:gd name="T50" fmla="*/ 405 w 677"/>
                <a:gd name="T51" fmla="*/ 521 h 521"/>
                <a:gd name="T52" fmla="*/ 388 w 677"/>
                <a:gd name="T53" fmla="*/ 512 h 521"/>
                <a:gd name="T54" fmla="*/ 383 w 677"/>
                <a:gd name="T55" fmla="*/ 505 h 521"/>
                <a:gd name="T56" fmla="*/ 385 w 677"/>
                <a:gd name="T57" fmla="*/ 494 h 521"/>
                <a:gd name="T58" fmla="*/ 406 w 677"/>
                <a:gd name="T59" fmla="*/ 462 h 521"/>
                <a:gd name="T60" fmla="*/ 416 w 677"/>
                <a:gd name="T61" fmla="*/ 440 h 521"/>
                <a:gd name="T62" fmla="*/ 417 w 677"/>
                <a:gd name="T63" fmla="*/ 428 h 521"/>
                <a:gd name="T64" fmla="*/ 414 w 677"/>
                <a:gd name="T65" fmla="*/ 417 h 521"/>
                <a:gd name="T66" fmla="*/ 407 w 677"/>
                <a:gd name="T67" fmla="*/ 405 h 521"/>
                <a:gd name="T68" fmla="*/ 392 w 677"/>
                <a:gd name="T69" fmla="*/ 392 h 521"/>
                <a:gd name="T70" fmla="*/ 377 w 677"/>
                <a:gd name="T71" fmla="*/ 385 h 521"/>
                <a:gd name="T72" fmla="*/ 355 w 677"/>
                <a:gd name="T73" fmla="*/ 380 h 521"/>
                <a:gd name="T74" fmla="*/ 325 w 677"/>
                <a:gd name="T75" fmla="*/ 380 h 521"/>
                <a:gd name="T76" fmla="*/ 296 w 677"/>
                <a:gd name="T77" fmla="*/ 387 h 521"/>
                <a:gd name="T78" fmla="*/ 281 w 677"/>
                <a:gd name="T79" fmla="*/ 396 h 521"/>
                <a:gd name="T80" fmla="*/ 269 w 677"/>
                <a:gd name="T81" fmla="*/ 408 h 521"/>
                <a:gd name="T82" fmla="*/ 261 w 677"/>
                <a:gd name="T83" fmla="*/ 422 h 521"/>
                <a:gd name="T84" fmla="*/ 259 w 677"/>
                <a:gd name="T85" fmla="*/ 435 h 521"/>
                <a:gd name="T86" fmla="*/ 262 w 677"/>
                <a:gd name="T87" fmla="*/ 447 h 521"/>
                <a:gd name="T88" fmla="*/ 274 w 677"/>
                <a:gd name="T89" fmla="*/ 471 h 521"/>
                <a:gd name="T90" fmla="*/ 288 w 677"/>
                <a:gd name="T91" fmla="*/ 491 h 521"/>
                <a:gd name="T92" fmla="*/ 291 w 677"/>
                <a:gd name="T93" fmla="*/ 502 h 521"/>
                <a:gd name="T94" fmla="*/ 289 w 677"/>
                <a:gd name="T95" fmla="*/ 510 h 521"/>
                <a:gd name="T96" fmla="*/ 280 w 677"/>
                <a:gd name="T97" fmla="*/ 516 h 521"/>
                <a:gd name="T98" fmla="*/ 0 w 677"/>
                <a:gd name="T99" fmla="*/ 521 h 52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7"/>
                <a:gd name="T151" fmla="*/ 0 h 521"/>
                <a:gd name="T152" fmla="*/ 677 w 677"/>
                <a:gd name="T153" fmla="*/ 521 h 52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7" h="521">
                  <a:moveTo>
                    <a:pt x="677" y="0"/>
                  </a:moveTo>
                  <a:lnTo>
                    <a:pt x="677" y="192"/>
                  </a:lnTo>
                  <a:lnTo>
                    <a:pt x="675" y="195"/>
                  </a:lnTo>
                  <a:lnTo>
                    <a:pt x="674" y="200"/>
                  </a:lnTo>
                  <a:lnTo>
                    <a:pt x="671" y="205"/>
                  </a:lnTo>
                  <a:lnTo>
                    <a:pt x="669" y="207"/>
                  </a:lnTo>
                  <a:lnTo>
                    <a:pt x="668" y="209"/>
                  </a:lnTo>
                  <a:lnTo>
                    <a:pt x="665" y="212"/>
                  </a:lnTo>
                  <a:lnTo>
                    <a:pt x="661" y="213"/>
                  </a:lnTo>
                  <a:lnTo>
                    <a:pt x="657" y="214"/>
                  </a:lnTo>
                  <a:lnTo>
                    <a:pt x="654" y="213"/>
                  </a:lnTo>
                  <a:lnTo>
                    <a:pt x="650" y="212"/>
                  </a:lnTo>
                  <a:lnTo>
                    <a:pt x="646" y="210"/>
                  </a:lnTo>
                  <a:lnTo>
                    <a:pt x="642" y="208"/>
                  </a:lnTo>
                  <a:lnTo>
                    <a:pt x="634" y="202"/>
                  </a:lnTo>
                  <a:lnTo>
                    <a:pt x="627" y="196"/>
                  </a:lnTo>
                  <a:lnTo>
                    <a:pt x="620" y="191"/>
                  </a:lnTo>
                  <a:lnTo>
                    <a:pt x="615" y="188"/>
                  </a:lnTo>
                  <a:lnTo>
                    <a:pt x="610" y="186"/>
                  </a:lnTo>
                  <a:lnTo>
                    <a:pt x="606" y="184"/>
                  </a:lnTo>
                  <a:lnTo>
                    <a:pt x="601" y="183"/>
                  </a:lnTo>
                  <a:lnTo>
                    <a:pt x="597" y="182"/>
                  </a:lnTo>
                  <a:lnTo>
                    <a:pt x="593" y="181"/>
                  </a:lnTo>
                  <a:lnTo>
                    <a:pt x="589" y="181"/>
                  </a:lnTo>
                  <a:lnTo>
                    <a:pt x="586" y="182"/>
                  </a:lnTo>
                  <a:lnTo>
                    <a:pt x="582" y="182"/>
                  </a:lnTo>
                  <a:lnTo>
                    <a:pt x="578" y="183"/>
                  </a:lnTo>
                  <a:lnTo>
                    <a:pt x="574" y="185"/>
                  </a:lnTo>
                  <a:lnTo>
                    <a:pt x="570" y="187"/>
                  </a:lnTo>
                  <a:lnTo>
                    <a:pt x="566" y="189"/>
                  </a:lnTo>
                  <a:lnTo>
                    <a:pt x="562" y="191"/>
                  </a:lnTo>
                  <a:lnTo>
                    <a:pt x="559" y="194"/>
                  </a:lnTo>
                  <a:lnTo>
                    <a:pt x="556" y="197"/>
                  </a:lnTo>
                  <a:lnTo>
                    <a:pt x="551" y="205"/>
                  </a:lnTo>
                  <a:lnTo>
                    <a:pt x="546" y="213"/>
                  </a:lnTo>
                  <a:lnTo>
                    <a:pt x="542" y="222"/>
                  </a:lnTo>
                  <a:lnTo>
                    <a:pt x="539" y="231"/>
                  </a:lnTo>
                  <a:lnTo>
                    <a:pt x="538" y="236"/>
                  </a:lnTo>
                  <a:lnTo>
                    <a:pt x="537" y="241"/>
                  </a:lnTo>
                  <a:lnTo>
                    <a:pt x="535" y="252"/>
                  </a:lnTo>
                  <a:lnTo>
                    <a:pt x="535" y="262"/>
                  </a:lnTo>
                  <a:lnTo>
                    <a:pt x="535" y="272"/>
                  </a:lnTo>
                  <a:lnTo>
                    <a:pt x="536" y="278"/>
                  </a:lnTo>
                  <a:lnTo>
                    <a:pt x="537" y="283"/>
                  </a:lnTo>
                  <a:lnTo>
                    <a:pt x="539" y="293"/>
                  </a:lnTo>
                  <a:lnTo>
                    <a:pt x="543" y="302"/>
                  </a:lnTo>
                  <a:lnTo>
                    <a:pt x="545" y="307"/>
                  </a:lnTo>
                  <a:lnTo>
                    <a:pt x="548" y="311"/>
                  </a:lnTo>
                  <a:lnTo>
                    <a:pt x="552" y="318"/>
                  </a:lnTo>
                  <a:lnTo>
                    <a:pt x="557" y="324"/>
                  </a:lnTo>
                  <a:lnTo>
                    <a:pt x="562" y="330"/>
                  </a:lnTo>
                  <a:lnTo>
                    <a:pt x="569" y="334"/>
                  </a:lnTo>
                  <a:lnTo>
                    <a:pt x="573" y="337"/>
                  </a:lnTo>
                  <a:lnTo>
                    <a:pt x="577" y="338"/>
                  </a:lnTo>
                  <a:lnTo>
                    <a:pt x="582" y="340"/>
                  </a:lnTo>
                  <a:lnTo>
                    <a:pt x="586" y="340"/>
                  </a:lnTo>
                  <a:lnTo>
                    <a:pt x="590" y="340"/>
                  </a:lnTo>
                  <a:lnTo>
                    <a:pt x="595" y="340"/>
                  </a:lnTo>
                  <a:lnTo>
                    <a:pt x="599" y="339"/>
                  </a:lnTo>
                  <a:lnTo>
                    <a:pt x="603" y="337"/>
                  </a:lnTo>
                  <a:lnTo>
                    <a:pt x="607" y="336"/>
                  </a:lnTo>
                  <a:lnTo>
                    <a:pt x="611" y="334"/>
                  </a:lnTo>
                  <a:lnTo>
                    <a:pt x="619" y="329"/>
                  </a:lnTo>
                  <a:lnTo>
                    <a:pt x="633" y="317"/>
                  </a:lnTo>
                  <a:lnTo>
                    <a:pt x="647" y="308"/>
                  </a:lnTo>
                  <a:lnTo>
                    <a:pt x="650" y="307"/>
                  </a:lnTo>
                  <a:lnTo>
                    <a:pt x="653" y="306"/>
                  </a:lnTo>
                  <a:lnTo>
                    <a:pt x="656" y="305"/>
                  </a:lnTo>
                  <a:lnTo>
                    <a:pt x="658" y="305"/>
                  </a:lnTo>
                  <a:lnTo>
                    <a:pt x="661" y="305"/>
                  </a:lnTo>
                  <a:lnTo>
                    <a:pt x="664" y="306"/>
                  </a:lnTo>
                  <a:lnTo>
                    <a:pt x="666" y="307"/>
                  </a:lnTo>
                  <a:lnTo>
                    <a:pt x="668" y="309"/>
                  </a:lnTo>
                  <a:lnTo>
                    <a:pt x="671" y="312"/>
                  </a:lnTo>
                  <a:lnTo>
                    <a:pt x="673" y="316"/>
                  </a:lnTo>
                  <a:lnTo>
                    <a:pt x="677" y="327"/>
                  </a:lnTo>
                  <a:lnTo>
                    <a:pt x="677" y="521"/>
                  </a:lnTo>
                  <a:lnTo>
                    <a:pt x="405" y="521"/>
                  </a:lnTo>
                  <a:lnTo>
                    <a:pt x="398" y="518"/>
                  </a:lnTo>
                  <a:lnTo>
                    <a:pt x="392" y="515"/>
                  </a:lnTo>
                  <a:lnTo>
                    <a:pt x="388" y="512"/>
                  </a:lnTo>
                  <a:lnTo>
                    <a:pt x="386" y="510"/>
                  </a:lnTo>
                  <a:lnTo>
                    <a:pt x="385" y="509"/>
                  </a:lnTo>
                  <a:lnTo>
                    <a:pt x="383" y="505"/>
                  </a:lnTo>
                  <a:lnTo>
                    <a:pt x="383" y="501"/>
                  </a:lnTo>
                  <a:lnTo>
                    <a:pt x="383" y="498"/>
                  </a:lnTo>
                  <a:lnTo>
                    <a:pt x="385" y="494"/>
                  </a:lnTo>
                  <a:lnTo>
                    <a:pt x="390" y="485"/>
                  </a:lnTo>
                  <a:lnTo>
                    <a:pt x="396" y="476"/>
                  </a:lnTo>
                  <a:lnTo>
                    <a:pt x="406" y="462"/>
                  </a:lnTo>
                  <a:lnTo>
                    <a:pt x="411" y="454"/>
                  </a:lnTo>
                  <a:lnTo>
                    <a:pt x="414" y="446"/>
                  </a:lnTo>
                  <a:lnTo>
                    <a:pt x="416" y="440"/>
                  </a:lnTo>
                  <a:lnTo>
                    <a:pt x="417" y="437"/>
                  </a:lnTo>
                  <a:lnTo>
                    <a:pt x="417" y="434"/>
                  </a:lnTo>
                  <a:lnTo>
                    <a:pt x="417" y="428"/>
                  </a:lnTo>
                  <a:lnTo>
                    <a:pt x="416" y="421"/>
                  </a:lnTo>
                  <a:lnTo>
                    <a:pt x="415" y="419"/>
                  </a:lnTo>
                  <a:lnTo>
                    <a:pt x="414" y="417"/>
                  </a:lnTo>
                  <a:lnTo>
                    <a:pt x="412" y="413"/>
                  </a:lnTo>
                  <a:lnTo>
                    <a:pt x="410" y="409"/>
                  </a:lnTo>
                  <a:lnTo>
                    <a:pt x="407" y="405"/>
                  </a:lnTo>
                  <a:lnTo>
                    <a:pt x="404" y="401"/>
                  </a:lnTo>
                  <a:lnTo>
                    <a:pt x="400" y="398"/>
                  </a:lnTo>
                  <a:lnTo>
                    <a:pt x="392" y="392"/>
                  </a:lnTo>
                  <a:lnTo>
                    <a:pt x="387" y="390"/>
                  </a:lnTo>
                  <a:lnTo>
                    <a:pt x="382" y="387"/>
                  </a:lnTo>
                  <a:lnTo>
                    <a:pt x="377" y="385"/>
                  </a:lnTo>
                  <a:lnTo>
                    <a:pt x="372" y="384"/>
                  </a:lnTo>
                  <a:lnTo>
                    <a:pt x="361" y="381"/>
                  </a:lnTo>
                  <a:lnTo>
                    <a:pt x="355" y="380"/>
                  </a:lnTo>
                  <a:lnTo>
                    <a:pt x="349" y="379"/>
                  </a:lnTo>
                  <a:lnTo>
                    <a:pt x="337" y="379"/>
                  </a:lnTo>
                  <a:lnTo>
                    <a:pt x="325" y="380"/>
                  </a:lnTo>
                  <a:lnTo>
                    <a:pt x="313" y="382"/>
                  </a:lnTo>
                  <a:lnTo>
                    <a:pt x="301" y="385"/>
                  </a:lnTo>
                  <a:lnTo>
                    <a:pt x="296" y="387"/>
                  </a:lnTo>
                  <a:lnTo>
                    <a:pt x="291" y="390"/>
                  </a:lnTo>
                  <a:lnTo>
                    <a:pt x="286" y="393"/>
                  </a:lnTo>
                  <a:lnTo>
                    <a:pt x="281" y="396"/>
                  </a:lnTo>
                  <a:lnTo>
                    <a:pt x="277" y="399"/>
                  </a:lnTo>
                  <a:lnTo>
                    <a:pt x="273" y="403"/>
                  </a:lnTo>
                  <a:lnTo>
                    <a:pt x="269" y="408"/>
                  </a:lnTo>
                  <a:lnTo>
                    <a:pt x="266" y="412"/>
                  </a:lnTo>
                  <a:lnTo>
                    <a:pt x="263" y="417"/>
                  </a:lnTo>
                  <a:lnTo>
                    <a:pt x="261" y="422"/>
                  </a:lnTo>
                  <a:lnTo>
                    <a:pt x="260" y="426"/>
                  </a:lnTo>
                  <a:lnTo>
                    <a:pt x="259" y="431"/>
                  </a:lnTo>
                  <a:lnTo>
                    <a:pt x="259" y="435"/>
                  </a:lnTo>
                  <a:lnTo>
                    <a:pt x="260" y="439"/>
                  </a:lnTo>
                  <a:lnTo>
                    <a:pt x="260" y="443"/>
                  </a:lnTo>
                  <a:lnTo>
                    <a:pt x="262" y="447"/>
                  </a:lnTo>
                  <a:lnTo>
                    <a:pt x="265" y="455"/>
                  </a:lnTo>
                  <a:lnTo>
                    <a:pt x="269" y="464"/>
                  </a:lnTo>
                  <a:lnTo>
                    <a:pt x="274" y="471"/>
                  </a:lnTo>
                  <a:lnTo>
                    <a:pt x="279" y="478"/>
                  </a:lnTo>
                  <a:lnTo>
                    <a:pt x="284" y="485"/>
                  </a:lnTo>
                  <a:lnTo>
                    <a:pt x="288" y="491"/>
                  </a:lnTo>
                  <a:lnTo>
                    <a:pt x="290" y="497"/>
                  </a:lnTo>
                  <a:lnTo>
                    <a:pt x="291" y="500"/>
                  </a:lnTo>
                  <a:lnTo>
                    <a:pt x="291" y="502"/>
                  </a:lnTo>
                  <a:lnTo>
                    <a:pt x="291" y="505"/>
                  </a:lnTo>
                  <a:lnTo>
                    <a:pt x="290" y="507"/>
                  </a:lnTo>
                  <a:lnTo>
                    <a:pt x="289" y="510"/>
                  </a:lnTo>
                  <a:lnTo>
                    <a:pt x="286" y="512"/>
                  </a:lnTo>
                  <a:lnTo>
                    <a:pt x="284" y="514"/>
                  </a:lnTo>
                  <a:lnTo>
                    <a:pt x="280" y="516"/>
                  </a:lnTo>
                  <a:lnTo>
                    <a:pt x="276" y="518"/>
                  </a:lnTo>
                  <a:lnTo>
                    <a:pt x="270" y="520"/>
                  </a:lnTo>
                  <a:lnTo>
                    <a:pt x="0" y="521"/>
                  </a:lnTo>
                  <a:lnTo>
                    <a:pt x="0" y="0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220" y="3446"/>
              <a:ext cx="676" cy="663"/>
            </a:xfrm>
            <a:custGeom>
              <a:avLst/>
              <a:gdLst>
                <a:gd name="T0" fmla="*/ 289 w 676"/>
                <a:gd name="T1" fmla="*/ 135 h 663"/>
                <a:gd name="T2" fmla="*/ 295 w 676"/>
                <a:gd name="T3" fmla="*/ 128 h 663"/>
                <a:gd name="T4" fmla="*/ 296 w 676"/>
                <a:gd name="T5" fmla="*/ 121 h 663"/>
                <a:gd name="T6" fmla="*/ 291 w 676"/>
                <a:gd name="T7" fmla="*/ 110 h 663"/>
                <a:gd name="T8" fmla="*/ 278 w 676"/>
                <a:gd name="T9" fmla="*/ 90 h 663"/>
                <a:gd name="T10" fmla="*/ 268 w 676"/>
                <a:gd name="T11" fmla="*/ 71 h 663"/>
                <a:gd name="T12" fmla="*/ 265 w 676"/>
                <a:gd name="T13" fmla="*/ 59 h 663"/>
                <a:gd name="T14" fmla="*/ 265 w 676"/>
                <a:gd name="T15" fmla="*/ 47 h 663"/>
                <a:gd name="T16" fmla="*/ 271 w 676"/>
                <a:gd name="T17" fmla="*/ 33 h 663"/>
                <a:gd name="T18" fmla="*/ 280 w 676"/>
                <a:gd name="T19" fmla="*/ 22 h 663"/>
                <a:gd name="T20" fmla="*/ 300 w 676"/>
                <a:gd name="T21" fmla="*/ 9 h 663"/>
                <a:gd name="T22" fmla="*/ 321 w 676"/>
                <a:gd name="T23" fmla="*/ 2 h 663"/>
                <a:gd name="T24" fmla="*/ 353 w 676"/>
                <a:gd name="T25" fmla="*/ 0 h 663"/>
                <a:gd name="T26" fmla="*/ 384 w 676"/>
                <a:gd name="T27" fmla="*/ 7 h 663"/>
                <a:gd name="T28" fmla="*/ 398 w 676"/>
                <a:gd name="T29" fmla="*/ 14 h 663"/>
                <a:gd name="T30" fmla="*/ 409 w 676"/>
                <a:gd name="T31" fmla="*/ 24 h 663"/>
                <a:gd name="T32" fmla="*/ 419 w 676"/>
                <a:gd name="T33" fmla="*/ 37 h 663"/>
                <a:gd name="T34" fmla="*/ 422 w 676"/>
                <a:gd name="T35" fmla="*/ 49 h 663"/>
                <a:gd name="T36" fmla="*/ 421 w 676"/>
                <a:gd name="T37" fmla="*/ 61 h 663"/>
                <a:gd name="T38" fmla="*/ 417 w 676"/>
                <a:gd name="T39" fmla="*/ 73 h 663"/>
                <a:gd name="T40" fmla="*/ 393 w 676"/>
                <a:gd name="T41" fmla="*/ 109 h 663"/>
                <a:gd name="T42" fmla="*/ 389 w 676"/>
                <a:gd name="T43" fmla="*/ 118 h 663"/>
                <a:gd name="T44" fmla="*/ 389 w 676"/>
                <a:gd name="T45" fmla="*/ 128 h 663"/>
                <a:gd name="T46" fmla="*/ 395 w 676"/>
                <a:gd name="T47" fmla="*/ 135 h 663"/>
                <a:gd name="T48" fmla="*/ 676 w 676"/>
                <a:gd name="T49" fmla="*/ 139 h 663"/>
                <a:gd name="T50" fmla="*/ 671 w 676"/>
                <a:gd name="T51" fmla="*/ 347 h 663"/>
                <a:gd name="T52" fmla="*/ 664 w 676"/>
                <a:gd name="T53" fmla="*/ 352 h 663"/>
                <a:gd name="T54" fmla="*/ 654 w 676"/>
                <a:gd name="T55" fmla="*/ 353 h 663"/>
                <a:gd name="T56" fmla="*/ 643 w 676"/>
                <a:gd name="T57" fmla="*/ 348 h 663"/>
                <a:gd name="T58" fmla="*/ 621 w 676"/>
                <a:gd name="T59" fmla="*/ 331 h 663"/>
                <a:gd name="T60" fmla="*/ 606 w 676"/>
                <a:gd name="T61" fmla="*/ 324 h 663"/>
                <a:gd name="T62" fmla="*/ 594 w 676"/>
                <a:gd name="T63" fmla="*/ 322 h 663"/>
                <a:gd name="T64" fmla="*/ 582 w 676"/>
                <a:gd name="T65" fmla="*/ 323 h 663"/>
                <a:gd name="T66" fmla="*/ 571 w 676"/>
                <a:gd name="T67" fmla="*/ 327 h 663"/>
                <a:gd name="T68" fmla="*/ 560 w 676"/>
                <a:gd name="T69" fmla="*/ 335 h 663"/>
                <a:gd name="T70" fmla="*/ 547 w 676"/>
                <a:gd name="T71" fmla="*/ 354 h 663"/>
                <a:gd name="T72" fmla="*/ 538 w 676"/>
                <a:gd name="T73" fmla="*/ 377 h 663"/>
                <a:gd name="T74" fmla="*/ 535 w 676"/>
                <a:gd name="T75" fmla="*/ 402 h 663"/>
                <a:gd name="T76" fmla="*/ 537 w 676"/>
                <a:gd name="T77" fmla="*/ 423 h 663"/>
                <a:gd name="T78" fmla="*/ 546 w 676"/>
                <a:gd name="T79" fmla="*/ 447 h 663"/>
                <a:gd name="T80" fmla="*/ 557 w 676"/>
                <a:gd name="T81" fmla="*/ 464 h 663"/>
                <a:gd name="T82" fmla="*/ 574 w 676"/>
                <a:gd name="T83" fmla="*/ 477 h 663"/>
                <a:gd name="T84" fmla="*/ 586 w 676"/>
                <a:gd name="T85" fmla="*/ 481 h 663"/>
                <a:gd name="T86" fmla="*/ 599 w 676"/>
                <a:gd name="T87" fmla="*/ 479 h 663"/>
                <a:gd name="T88" fmla="*/ 618 w 676"/>
                <a:gd name="T89" fmla="*/ 470 h 663"/>
                <a:gd name="T90" fmla="*/ 646 w 676"/>
                <a:gd name="T91" fmla="*/ 449 h 663"/>
                <a:gd name="T92" fmla="*/ 661 w 676"/>
                <a:gd name="T93" fmla="*/ 445 h 663"/>
                <a:gd name="T94" fmla="*/ 668 w 676"/>
                <a:gd name="T95" fmla="*/ 449 h 663"/>
                <a:gd name="T96" fmla="*/ 674 w 676"/>
                <a:gd name="T97" fmla="*/ 459 h 663"/>
                <a:gd name="T98" fmla="*/ 0 w 676"/>
                <a:gd name="T99" fmla="*/ 663 h 66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6"/>
                <a:gd name="T151" fmla="*/ 0 h 663"/>
                <a:gd name="T152" fmla="*/ 676 w 676"/>
                <a:gd name="T153" fmla="*/ 663 h 66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6" h="663">
                  <a:moveTo>
                    <a:pt x="282" y="139"/>
                  </a:moveTo>
                  <a:lnTo>
                    <a:pt x="286" y="137"/>
                  </a:lnTo>
                  <a:lnTo>
                    <a:pt x="289" y="135"/>
                  </a:lnTo>
                  <a:lnTo>
                    <a:pt x="292" y="133"/>
                  </a:lnTo>
                  <a:lnTo>
                    <a:pt x="294" y="131"/>
                  </a:lnTo>
                  <a:lnTo>
                    <a:pt x="295" y="128"/>
                  </a:lnTo>
                  <a:lnTo>
                    <a:pt x="296" y="127"/>
                  </a:lnTo>
                  <a:lnTo>
                    <a:pt x="296" y="126"/>
                  </a:lnTo>
                  <a:lnTo>
                    <a:pt x="296" y="121"/>
                  </a:lnTo>
                  <a:lnTo>
                    <a:pt x="295" y="118"/>
                  </a:lnTo>
                  <a:lnTo>
                    <a:pt x="294" y="115"/>
                  </a:lnTo>
                  <a:lnTo>
                    <a:pt x="291" y="110"/>
                  </a:lnTo>
                  <a:lnTo>
                    <a:pt x="288" y="104"/>
                  </a:lnTo>
                  <a:lnTo>
                    <a:pt x="283" y="97"/>
                  </a:lnTo>
                  <a:lnTo>
                    <a:pt x="278" y="90"/>
                  </a:lnTo>
                  <a:lnTo>
                    <a:pt x="274" y="83"/>
                  </a:lnTo>
                  <a:lnTo>
                    <a:pt x="270" y="75"/>
                  </a:lnTo>
                  <a:lnTo>
                    <a:pt x="268" y="71"/>
                  </a:lnTo>
                  <a:lnTo>
                    <a:pt x="266" y="67"/>
                  </a:lnTo>
                  <a:lnTo>
                    <a:pt x="265" y="63"/>
                  </a:lnTo>
                  <a:lnTo>
                    <a:pt x="265" y="59"/>
                  </a:lnTo>
                  <a:lnTo>
                    <a:pt x="264" y="55"/>
                  </a:lnTo>
                  <a:lnTo>
                    <a:pt x="265" y="51"/>
                  </a:lnTo>
                  <a:lnTo>
                    <a:pt x="265" y="47"/>
                  </a:lnTo>
                  <a:lnTo>
                    <a:pt x="267" y="42"/>
                  </a:lnTo>
                  <a:lnTo>
                    <a:pt x="268" y="38"/>
                  </a:lnTo>
                  <a:lnTo>
                    <a:pt x="271" y="33"/>
                  </a:lnTo>
                  <a:lnTo>
                    <a:pt x="274" y="29"/>
                  </a:lnTo>
                  <a:lnTo>
                    <a:pt x="277" y="26"/>
                  </a:lnTo>
                  <a:lnTo>
                    <a:pt x="280" y="22"/>
                  </a:lnTo>
                  <a:lnTo>
                    <a:pt x="284" y="19"/>
                  </a:lnTo>
                  <a:lnTo>
                    <a:pt x="292" y="14"/>
                  </a:lnTo>
                  <a:lnTo>
                    <a:pt x="300" y="9"/>
                  </a:lnTo>
                  <a:lnTo>
                    <a:pt x="305" y="7"/>
                  </a:lnTo>
                  <a:lnTo>
                    <a:pt x="310" y="5"/>
                  </a:lnTo>
                  <a:lnTo>
                    <a:pt x="321" y="2"/>
                  </a:lnTo>
                  <a:lnTo>
                    <a:pt x="331" y="1"/>
                  </a:lnTo>
                  <a:lnTo>
                    <a:pt x="342" y="0"/>
                  </a:lnTo>
                  <a:lnTo>
                    <a:pt x="353" y="0"/>
                  </a:lnTo>
                  <a:lnTo>
                    <a:pt x="364" y="1"/>
                  </a:lnTo>
                  <a:lnTo>
                    <a:pt x="374" y="4"/>
                  </a:lnTo>
                  <a:lnTo>
                    <a:pt x="384" y="7"/>
                  </a:lnTo>
                  <a:lnTo>
                    <a:pt x="389" y="9"/>
                  </a:lnTo>
                  <a:lnTo>
                    <a:pt x="393" y="12"/>
                  </a:lnTo>
                  <a:lnTo>
                    <a:pt x="398" y="14"/>
                  </a:lnTo>
                  <a:lnTo>
                    <a:pt x="402" y="17"/>
                  </a:lnTo>
                  <a:lnTo>
                    <a:pt x="406" y="21"/>
                  </a:lnTo>
                  <a:lnTo>
                    <a:pt x="409" y="24"/>
                  </a:lnTo>
                  <a:lnTo>
                    <a:pt x="413" y="28"/>
                  </a:lnTo>
                  <a:lnTo>
                    <a:pt x="416" y="32"/>
                  </a:lnTo>
                  <a:lnTo>
                    <a:pt x="419" y="37"/>
                  </a:lnTo>
                  <a:lnTo>
                    <a:pt x="420" y="41"/>
                  </a:lnTo>
                  <a:lnTo>
                    <a:pt x="422" y="45"/>
                  </a:lnTo>
                  <a:lnTo>
                    <a:pt x="422" y="49"/>
                  </a:lnTo>
                  <a:lnTo>
                    <a:pt x="422" y="53"/>
                  </a:lnTo>
                  <a:lnTo>
                    <a:pt x="422" y="57"/>
                  </a:lnTo>
                  <a:lnTo>
                    <a:pt x="421" y="61"/>
                  </a:lnTo>
                  <a:lnTo>
                    <a:pt x="420" y="65"/>
                  </a:lnTo>
                  <a:lnTo>
                    <a:pt x="418" y="69"/>
                  </a:lnTo>
                  <a:lnTo>
                    <a:pt x="417" y="73"/>
                  </a:lnTo>
                  <a:lnTo>
                    <a:pt x="412" y="81"/>
                  </a:lnTo>
                  <a:lnTo>
                    <a:pt x="402" y="96"/>
                  </a:lnTo>
                  <a:lnTo>
                    <a:pt x="393" y="109"/>
                  </a:lnTo>
                  <a:lnTo>
                    <a:pt x="391" y="112"/>
                  </a:lnTo>
                  <a:lnTo>
                    <a:pt x="390" y="115"/>
                  </a:lnTo>
                  <a:lnTo>
                    <a:pt x="389" y="118"/>
                  </a:lnTo>
                  <a:lnTo>
                    <a:pt x="388" y="121"/>
                  </a:lnTo>
                  <a:lnTo>
                    <a:pt x="388" y="126"/>
                  </a:lnTo>
                  <a:lnTo>
                    <a:pt x="389" y="128"/>
                  </a:lnTo>
                  <a:lnTo>
                    <a:pt x="390" y="131"/>
                  </a:lnTo>
                  <a:lnTo>
                    <a:pt x="392" y="133"/>
                  </a:lnTo>
                  <a:lnTo>
                    <a:pt x="395" y="135"/>
                  </a:lnTo>
                  <a:lnTo>
                    <a:pt x="398" y="137"/>
                  </a:lnTo>
                  <a:lnTo>
                    <a:pt x="403" y="139"/>
                  </a:lnTo>
                  <a:lnTo>
                    <a:pt x="676" y="139"/>
                  </a:lnTo>
                  <a:lnTo>
                    <a:pt x="676" y="335"/>
                  </a:lnTo>
                  <a:lnTo>
                    <a:pt x="673" y="342"/>
                  </a:lnTo>
                  <a:lnTo>
                    <a:pt x="671" y="347"/>
                  </a:lnTo>
                  <a:lnTo>
                    <a:pt x="668" y="350"/>
                  </a:lnTo>
                  <a:lnTo>
                    <a:pt x="666" y="351"/>
                  </a:lnTo>
                  <a:lnTo>
                    <a:pt x="664" y="352"/>
                  </a:lnTo>
                  <a:lnTo>
                    <a:pt x="661" y="354"/>
                  </a:lnTo>
                  <a:lnTo>
                    <a:pt x="658" y="354"/>
                  </a:lnTo>
                  <a:lnTo>
                    <a:pt x="654" y="353"/>
                  </a:lnTo>
                  <a:lnTo>
                    <a:pt x="650" y="352"/>
                  </a:lnTo>
                  <a:lnTo>
                    <a:pt x="647" y="350"/>
                  </a:lnTo>
                  <a:lnTo>
                    <a:pt x="643" y="348"/>
                  </a:lnTo>
                  <a:lnTo>
                    <a:pt x="635" y="343"/>
                  </a:lnTo>
                  <a:lnTo>
                    <a:pt x="628" y="336"/>
                  </a:lnTo>
                  <a:lnTo>
                    <a:pt x="621" y="331"/>
                  </a:lnTo>
                  <a:lnTo>
                    <a:pt x="616" y="329"/>
                  </a:lnTo>
                  <a:lnTo>
                    <a:pt x="611" y="326"/>
                  </a:lnTo>
                  <a:lnTo>
                    <a:pt x="606" y="324"/>
                  </a:lnTo>
                  <a:lnTo>
                    <a:pt x="601" y="323"/>
                  </a:lnTo>
                  <a:lnTo>
                    <a:pt x="598" y="322"/>
                  </a:lnTo>
                  <a:lnTo>
                    <a:pt x="594" y="322"/>
                  </a:lnTo>
                  <a:lnTo>
                    <a:pt x="590" y="322"/>
                  </a:lnTo>
                  <a:lnTo>
                    <a:pt x="586" y="322"/>
                  </a:lnTo>
                  <a:lnTo>
                    <a:pt x="582" y="323"/>
                  </a:lnTo>
                  <a:lnTo>
                    <a:pt x="578" y="324"/>
                  </a:lnTo>
                  <a:lnTo>
                    <a:pt x="574" y="325"/>
                  </a:lnTo>
                  <a:lnTo>
                    <a:pt x="571" y="327"/>
                  </a:lnTo>
                  <a:lnTo>
                    <a:pt x="566" y="329"/>
                  </a:lnTo>
                  <a:lnTo>
                    <a:pt x="563" y="332"/>
                  </a:lnTo>
                  <a:lnTo>
                    <a:pt x="560" y="335"/>
                  </a:lnTo>
                  <a:lnTo>
                    <a:pt x="557" y="339"/>
                  </a:lnTo>
                  <a:lnTo>
                    <a:pt x="551" y="346"/>
                  </a:lnTo>
                  <a:lnTo>
                    <a:pt x="547" y="354"/>
                  </a:lnTo>
                  <a:lnTo>
                    <a:pt x="543" y="362"/>
                  </a:lnTo>
                  <a:lnTo>
                    <a:pt x="540" y="372"/>
                  </a:lnTo>
                  <a:lnTo>
                    <a:pt x="538" y="377"/>
                  </a:lnTo>
                  <a:lnTo>
                    <a:pt x="537" y="382"/>
                  </a:lnTo>
                  <a:lnTo>
                    <a:pt x="536" y="392"/>
                  </a:lnTo>
                  <a:lnTo>
                    <a:pt x="535" y="402"/>
                  </a:lnTo>
                  <a:lnTo>
                    <a:pt x="536" y="413"/>
                  </a:lnTo>
                  <a:lnTo>
                    <a:pt x="536" y="418"/>
                  </a:lnTo>
                  <a:lnTo>
                    <a:pt x="537" y="423"/>
                  </a:lnTo>
                  <a:lnTo>
                    <a:pt x="540" y="433"/>
                  </a:lnTo>
                  <a:lnTo>
                    <a:pt x="543" y="443"/>
                  </a:lnTo>
                  <a:lnTo>
                    <a:pt x="546" y="447"/>
                  </a:lnTo>
                  <a:lnTo>
                    <a:pt x="548" y="452"/>
                  </a:lnTo>
                  <a:lnTo>
                    <a:pt x="552" y="458"/>
                  </a:lnTo>
                  <a:lnTo>
                    <a:pt x="557" y="464"/>
                  </a:lnTo>
                  <a:lnTo>
                    <a:pt x="562" y="470"/>
                  </a:lnTo>
                  <a:lnTo>
                    <a:pt x="569" y="474"/>
                  </a:lnTo>
                  <a:lnTo>
                    <a:pt x="574" y="477"/>
                  </a:lnTo>
                  <a:lnTo>
                    <a:pt x="578" y="479"/>
                  </a:lnTo>
                  <a:lnTo>
                    <a:pt x="582" y="480"/>
                  </a:lnTo>
                  <a:lnTo>
                    <a:pt x="586" y="481"/>
                  </a:lnTo>
                  <a:lnTo>
                    <a:pt x="591" y="481"/>
                  </a:lnTo>
                  <a:lnTo>
                    <a:pt x="595" y="480"/>
                  </a:lnTo>
                  <a:lnTo>
                    <a:pt x="599" y="479"/>
                  </a:lnTo>
                  <a:lnTo>
                    <a:pt x="603" y="478"/>
                  </a:lnTo>
                  <a:lnTo>
                    <a:pt x="611" y="474"/>
                  </a:lnTo>
                  <a:lnTo>
                    <a:pt x="618" y="470"/>
                  </a:lnTo>
                  <a:lnTo>
                    <a:pt x="633" y="458"/>
                  </a:lnTo>
                  <a:lnTo>
                    <a:pt x="640" y="453"/>
                  </a:lnTo>
                  <a:lnTo>
                    <a:pt x="646" y="449"/>
                  </a:lnTo>
                  <a:lnTo>
                    <a:pt x="652" y="446"/>
                  </a:lnTo>
                  <a:lnTo>
                    <a:pt x="658" y="445"/>
                  </a:lnTo>
                  <a:lnTo>
                    <a:pt x="661" y="445"/>
                  </a:lnTo>
                  <a:lnTo>
                    <a:pt x="663" y="446"/>
                  </a:lnTo>
                  <a:lnTo>
                    <a:pt x="666" y="447"/>
                  </a:lnTo>
                  <a:lnTo>
                    <a:pt x="668" y="449"/>
                  </a:lnTo>
                  <a:lnTo>
                    <a:pt x="670" y="451"/>
                  </a:lnTo>
                  <a:lnTo>
                    <a:pt x="672" y="455"/>
                  </a:lnTo>
                  <a:lnTo>
                    <a:pt x="674" y="459"/>
                  </a:lnTo>
                  <a:lnTo>
                    <a:pt x="676" y="464"/>
                  </a:lnTo>
                  <a:lnTo>
                    <a:pt x="676" y="663"/>
                  </a:lnTo>
                  <a:lnTo>
                    <a:pt x="0" y="663"/>
                  </a:lnTo>
                  <a:lnTo>
                    <a:pt x="0" y="139"/>
                  </a:lnTo>
                  <a:lnTo>
                    <a:pt x="282" y="139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757" y="3444"/>
              <a:ext cx="812" cy="665"/>
            </a:xfrm>
            <a:custGeom>
              <a:avLst/>
              <a:gdLst>
                <a:gd name="T0" fmla="*/ 133 w 812"/>
                <a:gd name="T1" fmla="*/ 451 h 665"/>
                <a:gd name="T2" fmla="*/ 121 w 812"/>
                <a:gd name="T3" fmla="*/ 447 h 665"/>
                <a:gd name="T4" fmla="*/ 103 w 812"/>
                <a:gd name="T5" fmla="*/ 456 h 665"/>
                <a:gd name="T6" fmla="*/ 74 w 812"/>
                <a:gd name="T7" fmla="*/ 477 h 665"/>
                <a:gd name="T8" fmla="*/ 54 w 812"/>
                <a:gd name="T9" fmla="*/ 482 h 665"/>
                <a:gd name="T10" fmla="*/ 38 w 812"/>
                <a:gd name="T11" fmla="*/ 479 h 665"/>
                <a:gd name="T12" fmla="*/ 18 w 812"/>
                <a:gd name="T13" fmla="*/ 461 h 665"/>
                <a:gd name="T14" fmla="*/ 4 w 812"/>
                <a:gd name="T15" fmla="*/ 433 h 665"/>
                <a:gd name="T16" fmla="*/ 0 w 812"/>
                <a:gd name="T17" fmla="*/ 401 h 665"/>
                <a:gd name="T18" fmla="*/ 7 w 812"/>
                <a:gd name="T19" fmla="*/ 365 h 665"/>
                <a:gd name="T20" fmla="*/ 19 w 812"/>
                <a:gd name="T21" fmla="*/ 344 h 665"/>
                <a:gd name="T22" fmla="*/ 39 w 812"/>
                <a:gd name="T23" fmla="*/ 327 h 665"/>
                <a:gd name="T24" fmla="*/ 60 w 812"/>
                <a:gd name="T25" fmla="*/ 324 h 665"/>
                <a:gd name="T26" fmla="*/ 84 w 812"/>
                <a:gd name="T27" fmla="*/ 333 h 665"/>
                <a:gd name="T28" fmla="*/ 116 w 812"/>
                <a:gd name="T29" fmla="*/ 355 h 665"/>
                <a:gd name="T30" fmla="*/ 129 w 812"/>
                <a:gd name="T31" fmla="*/ 355 h 665"/>
                <a:gd name="T32" fmla="*/ 137 w 812"/>
                <a:gd name="T33" fmla="*/ 345 h 665"/>
                <a:gd name="T34" fmla="*/ 415 w 812"/>
                <a:gd name="T35" fmla="*/ 139 h 665"/>
                <a:gd name="T36" fmla="*/ 427 w 812"/>
                <a:gd name="T37" fmla="*/ 131 h 665"/>
                <a:gd name="T38" fmla="*/ 428 w 812"/>
                <a:gd name="T39" fmla="*/ 118 h 665"/>
                <a:gd name="T40" fmla="*/ 406 w 812"/>
                <a:gd name="T41" fmla="*/ 85 h 665"/>
                <a:gd name="T42" fmla="*/ 396 w 812"/>
                <a:gd name="T43" fmla="*/ 60 h 665"/>
                <a:gd name="T44" fmla="*/ 398 w 812"/>
                <a:gd name="T45" fmla="*/ 43 h 665"/>
                <a:gd name="T46" fmla="*/ 408 w 812"/>
                <a:gd name="T47" fmla="*/ 26 h 665"/>
                <a:gd name="T48" fmla="*/ 433 w 812"/>
                <a:gd name="T49" fmla="*/ 10 h 665"/>
                <a:gd name="T50" fmla="*/ 463 w 812"/>
                <a:gd name="T51" fmla="*/ 1 h 665"/>
                <a:gd name="T52" fmla="*/ 506 w 812"/>
                <a:gd name="T53" fmla="*/ 4 h 665"/>
                <a:gd name="T54" fmla="*/ 529 w 812"/>
                <a:gd name="T55" fmla="*/ 15 h 665"/>
                <a:gd name="T56" fmla="*/ 545 w 812"/>
                <a:gd name="T57" fmla="*/ 29 h 665"/>
                <a:gd name="T58" fmla="*/ 554 w 812"/>
                <a:gd name="T59" fmla="*/ 46 h 665"/>
                <a:gd name="T60" fmla="*/ 552 w 812"/>
                <a:gd name="T61" fmla="*/ 67 h 665"/>
                <a:gd name="T62" fmla="*/ 533 w 812"/>
                <a:gd name="T63" fmla="*/ 98 h 665"/>
                <a:gd name="T64" fmla="*/ 520 w 812"/>
                <a:gd name="T65" fmla="*/ 120 h 665"/>
                <a:gd name="T66" fmla="*/ 520 w 812"/>
                <a:gd name="T67" fmla="*/ 128 h 665"/>
                <a:gd name="T68" fmla="*/ 529 w 812"/>
                <a:gd name="T69" fmla="*/ 137 h 665"/>
                <a:gd name="T70" fmla="*/ 812 w 812"/>
                <a:gd name="T71" fmla="*/ 336 h 665"/>
                <a:gd name="T72" fmla="*/ 801 w 812"/>
                <a:gd name="T73" fmla="*/ 353 h 665"/>
                <a:gd name="T74" fmla="*/ 788 w 812"/>
                <a:gd name="T75" fmla="*/ 355 h 665"/>
                <a:gd name="T76" fmla="*/ 769 w 812"/>
                <a:gd name="T77" fmla="*/ 345 h 665"/>
                <a:gd name="T78" fmla="*/ 745 w 812"/>
                <a:gd name="T79" fmla="*/ 328 h 665"/>
                <a:gd name="T80" fmla="*/ 728 w 812"/>
                <a:gd name="T81" fmla="*/ 324 h 665"/>
                <a:gd name="T82" fmla="*/ 713 w 812"/>
                <a:gd name="T83" fmla="*/ 326 h 665"/>
                <a:gd name="T84" fmla="*/ 698 w 812"/>
                <a:gd name="T85" fmla="*/ 334 h 665"/>
                <a:gd name="T86" fmla="*/ 682 w 812"/>
                <a:gd name="T87" fmla="*/ 356 h 665"/>
                <a:gd name="T88" fmla="*/ 673 w 812"/>
                <a:gd name="T89" fmla="*/ 384 h 665"/>
                <a:gd name="T90" fmla="*/ 672 w 812"/>
                <a:gd name="T91" fmla="*/ 420 h 665"/>
                <a:gd name="T92" fmla="*/ 681 w 812"/>
                <a:gd name="T93" fmla="*/ 449 h 665"/>
                <a:gd name="T94" fmla="*/ 698 w 812"/>
                <a:gd name="T95" fmla="*/ 472 h 665"/>
                <a:gd name="T96" fmla="*/ 716 w 812"/>
                <a:gd name="T97" fmla="*/ 482 h 665"/>
                <a:gd name="T98" fmla="*/ 737 w 812"/>
                <a:gd name="T99" fmla="*/ 480 h 665"/>
                <a:gd name="T100" fmla="*/ 774 w 812"/>
                <a:gd name="T101" fmla="*/ 455 h 665"/>
                <a:gd name="T102" fmla="*/ 793 w 812"/>
                <a:gd name="T103" fmla="*/ 447 h 665"/>
                <a:gd name="T104" fmla="*/ 803 w 812"/>
                <a:gd name="T105" fmla="*/ 451 h 665"/>
                <a:gd name="T106" fmla="*/ 812 w 812"/>
                <a:gd name="T107" fmla="*/ 467 h 66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2"/>
                <a:gd name="T163" fmla="*/ 0 h 665"/>
                <a:gd name="T164" fmla="*/ 812 w 812"/>
                <a:gd name="T165" fmla="*/ 665 h 66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2" h="665">
                  <a:moveTo>
                    <a:pt x="139" y="462"/>
                  </a:moveTo>
                  <a:lnTo>
                    <a:pt x="137" y="458"/>
                  </a:lnTo>
                  <a:lnTo>
                    <a:pt x="135" y="454"/>
                  </a:lnTo>
                  <a:lnTo>
                    <a:pt x="133" y="451"/>
                  </a:lnTo>
                  <a:lnTo>
                    <a:pt x="131" y="449"/>
                  </a:lnTo>
                  <a:lnTo>
                    <a:pt x="129" y="448"/>
                  </a:lnTo>
                  <a:lnTo>
                    <a:pt x="126" y="447"/>
                  </a:lnTo>
                  <a:lnTo>
                    <a:pt x="121" y="447"/>
                  </a:lnTo>
                  <a:lnTo>
                    <a:pt x="115" y="449"/>
                  </a:lnTo>
                  <a:lnTo>
                    <a:pt x="112" y="450"/>
                  </a:lnTo>
                  <a:lnTo>
                    <a:pt x="109" y="452"/>
                  </a:lnTo>
                  <a:lnTo>
                    <a:pt x="103" y="456"/>
                  </a:lnTo>
                  <a:lnTo>
                    <a:pt x="96" y="461"/>
                  </a:lnTo>
                  <a:lnTo>
                    <a:pt x="89" y="466"/>
                  </a:lnTo>
                  <a:lnTo>
                    <a:pt x="82" y="472"/>
                  </a:lnTo>
                  <a:lnTo>
                    <a:pt x="74" y="477"/>
                  </a:lnTo>
                  <a:lnTo>
                    <a:pt x="66" y="480"/>
                  </a:lnTo>
                  <a:lnTo>
                    <a:pt x="62" y="481"/>
                  </a:lnTo>
                  <a:lnTo>
                    <a:pt x="58" y="482"/>
                  </a:lnTo>
                  <a:lnTo>
                    <a:pt x="54" y="482"/>
                  </a:lnTo>
                  <a:lnTo>
                    <a:pt x="50" y="482"/>
                  </a:lnTo>
                  <a:lnTo>
                    <a:pt x="46" y="482"/>
                  </a:lnTo>
                  <a:lnTo>
                    <a:pt x="42" y="480"/>
                  </a:lnTo>
                  <a:lnTo>
                    <a:pt x="38" y="479"/>
                  </a:lnTo>
                  <a:lnTo>
                    <a:pt x="33" y="476"/>
                  </a:lnTo>
                  <a:lnTo>
                    <a:pt x="24" y="468"/>
                  </a:lnTo>
                  <a:lnTo>
                    <a:pt x="21" y="465"/>
                  </a:lnTo>
                  <a:lnTo>
                    <a:pt x="18" y="461"/>
                  </a:lnTo>
                  <a:lnTo>
                    <a:pt x="12" y="452"/>
                  </a:lnTo>
                  <a:lnTo>
                    <a:pt x="9" y="448"/>
                  </a:lnTo>
                  <a:lnTo>
                    <a:pt x="7" y="443"/>
                  </a:lnTo>
                  <a:lnTo>
                    <a:pt x="4" y="433"/>
                  </a:lnTo>
                  <a:lnTo>
                    <a:pt x="3" y="428"/>
                  </a:lnTo>
                  <a:lnTo>
                    <a:pt x="1" y="423"/>
                  </a:lnTo>
                  <a:lnTo>
                    <a:pt x="0" y="412"/>
                  </a:lnTo>
                  <a:lnTo>
                    <a:pt x="0" y="401"/>
                  </a:lnTo>
                  <a:lnTo>
                    <a:pt x="1" y="390"/>
                  </a:lnTo>
                  <a:lnTo>
                    <a:pt x="2" y="380"/>
                  </a:lnTo>
                  <a:lnTo>
                    <a:pt x="5" y="370"/>
                  </a:lnTo>
                  <a:lnTo>
                    <a:pt x="7" y="365"/>
                  </a:lnTo>
                  <a:lnTo>
                    <a:pt x="9" y="360"/>
                  </a:lnTo>
                  <a:lnTo>
                    <a:pt x="14" y="352"/>
                  </a:lnTo>
                  <a:lnTo>
                    <a:pt x="16" y="347"/>
                  </a:lnTo>
                  <a:lnTo>
                    <a:pt x="19" y="344"/>
                  </a:lnTo>
                  <a:lnTo>
                    <a:pt x="26" y="336"/>
                  </a:lnTo>
                  <a:lnTo>
                    <a:pt x="31" y="333"/>
                  </a:lnTo>
                  <a:lnTo>
                    <a:pt x="34" y="330"/>
                  </a:lnTo>
                  <a:lnTo>
                    <a:pt x="39" y="327"/>
                  </a:lnTo>
                  <a:lnTo>
                    <a:pt x="43" y="326"/>
                  </a:lnTo>
                  <a:lnTo>
                    <a:pt x="48" y="324"/>
                  </a:lnTo>
                  <a:lnTo>
                    <a:pt x="52" y="324"/>
                  </a:lnTo>
                  <a:lnTo>
                    <a:pt x="60" y="324"/>
                  </a:lnTo>
                  <a:lnTo>
                    <a:pt x="64" y="324"/>
                  </a:lnTo>
                  <a:lnTo>
                    <a:pt x="68" y="325"/>
                  </a:lnTo>
                  <a:lnTo>
                    <a:pt x="76" y="329"/>
                  </a:lnTo>
                  <a:lnTo>
                    <a:pt x="84" y="333"/>
                  </a:lnTo>
                  <a:lnTo>
                    <a:pt x="97" y="343"/>
                  </a:lnTo>
                  <a:lnTo>
                    <a:pt x="104" y="348"/>
                  </a:lnTo>
                  <a:lnTo>
                    <a:pt x="110" y="352"/>
                  </a:lnTo>
                  <a:lnTo>
                    <a:pt x="116" y="355"/>
                  </a:lnTo>
                  <a:lnTo>
                    <a:pt x="121" y="356"/>
                  </a:lnTo>
                  <a:lnTo>
                    <a:pt x="124" y="356"/>
                  </a:lnTo>
                  <a:lnTo>
                    <a:pt x="126" y="356"/>
                  </a:lnTo>
                  <a:lnTo>
                    <a:pt x="129" y="355"/>
                  </a:lnTo>
                  <a:lnTo>
                    <a:pt x="131" y="354"/>
                  </a:lnTo>
                  <a:lnTo>
                    <a:pt x="133" y="352"/>
                  </a:lnTo>
                  <a:lnTo>
                    <a:pt x="135" y="349"/>
                  </a:lnTo>
                  <a:lnTo>
                    <a:pt x="137" y="345"/>
                  </a:lnTo>
                  <a:lnTo>
                    <a:pt x="139" y="341"/>
                  </a:lnTo>
                  <a:lnTo>
                    <a:pt x="139" y="141"/>
                  </a:lnTo>
                  <a:lnTo>
                    <a:pt x="409" y="141"/>
                  </a:lnTo>
                  <a:lnTo>
                    <a:pt x="415" y="139"/>
                  </a:lnTo>
                  <a:lnTo>
                    <a:pt x="419" y="137"/>
                  </a:lnTo>
                  <a:lnTo>
                    <a:pt x="422" y="135"/>
                  </a:lnTo>
                  <a:lnTo>
                    <a:pt x="425" y="133"/>
                  </a:lnTo>
                  <a:lnTo>
                    <a:pt x="427" y="131"/>
                  </a:lnTo>
                  <a:lnTo>
                    <a:pt x="428" y="128"/>
                  </a:lnTo>
                  <a:lnTo>
                    <a:pt x="429" y="123"/>
                  </a:lnTo>
                  <a:lnTo>
                    <a:pt x="428" y="120"/>
                  </a:lnTo>
                  <a:lnTo>
                    <a:pt x="428" y="118"/>
                  </a:lnTo>
                  <a:lnTo>
                    <a:pt x="425" y="112"/>
                  </a:lnTo>
                  <a:lnTo>
                    <a:pt x="421" y="106"/>
                  </a:lnTo>
                  <a:lnTo>
                    <a:pt x="416" y="99"/>
                  </a:lnTo>
                  <a:lnTo>
                    <a:pt x="406" y="85"/>
                  </a:lnTo>
                  <a:lnTo>
                    <a:pt x="402" y="77"/>
                  </a:lnTo>
                  <a:lnTo>
                    <a:pt x="398" y="69"/>
                  </a:lnTo>
                  <a:lnTo>
                    <a:pt x="397" y="65"/>
                  </a:lnTo>
                  <a:lnTo>
                    <a:pt x="396" y="60"/>
                  </a:lnTo>
                  <a:lnTo>
                    <a:pt x="396" y="56"/>
                  </a:lnTo>
                  <a:lnTo>
                    <a:pt x="396" y="52"/>
                  </a:lnTo>
                  <a:lnTo>
                    <a:pt x="397" y="48"/>
                  </a:lnTo>
                  <a:lnTo>
                    <a:pt x="398" y="43"/>
                  </a:lnTo>
                  <a:lnTo>
                    <a:pt x="400" y="39"/>
                  </a:lnTo>
                  <a:lnTo>
                    <a:pt x="403" y="34"/>
                  </a:lnTo>
                  <a:lnTo>
                    <a:pt x="405" y="30"/>
                  </a:lnTo>
                  <a:lnTo>
                    <a:pt x="408" y="26"/>
                  </a:lnTo>
                  <a:lnTo>
                    <a:pt x="413" y="23"/>
                  </a:lnTo>
                  <a:lnTo>
                    <a:pt x="416" y="20"/>
                  </a:lnTo>
                  <a:lnTo>
                    <a:pt x="424" y="14"/>
                  </a:lnTo>
                  <a:lnTo>
                    <a:pt x="433" y="10"/>
                  </a:lnTo>
                  <a:lnTo>
                    <a:pt x="438" y="8"/>
                  </a:lnTo>
                  <a:lnTo>
                    <a:pt x="442" y="6"/>
                  </a:lnTo>
                  <a:lnTo>
                    <a:pt x="453" y="3"/>
                  </a:lnTo>
                  <a:lnTo>
                    <a:pt x="463" y="1"/>
                  </a:lnTo>
                  <a:lnTo>
                    <a:pt x="474" y="0"/>
                  </a:lnTo>
                  <a:lnTo>
                    <a:pt x="484" y="1"/>
                  </a:lnTo>
                  <a:lnTo>
                    <a:pt x="495" y="2"/>
                  </a:lnTo>
                  <a:lnTo>
                    <a:pt x="506" y="4"/>
                  </a:lnTo>
                  <a:lnTo>
                    <a:pt x="515" y="8"/>
                  </a:lnTo>
                  <a:lnTo>
                    <a:pt x="520" y="10"/>
                  </a:lnTo>
                  <a:lnTo>
                    <a:pt x="525" y="12"/>
                  </a:lnTo>
                  <a:lnTo>
                    <a:pt x="529" y="15"/>
                  </a:lnTo>
                  <a:lnTo>
                    <a:pt x="533" y="18"/>
                  </a:lnTo>
                  <a:lnTo>
                    <a:pt x="538" y="21"/>
                  </a:lnTo>
                  <a:lnTo>
                    <a:pt x="542" y="25"/>
                  </a:lnTo>
                  <a:lnTo>
                    <a:pt x="545" y="29"/>
                  </a:lnTo>
                  <a:lnTo>
                    <a:pt x="549" y="33"/>
                  </a:lnTo>
                  <a:lnTo>
                    <a:pt x="551" y="37"/>
                  </a:lnTo>
                  <a:lnTo>
                    <a:pt x="553" y="42"/>
                  </a:lnTo>
                  <a:lnTo>
                    <a:pt x="554" y="46"/>
                  </a:lnTo>
                  <a:lnTo>
                    <a:pt x="555" y="50"/>
                  </a:lnTo>
                  <a:lnTo>
                    <a:pt x="555" y="54"/>
                  </a:lnTo>
                  <a:lnTo>
                    <a:pt x="555" y="58"/>
                  </a:lnTo>
                  <a:lnTo>
                    <a:pt x="552" y="67"/>
                  </a:lnTo>
                  <a:lnTo>
                    <a:pt x="549" y="75"/>
                  </a:lnTo>
                  <a:lnTo>
                    <a:pt x="544" y="83"/>
                  </a:lnTo>
                  <a:lnTo>
                    <a:pt x="539" y="91"/>
                  </a:lnTo>
                  <a:lnTo>
                    <a:pt x="533" y="98"/>
                  </a:lnTo>
                  <a:lnTo>
                    <a:pt x="528" y="105"/>
                  </a:lnTo>
                  <a:lnTo>
                    <a:pt x="524" y="111"/>
                  </a:lnTo>
                  <a:lnTo>
                    <a:pt x="521" y="117"/>
                  </a:lnTo>
                  <a:lnTo>
                    <a:pt x="520" y="120"/>
                  </a:lnTo>
                  <a:lnTo>
                    <a:pt x="519" y="123"/>
                  </a:lnTo>
                  <a:lnTo>
                    <a:pt x="519" y="126"/>
                  </a:lnTo>
                  <a:lnTo>
                    <a:pt x="520" y="127"/>
                  </a:lnTo>
                  <a:lnTo>
                    <a:pt x="520" y="128"/>
                  </a:lnTo>
                  <a:lnTo>
                    <a:pt x="521" y="131"/>
                  </a:lnTo>
                  <a:lnTo>
                    <a:pt x="523" y="133"/>
                  </a:lnTo>
                  <a:lnTo>
                    <a:pt x="526" y="135"/>
                  </a:lnTo>
                  <a:lnTo>
                    <a:pt x="529" y="137"/>
                  </a:lnTo>
                  <a:lnTo>
                    <a:pt x="534" y="139"/>
                  </a:lnTo>
                  <a:lnTo>
                    <a:pt x="540" y="141"/>
                  </a:lnTo>
                  <a:lnTo>
                    <a:pt x="812" y="141"/>
                  </a:lnTo>
                  <a:lnTo>
                    <a:pt x="812" y="336"/>
                  </a:lnTo>
                  <a:lnTo>
                    <a:pt x="809" y="344"/>
                  </a:lnTo>
                  <a:lnTo>
                    <a:pt x="806" y="348"/>
                  </a:lnTo>
                  <a:lnTo>
                    <a:pt x="803" y="352"/>
                  </a:lnTo>
                  <a:lnTo>
                    <a:pt x="801" y="353"/>
                  </a:lnTo>
                  <a:lnTo>
                    <a:pt x="800" y="354"/>
                  </a:lnTo>
                  <a:lnTo>
                    <a:pt x="796" y="356"/>
                  </a:lnTo>
                  <a:lnTo>
                    <a:pt x="793" y="356"/>
                  </a:lnTo>
                  <a:lnTo>
                    <a:pt x="788" y="355"/>
                  </a:lnTo>
                  <a:lnTo>
                    <a:pt x="785" y="354"/>
                  </a:lnTo>
                  <a:lnTo>
                    <a:pt x="781" y="352"/>
                  </a:lnTo>
                  <a:lnTo>
                    <a:pt x="777" y="350"/>
                  </a:lnTo>
                  <a:lnTo>
                    <a:pt x="769" y="345"/>
                  </a:lnTo>
                  <a:lnTo>
                    <a:pt x="762" y="338"/>
                  </a:lnTo>
                  <a:lnTo>
                    <a:pt x="755" y="333"/>
                  </a:lnTo>
                  <a:lnTo>
                    <a:pt x="750" y="331"/>
                  </a:lnTo>
                  <a:lnTo>
                    <a:pt x="745" y="328"/>
                  </a:lnTo>
                  <a:lnTo>
                    <a:pt x="740" y="326"/>
                  </a:lnTo>
                  <a:lnTo>
                    <a:pt x="736" y="325"/>
                  </a:lnTo>
                  <a:lnTo>
                    <a:pt x="732" y="324"/>
                  </a:lnTo>
                  <a:lnTo>
                    <a:pt x="728" y="324"/>
                  </a:lnTo>
                  <a:lnTo>
                    <a:pt x="724" y="324"/>
                  </a:lnTo>
                  <a:lnTo>
                    <a:pt x="721" y="324"/>
                  </a:lnTo>
                  <a:lnTo>
                    <a:pt x="717" y="325"/>
                  </a:lnTo>
                  <a:lnTo>
                    <a:pt x="713" y="326"/>
                  </a:lnTo>
                  <a:lnTo>
                    <a:pt x="709" y="327"/>
                  </a:lnTo>
                  <a:lnTo>
                    <a:pt x="705" y="329"/>
                  </a:lnTo>
                  <a:lnTo>
                    <a:pt x="702" y="331"/>
                  </a:lnTo>
                  <a:lnTo>
                    <a:pt x="698" y="334"/>
                  </a:lnTo>
                  <a:lnTo>
                    <a:pt x="695" y="337"/>
                  </a:lnTo>
                  <a:lnTo>
                    <a:pt x="692" y="341"/>
                  </a:lnTo>
                  <a:lnTo>
                    <a:pt x="687" y="348"/>
                  </a:lnTo>
                  <a:lnTo>
                    <a:pt x="682" y="356"/>
                  </a:lnTo>
                  <a:lnTo>
                    <a:pt x="678" y="364"/>
                  </a:lnTo>
                  <a:lnTo>
                    <a:pt x="675" y="374"/>
                  </a:lnTo>
                  <a:lnTo>
                    <a:pt x="674" y="379"/>
                  </a:lnTo>
                  <a:lnTo>
                    <a:pt x="673" y="384"/>
                  </a:lnTo>
                  <a:lnTo>
                    <a:pt x="671" y="394"/>
                  </a:lnTo>
                  <a:lnTo>
                    <a:pt x="671" y="404"/>
                  </a:lnTo>
                  <a:lnTo>
                    <a:pt x="671" y="415"/>
                  </a:lnTo>
                  <a:lnTo>
                    <a:pt x="672" y="420"/>
                  </a:lnTo>
                  <a:lnTo>
                    <a:pt x="673" y="425"/>
                  </a:lnTo>
                  <a:lnTo>
                    <a:pt x="675" y="435"/>
                  </a:lnTo>
                  <a:lnTo>
                    <a:pt x="679" y="445"/>
                  </a:lnTo>
                  <a:lnTo>
                    <a:pt x="681" y="449"/>
                  </a:lnTo>
                  <a:lnTo>
                    <a:pt x="683" y="454"/>
                  </a:lnTo>
                  <a:lnTo>
                    <a:pt x="688" y="460"/>
                  </a:lnTo>
                  <a:lnTo>
                    <a:pt x="692" y="466"/>
                  </a:lnTo>
                  <a:lnTo>
                    <a:pt x="698" y="472"/>
                  </a:lnTo>
                  <a:lnTo>
                    <a:pt x="704" y="476"/>
                  </a:lnTo>
                  <a:lnTo>
                    <a:pt x="708" y="479"/>
                  </a:lnTo>
                  <a:lnTo>
                    <a:pt x="712" y="481"/>
                  </a:lnTo>
                  <a:lnTo>
                    <a:pt x="716" y="482"/>
                  </a:lnTo>
                  <a:lnTo>
                    <a:pt x="721" y="483"/>
                  </a:lnTo>
                  <a:lnTo>
                    <a:pt x="725" y="483"/>
                  </a:lnTo>
                  <a:lnTo>
                    <a:pt x="729" y="482"/>
                  </a:lnTo>
                  <a:lnTo>
                    <a:pt x="737" y="480"/>
                  </a:lnTo>
                  <a:lnTo>
                    <a:pt x="745" y="476"/>
                  </a:lnTo>
                  <a:lnTo>
                    <a:pt x="753" y="472"/>
                  </a:lnTo>
                  <a:lnTo>
                    <a:pt x="767" y="460"/>
                  </a:lnTo>
                  <a:lnTo>
                    <a:pt x="774" y="455"/>
                  </a:lnTo>
                  <a:lnTo>
                    <a:pt x="781" y="451"/>
                  </a:lnTo>
                  <a:lnTo>
                    <a:pt x="787" y="448"/>
                  </a:lnTo>
                  <a:lnTo>
                    <a:pt x="791" y="447"/>
                  </a:lnTo>
                  <a:lnTo>
                    <a:pt x="793" y="447"/>
                  </a:lnTo>
                  <a:lnTo>
                    <a:pt x="796" y="447"/>
                  </a:lnTo>
                  <a:lnTo>
                    <a:pt x="799" y="448"/>
                  </a:lnTo>
                  <a:lnTo>
                    <a:pt x="801" y="449"/>
                  </a:lnTo>
                  <a:lnTo>
                    <a:pt x="803" y="451"/>
                  </a:lnTo>
                  <a:lnTo>
                    <a:pt x="806" y="454"/>
                  </a:lnTo>
                  <a:lnTo>
                    <a:pt x="808" y="457"/>
                  </a:lnTo>
                  <a:lnTo>
                    <a:pt x="810" y="461"/>
                  </a:lnTo>
                  <a:lnTo>
                    <a:pt x="812" y="467"/>
                  </a:lnTo>
                  <a:lnTo>
                    <a:pt x="812" y="665"/>
                  </a:lnTo>
                  <a:lnTo>
                    <a:pt x="139" y="665"/>
                  </a:lnTo>
                  <a:lnTo>
                    <a:pt x="139" y="462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8" name="Freeform 19"/>
            <p:cNvSpPr>
              <a:spLocks/>
            </p:cNvSpPr>
            <p:nvPr/>
          </p:nvSpPr>
          <p:spPr bwMode="auto">
            <a:xfrm>
              <a:off x="1427" y="3585"/>
              <a:ext cx="818" cy="524"/>
            </a:xfrm>
            <a:custGeom>
              <a:avLst/>
              <a:gdLst>
                <a:gd name="T0" fmla="*/ 136 w 818"/>
                <a:gd name="T1" fmla="*/ 313 h 524"/>
                <a:gd name="T2" fmla="*/ 129 w 818"/>
                <a:gd name="T3" fmla="*/ 307 h 524"/>
                <a:gd name="T4" fmla="*/ 120 w 818"/>
                <a:gd name="T5" fmla="*/ 306 h 524"/>
                <a:gd name="T6" fmla="*/ 104 w 818"/>
                <a:gd name="T7" fmla="*/ 314 h 524"/>
                <a:gd name="T8" fmla="*/ 82 w 818"/>
                <a:gd name="T9" fmla="*/ 330 h 524"/>
                <a:gd name="T10" fmla="*/ 67 w 818"/>
                <a:gd name="T11" fmla="*/ 339 h 524"/>
                <a:gd name="T12" fmla="*/ 50 w 818"/>
                <a:gd name="T13" fmla="*/ 341 h 524"/>
                <a:gd name="T14" fmla="*/ 37 w 818"/>
                <a:gd name="T15" fmla="*/ 338 h 524"/>
                <a:gd name="T16" fmla="*/ 21 w 818"/>
                <a:gd name="T17" fmla="*/ 324 h 524"/>
                <a:gd name="T18" fmla="*/ 10 w 818"/>
                <a:gd name="T19" fmla="*/ 307 h 524"/>
                <a:gd name="T20" fmla="*/ 3 w 818"/>
                <a:gd name="T21" fmla="*/ 287 h 524"/>
                <a:gd name="T22" fmla="*/ 0 w 818"/>
                <a:gd name="T23" fmla="*/ 260 h 524"/>
                <a:gd name="T24" fmla="*/ 6 w 818"/>
                <a:gd name="T25" fmla="*/ 229 h 524"/>
                <a:gd name="T26" fmla="*/ 14 w 818"/>
                <a:gd name="T27" fmla="*/ 211 h 524"/>
                <a:gd name="T28" fmla="*/ 26 w 818"/>
                <a:gd name="T29" fmla="*/ 195 h 524"/>
                <a:gd name="T30" fmla="*/ 39 w 818"/>
                <a:gd name="T31" fmla="*/ 186 h 524"/>
                <a:gd name="T32" fmla="*/ 52 w 818"/>
                <a:gd name="T33" fmla="*/ 183 h 524"/>
                <a:gd name="T34" fmla="*/ 65 w 818"/>
                <a:gd name="T35" fmla="*/ 184 h 524"/>
                <a:gd name="T36" fmla="*/ 84 w 818"/>
                <a:gd name="T37" fmla="*/ 192 h 524"/>
                <a:gd name="T38" fmla="*/ 105 w 818"/>
                <a:gd name="T39" fmla="*/ 208 h 524"/>
                <a:gd name="T40" fmla="*/ 121 w 818"/>
                <a:gd name="T41" fmla="*/ 215 h 524"/>
                <a:gd name="T42" fmla="*/ 128 w 818"/>
                <a:gd name="T43" fmla="*/ 214 h 524"/>
                <a:gd name="T44" fmla="*/ 135 w 818"/>
                <a:gd name="T45" fmla="*/ 208 h 524"/>
                <a:gd name="T46" fmla="*/ 142 w 818"/>
                <a:gd name="T47" fmla="*/ 195 h 524"/>
                <a:gd name="T48" fmla="*/ 420 w 818"/>
                <a:gd name="T49" fmla="*/ 3 h 524"/>
                <a:gd name="T50" fmla="*/ 430 w 818"/>
                <a:gd name="T51" fmla="*/ 10 h 524"/>
                <a:gd name="T52" fmla="*/ 432 w 818"/>
                <a:gd name="T53" fmla="*/ 19 h 524"/>
                <a:gd name="T54" fmla="*/ 429 w 818"/>
                <a:gd name="T55" fmla="*/ 30 h 524"/>
                <a:gd name="T56" fmla="*/ 416 w 818"/>
                <a:gd name="T57" fmla="*/ 49 h 524"/>
                <a:gd name="T58" fmla="*/ 406 w 818"/>
                <a:gd name="T59" fmla="*/ 66 h 524"/>
                <a:gd name="T60" fmla="*/ 402 w 818"/>
                <a:gd name="T61" fmla="*/ 80 h 524"/>
                <a:gd name="T62" fmla="*/ 401 w 818"/>
                <a:gd name="T63" fmla="*/ 91 h 524"/>
                <a:gd name="T64" fmla="*/ 405 w 818"/>
                <a:gd name="T65" fmla="*/ 103 h 524"/>
                <a:gd name="T66" fmla="*/ 411 w 818"/>
                <a:gd name="T67" fmla="*/ 113 h 524"/>
                <a:gd name="T68" fmla="*/ 424 w 818"/>
                <a:gd name="T69" fmla="*/ 125 h 524"/>
                <a:gd name="T70" fmla="*/ 450 w 818"/>
                <a:gd name="T71" fmla="*/ 137 h 524"/>
                <a:gd name="T72" fmla="*/ 470 w 818"/>
                <a:gd name="T73" fmla="*/ 141 h 524"/>
                <a:gd name="T74" fmla="*/ 496 w 818"/>
                <a:gd name="T75" fmla="*/ 140 h 524"/>
                <a:gd name="T76" fmla="*/ 522 w 818"/>
                <a:gd name="T77" fmla="*/ 133 h 524"/>
                <a:gd name="T78" fmla="*/ 538 w 818"/>
                <a:gd name="T79" fmla="*/ 124 h 524"/>
                <a:gd name="T80" fmla="*/ 553 w 818"/>
                <a:gd name="T81" fmla="*/ 108 h 524"/>
                <a:gd name="T82" fmla="*/ 558 w 818"/>
                <a:gd name="T83" fmla="*/ 95 h 524"/>
                <a:gd name="T84" fmla="*/ 558 w 818"/>
                <a:gd name="T85" fmla="*/ 83 h 524"/>
                <a:gd name="T86" fmla="*/ 548 w 818"/>
                <a:gd name="T87" fmla="*/ 58 h 524"/>
                <a:gd name="T88" fmla="*/ 529 w 818"/>
                <a:gd name="T89" fmla="*/ 30 h 524"/>
                <a:gd name="T90" fmla="*/ 524 w 818"/>
                <a:gd name="T91" fmla="*/ 18 h 524"/>
                <a:gd name="T92" fmla="*/ 525 w 818"/>
                <a:gd name="T93" fmla="*/ 13 h 524"/>
                <a:gd name="T94" fmla="*/ 531 w 818"/>
                <a:gd name="T95" fmla="*/ 6 h 524"/>
                <a:gd name="T96" fmla="*/ 544 w 818"/>
                <a:gd name="T97" fmla="*/ 0 h 524"/>
                <a:gd name="T98" fmla="*/ 142 w 818"/>
                <a:gd name="T99" fmla="*/ 524 h 5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18"/>
                <a:gd name="T151" fmla="*/ 0 h 524"/>
                <a:gd name="T152" fmla="*/ 818 w 818"/>
                <a:gd name="T153" fmla="*/ 524 h 5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18" h="524">
                  <a:moveTo>
                    <a:pt x="142" y="326"/>
                  </a:moveTo>
                  <a:lnTo>
                    <a:pt x="138" y="316"/>
                  </a:lnTo>
                  <a:lnTo>
                    <a:pt x="136" y="313"/>
                  </a:lnTo>
                  <a:lnTo>
                    <a:pt x="133" y="310"/>
                  </a:lnTo>
                  <a:lnTo>
                    <a:pt x="131" y="308"/>
                  </a:lnTo>
                  <a:lnTo>
                    <a:pt x="129" y="307"/>
                  </a:lnTo>
                  <a:lnTo>
                    <a:pt x="126" y="306"/>
                  </a:lnTo>
                  <a:lnTo>
                    <a:pt x="123" y="306"/>
                  </a:lnTo>
                  <a:lnTo>
                    <a:pt x="120" y="306"/>
                  </a:lnTo>
                  <a:lnTo>
                    <a:pt x="117" y="307"/>
                  </a:lnTo>
                  <a:lnTo>
                    <a:pt x="110" y="310"/>
                  </a:lnTo>
                  <a:lnTo>
                    <a:pt x="104" y="314"/>
                  </a:lnTo>
                  <a:lnTo>
                    <a:pt x="97" y="319"/>
                  </a:lnTo>
                  <a:lnTo>
                    <a:pt x="90" y="324"/>
                  </a:lnTo>
                  <a:lnTo>
                    <a:pt x="82" y="330"/>
                  </a:lnTo>
                  <a:lnTo>
                    <a:pt x="75" y="335"/>
                  </a:lnTo>
                  <a:lnTo>
                    <a:pt x="71" y="337"/>
                  </a:lnTo>
                  <a:lnTo>
                    <a:pt x="67" y="339"/>
                  </a:lnTo>
                  <a:lnTo>
                    <a:pt x="59" y="341"/>
                  </a:lnTo>
                  <a:lnTo>
                    <a:pt x="54" y="341"/>
                  </a:lnTo>
                  <a:lnTo>
                    <a:pt x="50" y="341"/>
                  </a:lnTo>
                  <a:lnTo>
                    <a:pt x="46" y="341"/>
                  </a:lnTo>
                  <a:lnTo>
                    <a:pt x="42" y="340"/>
                  </a:lnTo>
                  <a:lnTo>
                    <a:pt x="37" y="338"/>
                  </a:lnTo>
                  <a:lnTo>
                    <a:pt x="33" y="335"/>
                  </a:lnTo>
                  <a:lnTo>
                    <a:pt x="25" y="327"/>
                  </a:lnTo>
                  <a:lnTo>
                    <a:pt x="21" y="324"/>
                  </a:lnTo>
                  <a:lnTo>
                    <a:pt x="18" y="320"/>
                  </a:lnTo>
                  <a:lnTo>
                    <a:pt x="12" y="311"/>
                  </a:lnTo>
                  <a:lnTo>
                    <a:pt x="10" y="307"/>
                  </a:lnTo>
                  <a:lnTo>
                    <a:pt x="8" y="302"/>
                  </a:lnTo>
                  <a:lnTo>
                    <a:pt x="4" y="292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1" y="271"/>
                  </a:lnTo>
                  <a:lnTo>
                    <a:pt x="0" y="260"/>
                  </a:lnTo>
                  <a:lnTo>
                    <a:pt x="1" y="249"/>
                  </a:lnTo>
                  <a:lnTo>
                    <a:pt x="3" y="239"/>
                  </a:lnTo>
                  <a:lnTo>
                    <a:pt x="6" y="229"/>
                  </a:lnTo>
                  <a:lnTo>
                    <a:pt x="7" y="224"/>
                  </a:lnTo>
                  <a:lnTo>
                    <a:pt x="9" y="219"/>
                  </a:lnTo>
                  <a:lnTo>
                    <a:pt x="14" y="211"/>
                  </a:lnTo>
                  <a:lnTo>
                    <a:pt x="17" y="206"/>
                  </a:lnTo>
                  <a:lnTo>
                    <a:pt x="20" y="203"/>
                  </a:lnTo>
                  <a:lnTo>
                    <a:pt x="26" y="195"/>
                  </a:lnTo>
                  <a:lnTo>
                    <a:pt x="30" y="192"/>
                  </a:lnTo>
                  <a:lnTo>
                    <a:pt x="34" y="189"/>
                  </a:lnTo>
                  <a:lnTo>
                    <a:pt x="39" y="186"/>
                  </a:lnTo>
                  <a:lnTo>
                    <a:pt x="43" y="184"/>
                  </a:lnTo>
                  <a:lnTo>
                    <a:pt x="48" y="183"/>
                  </a:lnTo>
                  <a:lnTo>
                    <a:pt x="52" y="183"/>
                  </a:lnTo>
                  <a:lnTo>
                    <a:pt x="56" y="182"/>
                  </a:lnTo>
                  <a:lnTo>
                    <a:pt x="61" y="183"/>
                  </a:lnTo>
                  <a:lnTo>
                    <a:pt x="65" y="184"/>
                  </a:lnTo>
                  <a:lnTo>
                    <a:pt x="69" y="185"/>
                  </a:lnTo>
                  <a:lnTo>
                    <a:pt x="77" y="188"/>
                  </a:lnTo>
                  <a:lnTo>
                    <a:pt x="84" y="192"/>
                  </a:lnTo>
                  <a:lnTo>
                    <a:pt x="91" y="197"/>
                  </a:lnTo>
                  <a:lnTo>
                    <a:pt x="98" y="203"/>
                  </a:lnTo>
                  <a:lnTo>
                    <a:pt x="105" y="208"/>
                  </a:lnTo>
                  <a:lnTo>
                    <a:pt x="111" y="212"/>
                  </a:lnTo>
                  <a:lnTo>
                    <a:pt x="117" y="214"/>
                  </a:lnTo>
                  <a:lnTo>
                    <a:pt x="121" y="215"/>
                  </a:lnTo>
                  <a:lnTo>
                    <a:pt x="123" y="215"/>
                  </a:lnTo>
                  <a:lnTo>
                    <a:pt x="126" y="215"/>
                  </a:lnTo>
                  <a:lnTo>
                    <a:pt x="128" y="214"/>
                  </a:lnTo>
                  <a:lnTo>
                    <a:pt x="131" y="213"/>
                  </a:lnTo>
                  <a:lnTo>
                    <a:pt x="133" y="211"/>
                  </a:lnTo>
                  <a:lnTo>
                    <a:pt x="135" y="208"/>
                  </a:lnTo>
                  <a:lnTo>
                    <a:pt x="138" y="205"/>
                  </a:lnTo>
                  <a:lnTo>
                    <a:pt x="140" y="201"/>
                  </a:lnTo>
                  <a:lnTo>
                    <a:pt x="142" y="195"/>
                  </a:lnTo>
                  <a:lnTo>
                    <a:pt x="142" y="0"/>
                  </a:lnTo>
                  <a:lnTo>
                    <a:pt x="414" y="0"/>
                  </a:lnTo>
                  <a:lnTo>
                    <a:pt x="420" y="3"/>
                  </a:lnTo>
                  <a:lnTo>
                    <a:pt x="425" y="6"/>
                  </a:lnTo>
                  <a:lnTo>
                    <a:pt x="428" y="9"/>
                  </a:lnTo>
                  <a:lnTo>
                    <a:pt x="430" y="10"/>
                  </a:lnTo>
                  <a:lnTo>
                    <a:pt x="431" y="12"/>
                  </a:lnTo>
                  <a:lnTo>
                    <a:pt x="432" y="15"/>
                  </a:lnTo>
                  <a:lnTo>
                    <a:pt x="432" y="19"/>
                  </a:lnTo>
                  <a:lnTo>
                    <a:pt x="432" y="22"/>
                  </a:lnTo>
                  <a:lnTo>
                    <a:pt x="431" y="26"/>
                  </a:lnTo>
                  <a:lnTo>
                    <a:pt x="429" y="30"/>
                  </a:lnTo>
                  <a:lnTo>
                    <a:pt x="426" y="34"/>
                  </a:lnTo>
                  <a:lnTo>
                    <a:pt x="421" y="42"/>
                  </a:lnTo>
                  <a:lnTo>
                    <a:pt x="416" y="49"/>
                  </a:lnTo>
                  <a:lnTo>
                    <a:pt x="411" y="56"/>
                  </a:lnTo>
                  <a:lnTo>
                    <a:pt x="408" y="61"/>
                  </a:lnTo>
                  <a:lnTo>
                    <a:pt x="406" y="66"/>
                  </a:lnTo>
                  <a:lnTo>
                    <a:pt x="404" y="71"/>
                  </a:lnTo>
                  <a:lnTo>
                    <a:pt x="402" y="76"/>
                  </a:lnTo>
                  <a:lnTo>
                    <a:pt x="402" y="80"/>
                  </a:lnTo>
                  <a:lnTo>
                    <a:pt x="401" y="84"/>
                  </a:lnTo>
                  <a:lnTo>
                    <a:pt x="401" y="87"/>
                  </a:lnTo>
                  <a:lnTo>
                    <a:pt x="401" y="91"/>
                  </a:lnTo>
                  <a:lnTo>
                    <a:pt x="402" y="95"/>
                  </a:lnTo>
                  <a:lnTo>
                    <a:pt x="403" y="99"/>
                  </a:lnTo>
                  <a:lnTo>
                    <a:pt x="405" y="103"/>
                  </a:lnTo>
                  <a:lnTo>
                    <a:pt x="406" y="107"/>
                  </a:lnTo>
                  <a:lnTo>
                    <a:pt x="409" y="110"/>
                  </a:lnTo>
                  <a:lnTo>
                    <a:pt x="411" y="113"/>
                  </a:lnTo>
                  <a:lnTo>
                    <a:pt x="414" y="117"/>
                  </a:lnTo>
                  <a:lnTo>
                    <a:pt x="417" y="120"/>
                  </a:lnTo>
                  <a:lnTo>
                    <a:pt x="424" y="125"/>
                  </a:lnTo>
                  <a:lnTo>
                    <a:pt x="432" y="130"/>
                  </a:lnTo>
                  <a:lnTo>
                    <a:pt x="441" y="134"/>
                  </a:lnTo>
                  <a:lnTo>
                    <a:pt x="450" y="137"/>
                  </a:lnTo>
                  <a:lnTo>
                    <a:pt x="455" y="138"/>
                  </a:lnTo>
                  <a:lnTo>
                    <a:pt x="460" y="139"/>
                  </a:lnTo>
                  <a:lnTo>
                    <a:pt x="470" y="141"/>
                  </a:lnTo>
                  <a:lnTo>
                    <a:pt x="481" y="141"/>
                  </a:lnTo>
                  <a:lnTo>
                    <a:pt x="491" y="141"/>
                  </a:lnTo>
                  <a:lnTo>
                    <a:pt x="496" y="140"/>
                  </a:lnTo>
                  <a:lnTo>
                    <a:pt x="502" y="139"/>
                  </a:lnTo>
                  <a:lnTo>
                    <a:pt x="512" y="137"/>
                  </a:lnTo>
                  <a:lnTo>
                    <a:pt x="522" y="133"/>
                  </a:lnTo>
                  <a:lnTo>
                    <a:pt x="527" y="131"/>
                  </a:lnTo>
                  <a:lnTo>
                    <a:pt x="531" y="128"/>
                  </a:lnTo>
                  <a:lnTo>
                    <a:pt x="538" y="124"/>
                  </a:lnTo>
                  <a:lnTo>
                    <a:pt x="544" y="119"/>
                  </a:lnTo>
                  <a:lnTo>
                    <a:pt x="549" y="114"/>
                  </a:lnTo>
                  <a:lnTo>
                    <a:pt x="553" y="108"/>
                  </a:lnTo>
                  <a:lnTo>
                    <a:pt x="555" y="104"/>
                  </a:lnTo>
                  <a:lnTo>
                    <a:pt x="557" y="100"/>
                  </a:lnTo>
                  <a:lnTo>
                    <a:pt x="558" y="95"/>
                  </a:lnTo>
                  <a:lnTo>
                    <a:pt x="559" y="91"/>
                  </a:lnTo>
                  <a:lnTo>
                    <a:pt x="559" y="87"/>
                  </a:lnTo>
                  <a:lnTo>
                    <a:pt x="558" y="83"/>
                  </a:lnTo>
                  <a:lnTo>
                    <a:pt x="556" y="75"/>
                  </a:lnTo>
                  <a:lnTo>
                    <a:pt x="553" y="66"/>
                  </a:lnTo>
                  <a:lnTo>
                    <a:pt x="548" y="58"/>
                  </a:lnTo>
                  <a:lnTo>
                    <a:pt x="538" y="43"/>
                  </a:lnTo>
                  <a:lnTo>
                    <a:pt x="533" y="37"/>
                  </a:lnTo>
                  <a:lnTo>
                    <a:pt x="529" y="30"/>
                  </a:lnTo>
                  <a:lnTo>
                    <a:pt x="526" y="24"/>
                  </a:lnTo>
                  <a:lnTo>
                    <a:pt x="525" y="21"/>
                  </a:lnTo>
                  <a:lnTo>
                    <a:pt x="524" y="18"/>
                  </a:lnTo>
                  <a:lnTo>
                    <a:pt x="524" y="16"/>
                  </a:lnTo>
                  <a:lnTo>
                    <a:pt x="525" y="14"/>
                  </a:lnTo>
                  <a:lnTo>
                    <a:pt x="525" y="13"/>
                  </a:lnTo>
                  <a:lnTo>
                    <a:pt x="526" y="11"/>
                  </a:lnTo>
                  <a:lnTo>
                    <a:pt x="528" y="8"/>
                  </a:lnTo>
                  <a:lnTo>
                    <a:pt x="531" y="6"/>
                  </a:lnTo>
                  <a:lnTo>
                    <a:pt x="534" y="4"/>
                  </a:lnTo>
                  <a:lnTo>
                    <a:pt x="539" y="2"/>
                  </a:lnTo>
                  <a:lnTo>
                    <a:pt x="544" y="0"/>
                  </a:lnTo>
                  <a:lnTo>
                    <a:pt x="818" y="0"/>
                  </a:lnTo>
                  <a:lnTo>
                    <a:pt x="818" y="524"/>
                  </a:lnTo>
                  <a:lnTo>
                    <a:pt x="142" y="524"/>
                  </a:lnTo>
                  <a:lnTo>
                    <a:pt x="142" y="326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59" name="Freeform 20"/>
            <p:cNvSpPr>
              <a:spLocks/>
            </p:cNvSpPr>
            <p:nvPr/>
          </p:nvSpPr>
          <p:spPr bwMode="auto">
            <a:xfrm>
              <a:off x="1427" y="2400"/>
              <a:ext cx="817" cy="804"/>
            </a:xfrm>
            <a:custGeom>
              <a:avLst/>
              <a:gdLst>
                <a:gd name="T0" fmla="*/ 47 w 817"/>
                <a:gd name="T1" fmla="*/ 323 h 804"/>
                <a:gd name="T2" fmla="*/ 64 w 817"/>
                <a:gd name="T3" fmla="*/ 323 h 804"/>
                <a:gd name="T4" fmla="*/ 91 w 817"/>
                <a:gd name="T5" fmla="*/ 337 h 804"/>
                <a:gd name="T6" fmla="*/ 116 w 817"/>
                <a:gd name="T7" fmla="*/ 354 h 804"/>
                <a:gd name="T8" fmla="*/ 130 w 817"/>
                <a:gd name="T9" fmla="*/ 353 h 804"/>
                <a:gd name="T10" fmla="*/ 139 w 817"/>
                <a:gd name="T11" fmla="*/ 341 h 804"/>
                <a:gd name="T12" fmla="*/ 418 w 817"/>
                <a:gd name="T13" fmla="*/ 138 h 804"/>
                <a:gd name="T14" fmla="*/ 432 w 817"/>
                <a:gd name="T15" fmla="*/ 126 h 804"/>
                <a:gd name="T16" fmla="*/ 427 w 817"/>
                <a:gd name="T17" fmla="*/ 108 h 804"/>
                <a:gd name="T18" fmla="*/ 407 w 817"/>
                <a:gd name="T19" fmla="*/ 76 h 804"/>
                <a:gd name="T20" fmla="*/ 401 w 817"/>
                <a:gd name="T21" fmla="*/ 57 h 804"/>
                <a:gd name="T22" fmla="*/ 406 w 817"/>
                <a:gd name="T23" fmla="*/ 34 h 804"/>
                <a:gd name="T24" fmla="*/ 422 w 817"/>
                <a:gd name="T25" fmla="*/ 17 h 804"/>
                <a:gd name="T26" fmla="*/ 446 w 817"/>
                <a:gd name="T27" fmla="*/ 5 h 804"/>
                <a:gd name="T28" fmla="*/ 474 w 817"/>
                <a:gd name="T29" fmla="*/ 0 h 804"/>
                <a:gd name="T30" fmla="*/ 504 w 817"/>
                <a:gd name="T31" fmla="*/ 2 h 804"/>
                <a:gd name="T32" fmla="*/ 524 w 817"/>
                <a:gd name="T33" fmla="*/ 9 h 804"/>
                <a:gd name="T34" fmla="*/ 545 w 817"/>
                <a:gd name="T35" fmla="*/ 24 h 804"/>
                <a:gd name="T36" fmla="*/ 556 w 817"/>
                <a:gd name="T37" fmla="*/ 42 h 804"/>
                <a:gd name="T38" fmla="*/ 556 w 817"/>
                <a:gd name="T39" fmla="*/ 63 h 804"/>
                <a:gd name="T40" fmla="*/ 547 w 817"/>
                <a:gd name="T41" fmla="*/ 83 h 804"/>
                <a:gd name="T42" fmla="*/ 525 w 817"/>
                <a:gd name="T43" fmla="*/ 114 h 804"/>
                <a:gd name="T44" fmla="*/ 524 w 817"/>
                <a:gd name="T45" fmla="*/ 128 h 804"/>
                <a:gd name="T46" fmla="*/ 532 w 817"/>
                <a:gd name="T47" fmla="*/ 136 h 804"/>
                <a:gd name="T48" fmla="*/ 817 w 817"/>
                <a:gd name="T49" fmla="*/ 141 h 804"/>
                <a:gd name="T50" fmla="*/ 531 w 817"/>
                <a:gd name="T51" fmla="*/ 668 h 804"/>
                <a:gd name="T52" fmla="*/ 524 w 817"/>
                <a:gd name="T53" fmla="*/ 678 h 804"/>
                <a:gd name="T54" fmla="*/ 527 w 817"/>
                <a:gd name="T55" fmla="*/ 692 h 804"/>
                <a:gd name="T56" fmla="*/ 547 w 817"/>
                <a:gd name="T57" fmla="*/ 720 h 804"/>
                <a:gd name="T58" fmla="*/ 558 w 817"/>
                <a:gd name="T59" fmla="*/ 750 h 804"/>
                <a:gd name="T60" fmla="*/ 554 w 817"/>
                <a:gd name="T61" fmla="*/ 767 h 804"/>
                <a:gd name="T62" fmla="*/ 537 w 817"/>
                <a:gd name="T63" fmla="*/ 786 h 804"/>
                <a:gd name="T64" fmla="*/ 510 w 817"/>
                <a:gd name="T65" fmla="*/ 800 h 804"/>
                <a:gd name="T66" fmla="*/ 477 w 817"/>
                <a:gd name="T67" fmla="*/ 804 h 804"/>
                <a:gd name="T68" fmla="*/ 441 w 817"/>
                <a:gd name="T69" fmla="*/ 796 h 804"/>
                <a:gd name="T70" fmla="*/ 419 w 817"/>
                <a:gd name="T71" fmla="*/ 784 h 804"/>
                <a:gd name="T72" fmla="*/ 404 w 817"/>
                <a:gd name="T73" fmla="*/ 765 h 804"/>
                <a:gd name="T74" fmla="*/ 400 w 817"/>
                <a:gd name="T75" fmla="*/ 748 h 804"/>
                <a:gd name="T76" fmla="*/ 406 w 817"/>
                <a:gd name="T77" fmla="*/ 726 h 804"/>
                <a:gd name="T78" fmla="*/ 424 w 817"/>
                <a:gd name="T79" fmla="*/ 698 h 804"/>
                <a:gd name="T80" fmla="*/ 432 w 817"/>
                <a:gd name="T81" fmla="*/ 680 h 804"/>
                <a:gd name="T82" fmla="*/ 428 w 817"/>
                <a:gd name="T83" fmla="*/ 671 h 804"/>
                <a:gd name="T84" fmla="*/ 412 w 817"/>
                <a:gd name="T85" fmla="*/ 662 h 804"/>
                <a:gd name="T86" fmla="*/ 135 w 817"/>
                <a:gd name="T87" fmla="*/ 452 h 804"/>
                <a:gd name="T88" fmla="*/ 125 w 817"/>
                <a:gd name="T89" fmla="*/ 445 h 804"/>
                <a:gd name="T90" fmla="*/ 110 w 817"/>
                <a:gd name="T91" fmla="*/ 450 h 804"/>
                <a:gd name="T92" fmla="*/ 74 w 817"/>
                <a:gd name="T93" fmla="*/ 475 h 804"/>
                <a:gd name="T94" fmla="*/ 54 w 817"/>
                <a:gd name="T95" fmla="*/ 481 h 804"/>
                <a:gd name="T96" fmla="*/ 37 w 817"/>
                <a:gd name="T97" fmla="*/ 477 h 804"/>
                <a:gd name="T98" fmla="*/ 17 w 817"/>
                <a:gd name="T99" fmla="*/ 459 h 804"/>
                <a:gd name="T100" fmla="*/ 4 w 817"/>
                <a:gd name="T101" fmla="*/ 432 h 804"/>
                <a:gd name="T102" fmla="*/ 0 w 817"/>
                <a:gd name="T103" fmla="*/ 400 h 804"/>
                <a:gd name="T104" fmla="*/ 7 w 817"/>
                <a:gd name="T105" fmla="*/ 364 h 804"/>
                <a:gd name="T106" fmla="*/ 19 w 817"/>
                <a:gd name="T107" fmla="*/ 342 h 80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7"/>
                <a:gd name="T163" fmla="*/ 0 h 804"/>
                <a:gd name="T164" fmla="*/ 817 w 817"/>
                <a:gd name="T165" fmla="*/ 804 h 80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7" h="804">
                  <a:moveTo>
                    <a:pt x="33" y="329"/>
                  </a:moveTo>
                  <a:lnTo>
                    <a:pt x="38" y="326"/>
                  </a:lnTo>
                  <a:lnTo>
                    <a:pt x="43" y="324"/>
                  </a:lnTo>
                  <a:lnTo>
                    <a:pt x="47" y="323"/>
                  </a:lnTo>
                  <a:lnTo>
                    <a:pt x="51" y="322"/>
                  </a:lnTo>
                  <a:lnTo>
                    <a:pt x="56" y="322"/>
                  </a:lnTo>
                  <a:lnTo>
                    <a:pt x="60" y="322"/>
                  </a:lnTo>
                  <a:lnTo>
                    <a:pt x="64" y="323"/>
                  </a:lnTo>
                  <a:lnTo>
                    <a:pt x="68" y="324"/>
                  </a:lnTo>
                  <a:lnTo>
                    <a:pt x="76" y="328"/>
                  </a:lnTo>
                  <a:lnTo>
                    <a:pt x="84" y="332"/>
                  </a:lnTo>
                  <a:lnTo>
                    <a:pt x="91" y="337"/>
                  </a:lnTo>
                  <a:lnTo>
                    <a:pt x="98" y="343"/>
                  </a:lnTo>
                  <a:lnTo>
                    <a:pt x="104" y="347"/>
                  </a:lnTo>
                  <a:lnTo>
                    <a:pt x="110" y="351"/>
                  </a:lnTo>
                  <a:lnTo>
                    <a:pt x="116" y="354"/>
                  </a:lnTo>
                  <a:lnTo>
                    <a:pt x="120" y="355"/>
                  </a:lnTo>
                  <a:lnTo>
                    <a:pt x="123" y="355"/>
                  </a:lnTo>
                  <a:lnTo>
                    <a:pt x="128" y="354"/>
                  </a:lnTo>
                  <a:lnTo>
                    <a:pt x="130" y="353"/>
                  </a:lnTo>
                  <a:lnTo>
                    <a:pt x="132" y="351"/>
                  </a:lnTo>
                  <a:lnTo>
                    <a:pt x="135" y="348"/>
                  </a:lnTo>
                  <a:lnTo>
                    <a:pt x="137" y="345"/>
                  </a:lnTo>
                  <a:lnTo>
                    <a:pt x="139" y="341"/>
                  </a:lnTo>
                  <a:lnTo>
                    <a:pt x="141" y="335"/>
                  </a:lnTo>
                  <a:lnTo>
                    <a:pt x="141" y="141"/>
                  </a:lnTo>
                  <a:lnTo>
                    <a:pt x="412" y="141"/>
                  </a:lnTo>
                  <a:lnTo>
                    <a:pt x="418" y="138"/>
                  </a:lnTo>
                  <a:lnTo>
                    <a:pt x="423" y="136"/>
                  </a:lnTo>
                  <a:lnTo>
                    <a:pt x="427" y="133"/>
                  </a:lnTo>
                  <a:lnTo>
                    <a:pt x="430" y="129"/>
                  </a:lnTo>
                  <a:lnTo>
                    <a:pt x="432" y="126"/>
                  </a:lnTo>
                  <a:lnTo>
                    <a:pt x="432" y="122"/>
                  </a:lnTo>
                  <a:lnTo>
                    <a:pt x="432" y="119"/>
                  </a:lnTo>
                  <a:lnTo>
                    <a:pt x="431" y="115"/>
                  </a:lnTo>
                  <a:lnTo>
                    <a:pt x="427" y="108"/>
                  </a:lnTo>
                  <a:lnTo>
                    <a:pt x="422" y="100"/>
                  </a:lnTo>
                  <a:lnTo>
                    <a:pt x="416" y="92"/>
                  </a:lnTo>
                  <a:lnTo>
                    <a:pt x="410" y="84"/>
                  </a:lnTo>
                  <a:lnTo>
                    <a:pt x="407" y="76"/>
                  </a:lnTo>
                  <a:lnTo>
                    <a:pt x="404" y="70"/>
                  </a:lnTo>
                  <a:lnTo>
                    <a:pt x="403" y="66"/>
                  </a:lnTo>
                  <a:lnTo>
                    <a:pt x="402" y="63"/>
                  </a:lnTo>
                  <a:lnTo>
                    <a:pt x="401" y="57"/>
                  </a:lnTo>
                  <a:lnTo>
                    <a:pt x="401" y="51"/>
                  </a:lnTo>
                  <a:lnTo>
                    <a:pt x="402" y="45"/>
                  </a:lnTo>
                  <a:lnTo>
                    <a:pt x="403" y="39"/>
                  </a:lnTo>
                  <a:lnTo>
                    <a:pt x="406" y="34"/>
                  </a:lnTo>
                  <a:lnTo>
                    <a:pt x="409" y="29"/>
                  </a:lnTo>
                  <a:lnTo>
                    <a:pt x="413" y="25"/>
                  </a:lnTo>
                  <a:lnTo>
                    <a:pt x="417" y="20"/>
                  </a:lnTo>
                  <a:lnTo>
                    <a:pt x="422" y="17"/>
                  </a:lnTo>
                  <a:lnTo>
                    <a:pt x="427" y="13"/>
                  </a:lnTo>
                  <a:lnTo>
                    <a:pt x="433" y="10"/>
                  </a:lnTo>
                  <a:lnTo>
                    <a:pt x="439" y="7"/>
                  </a:lnTo>
                  <a:lnTo>
                    <a:pt x="446" y="5"/>
                  </a:lnTo>
                  <a:lnTo>
                    <a:pt x="452" y="3"/>
                  </a:lnTo>
                  <a:lnTo>
                    <a:pt x="459" y="1"/>
                  </a:lnTo>
                  <a:lnTo>
                    <a:pt x="467" y="0"/>
                  </a:lnTo>
                  <a:lnTo>
                    <a:pt x="474" y="0"/>
                  </a:lnTo>
                  <a:lnTo>
                    <a:pt x="481" y="0"/>
                  </a:lnTo>
                  <a:lnTo>
                    <a:pt x="489" y="0"/>
                  </a:lnTo>
                  <a:lnTo>
                    <a:pt x="496" y="1"/>
                  </a:lnTo>
                  <a:lnTo>
                    <a:pt x="504" y="2"/>
                  </a:lnTo>
                  <a:lnTo>
                    <a:pt x="511" y="4"/>
                  </a:lnTo>
                  <a:lnTo>
                    <a:pt x="518" y="6"/>
                  </a:lnTo>
                  <a:lnTo>
                    <a:pt x="521" y="8"/>
                  </a:lnTo>
                  <a:lnTo>
                    <a:pt x="524" y="9"/>
                  </a:lnTo>
                  <a:lnTo>
                    <a:pt x="531" y="12"/>
                  </a:lnTo>
                  <a:lnTo>
                    <a:pt x="537" y="16"/>
                  </a:lnTo>
                  <a:lnTo>
                    <a:pt x="542" y="21"/>
                  </a:lnTo>
                  <a:lnTo>
                    <a:pt x="545" y="24"/>
                  </a:lnTo>
                  <a:lnTo>
                    <a:pt x="547" y="26"/>
                  </a:lnTo>
                  <a:lnTo>
                    <a:pt x="551" y="32"/>
                  </a:lnTo>
                  <a:lnTo>
                    <a:pt x="554" y="37"/>
                  </a:lnTo>
                  <a:lnTo>
                    <a:pt x="556" y="42"/>
                  </a:lnTo>
                  <a:lnTo>
                    <a:pt x="557" y="47"/>
                  </a:lnTo>
                  <a:lnTo>
                    <a:pt x="557" y="54"/>
                  </a:lnTo>
                  <a:lnTo>
                    <a:pt x="557" y="60"/>
                  </a:lnTo>
                  <a:lnTo>
                    <a:pt x="556" y="63"/>
                  </a:lnTo>
                  <a:lnTo>
                    <a:pt x="555" y="67"/>
                  </a:lnTo>
                  <a:lnTo>
                    <a:pt x="551" y="74"/>
                  </a:lnTo>
                  <a:lnTo>
                    <a:pt x="549" y="78"/>
                  </a:lnTo>
                  <a:lnTo>
                    <a:pt x="547" y="83"/>
                  </a:lnTo>
                  <a:lnTo>
                    <a:pt x="537" y="96"/>
                  </a:lnTo>
                  <a:lnTo>
                    <a:pt x="530" y="106"/>
                  </a:lnTo>
                  <a:lnTo>
                    <a:pt x="528" y="110"/>
                  </a:lnTo>
                  <a:lnTo>
                    <a:pt x="525" y="114"/>
                  </a:lnTo>
                  <a:lnTo>
                    <a:pt x="524" y="118"/>
                  </a:lnTo>
                  <a:lnTo>
                    <a:pt x="523" y="122"/>
                  </a:lnTo>
                  <a:lnTo>
                    <a:pt x="523" y="126"/>
                  </a:lnTo>
                  <a:lnTo>
                    <a:pt x="524" y="128"/>
                  </a:lnTo>
                  <a:lnTo>
                    <a:pt x="525" y="129"/>
                  </a:lnTo>
                  <a:lnTo>
                    <a:pt x="526" y="131"/>
                  </a:lnTo>
                  <a:lnTo>
                    <a:pt x="528" y="133"/>
                  </a:lnTo>
                  <a:lnTo>
                    <a:pt x="532" y="136"/>
                  </a:lnTo>
                  <a:lnTo>
                    <a:pt x="534" y="137"/>
                  </a:lnTo>
                  <a:lnTo>
                    <a:pt x="537" y="138"/>
                  </a:lnTo>
                  <a:lnTo>
                    <a:pt x="545" y="141"/>
                  </a:lnTo>
                  <a:lnTo>
                    <a:pt x="817" y="141"/>
                  </a:lnTo>
                  <a:lnTo>
                    <a:pt x="817" y="662"/>
                  </a:lnTo>
                  <a:lnTo>
                    <a:pt x="545" y="662"/>
                  </a:lnTo>
                  <a:lnTo>
                    <a:pt x="535" y="666"/>
                  </a:lnTo>
                  <a:lnTo>
                    <a:pt x="531" y="668"/>
                  </a:lnTo>
                  <a:lnTo>
                    <a:pt x="528" y="670"/>
                  </a:lnTo>
                  <a:lnTo>
                    <a:pt x="526" y="673"/>
                  </a:lnTo>
                  <a:lnTo>
                    <a:pt x="524" y="675"/>
                  </a:lnTo>
                  <a:lnTo>
                    <a:pt x="524" y="678"/>
                  </a:lnTo>
                  <a:lnTo>
                    <a:pt x="523" y="680"/>
                  </a:lnTo>
                  <a:lnTo>
                    <a:pt x="524" y="683"/>
                  </a:lnTo>
                  <a:lnTo>
                    <a:pt x="524" y="686"/>
                  </a:lnTo>
                  <a:lnTo>
                    <a:pt x="527" y="692"/>
                  </a:lnTo>
                  <a:lnTo>
                    <a:pt x="531" y="699"/>
                  </a:lnTo>
                  <a:lnTo>
                    <a:pt x="536" y="706"/>
                  </a:lnTo>
                  <a:lnTo>
                    <a:pt x="542" y="713"/>
                  </a:lnTo>
                  <a:lnTo>
                    <a:pt x="547" y="720"/>
                  </a:lnTo>
                  <a:lnTo>
                    <a:pt x="551" y="728"/>
                  </a:lnTo>
                  <a:lnTo>
                    <a:pt x="555" y="737"/>
                  </a:lnTo>
                  <a:lnTo>
                    <a:pt x="558" y="745"/>
                  </a:lnTo>
                  <a:lnTo>
                    <a:pt x="558" y="750"/>
                  </a:lnTo>
                  <a:lnTo>
                    <a:pt x="558" y="754"/>
                  </a:lnTo>
                  <a:lnTo>
                    <a:pt x="557" y="758"/>
                  </a:lnTo>
                  <a:lnTo>
                    <a:pt x="556" y="762"/>
                  </a:lnTo>
                  <a:lnTo>
                    <a:pt x="554" y="767"/>
                  </a:lnTo>
                  <a:lnTo>
                    <a:pt x="552" y="771"/>
                  </a:lnTo>
                  <a:lnTo>
                    <a:pt x="545" y="779"/>
                  </a:lnTo>
                  <a:lnTo>
                    <a:pt x="541" y="783"/>
                  </a:lnTo>
                  <a:lnTo>
                    <a:pt x="537" y="786"/>
                  </a:lnTo>
                  <a:lnTo>
                    <a:pt x="529" y="792"/>
                  </a:lnTo>
                  <a:lnTo>
                    <a:pt x="524" y="794"/>
                  </a:lnTo>
                  <a:lnTo>
                    <a:pt x="520" y="796"/>
                  </a:lnTo>
                  <a:lnTo>
                    <a:pt x="510" y="800"/>
                  </a:lnTo>
                  <a:lnTo>
                    <a:pt x="504" y="801"/>
                  </a:lnTo>
                  <a:lnTo>
                    <a:pt x="498" y="802"/>
                  </a:lnTo>
                  <a:lnTo>
                    <a:pt x="488" y="803"/>
                  </a:lnTo>
                  <a:lnTo>
                    <a:pt x="477" y="804"/>
                  </a:lnTo>
                  <a:lnTo>
                    <a:pt x="466" y="803"/>
                  </a:lnTo>
                  <a:lnTo>
                    <a:pt x="456" y="801"/>
                  </a:lnTo>
                  <a:lnTo>
                    <a:pt x="446" y="798"/>
                  </a:lnTo>
                  <a:lnTo>
                    <a:pt x="441" y="796"/>
                  </a:lnTo>
                  <a:lnTo>
                    <a:pt x="436" y="794"/>
                  </a:lnTo>
                  <a:lnTo>
                    <a:pt x="427" y="790"/>
                  </a:lnTo>
                  <a:lnTo>
                    <a:pt x="423" y="787"/>
                  </a:lnTo>
                  <a:lnTo>
                    <a:pt x="419" y="784"/>
                  </a:lnTo>
                  <a:lnTo>
                    <a:pt x="412" y="778"/>
                  </a:lnTo>
                  <a:lnTo>
                    <a:pt x="409" y="774"/>
                  </a:lnTo>
                  <a:lnTo>
                    <a:pt x="407" y="770"/>
                  </a:lnTo>
                  <a:lnTo>
                    <a:pt x="404" y="765"/>
                  </a:lnTo>
                  <a:lnTo>
                    <a:pt x="402" y="761"/>
                  </a:lnTo>
                  <a:lnTo>
                    <a:pt x="401" y="756"/>
                  </a:lnTo>
                  <a:lnTo>
                    <a:pt x="400" y="752"/>
                  </a:lnTo>
                  <a:lnTo>
                    <a:pt x="400" y="748"/>
                  </a:lnTo>
                  <a:lnTo>
                    <a:pt x="400" y="743"/>
                  </a:lnTo>
                  <a:lnTo>
                    <a:pt x="401" y="739"/>
                  </a:lnTo>
                  <a:lnTo>
                    <a:pt x="402" y="735"/>
                  </a:lnTo>
                  <a:lnTo>
                    <a:pt x="406" y="726"/>
                  </a:lnTo>
                  <a:lnTo>
                    <a:pt x="410" y="719"/>
                  </a:lnTo>
                  <a:lnTo>
                    <a:pt x="415" y="711"/>
                  </a:lnTo>
                  <a:lnTo>
                    <a:pt x="420" y="704"/>
                  </a:lnTo>
                  <a:lnTo>
                    <a:pt x="424" y="698"/>
                  </a:lnTo>
                  <a:lnTo>
                    <a:pt x="428" y="692"/>
                  </a:lnTo>
                  <a:lnTo>
                    <a:pt x="431" y="686"/>
                  </a:lnTo>
                  <a:lnTo>
                    <a:pt x="432" y="683"/>
                  </a:lnTo>
                  <a:lnTo>
                    <a:pt x="432" y="680"/>
                  </a:lnTo>
                  <a:lnTo>
                    <a:pt x="432" y="678"/>
                  </a:lnTo>
                  <a:lnTo>
                    <a:pt x="431" y="675"/>
                  </a:lnTo>
                  <a:lnTo>
                    <a:pt x="430" y="673"/>
                  </a:lnTo>
                  <a:lnTo>
                    <a:pt x="428" y="671"/>
                  </a:lnTo>
                  <a:lnTo>
                    <a:pt x="425" y="668"/>
                  </a:lnTo>
                  <a:lnTo>
                    <a:pt x="421" y="666"/>
                  </a:lnTo>
                  <a:lnTo>
                    <a:pt x="417" y="664"/>
                  </a:lnTo>
                  <a:lnTo>
                    <a:pt x="412" y="662"/>
                  </a:lnTo>
                  <a:lnTo>
                    <a:pt x="141" y="662"/>
                  </a:lnTo>
                  <a:lnTo>
                    <a:pt x="141" y="466"/>
                  </a:lnTo>
                  <a:lnTo>
                    <a:pt x="137" y="456"/>
                  </a:lnTo>
                  <a:lnTo>
                    <a:pt x="135" y="452"/>
                  </a:lnTo>
                  <a:lnTo>
                    <a:pt x="133" y="449"/>
                  </a:lnTo>
                  <a:lnTo>
                    <a:pt x="130" y="447"/>
                  </a:lnTo>
                  <a:lnTo>
                    <a:pt x="128" y="446"/>
                  </a:lnTo>
                  <a:lnTo>
                    <a:pt x="125" y="445"/>
                  </a:lnTo>
                  <a:lnTo>
                    <a:pt x="123" y="445"/>
                  </a:lnTo>
                  <a:lnTo>
                    <a:pt x="120" y="446"/>
                  </a:lnTo>
                  <a:lnTo>
                    <a:pt x="116" y="447"/>
                  </a:lnTo>
                  <a:lnTo>
                    <a:pt x="110" y="450"/>
                  </a:lnTo>
                  <a:lnTo>
                    <a:pt x="103" y="454"/>
                  </a:lnTo>
                  <a:lnTo>
                    <a:pt x="96" y="459"/>
                  </a:lnTo>
                  <a:lnTo>
                    <a:pt x="82" y="469"/>
                  </a:lnTo>
                  <a:lnTo>
                    <a:pt x="74" y="475"/>
                  </a:lnTo>
                  <a:lnTo>
                    <a:pt x="70" y="477"/>
                  </a:lnTo>
                  <a:lnTo>
                    <a:pt x="66" y="478"/>
                  </a:lnTo>
                  <a:lnTo>
                    <a:pt x="58" y="481"/>
                  </a:lnTo>
                  <a:lnTo>
                    <a:pt x="54" y="481"/>
                  </a:lnTo>
                  <a:lnTo>
                    <a:pt x="50" y="481"/>
                  </a:lnTo>
                  <a:lnTo>
                    <a:pt x="45" y="480"/>
                  </a:lnTo>
                  <a:lnTo>
                    <a:pt x="41" y="479"/>
                  </a:lnTo>
                  <a:lnTo>
                    <a:pt x="37" y="477"/>
                  </a:lnTo>
                  <a:lnTo>
                    <a:pt x="32" y="475"/>
                  </a:lnTo>
                  <a:lnTo>
                    <a:pt x="24" y="467"/>
                  </a:lnTo>
                  <a:lnTo>
                    <a:pt x="21" y="463"/>
                  </a:lnTo>
                  <a:lnTo>
                    <a:pt x="17" y="459"/>
                  </a:lnTo>
                  <a:lnTo>
                    <a:pt x="12" y="451"/>
                  </a:lnTo>
                  <a:lnTo>
                    <a:pt x="9" y="446"/>
                  </a:lnTo>
                  <a:lnTo>
                    <a:pt x="7" y="442"/>
                  </a:lnTo>
                  <a:lnTo>
                    <a:pt x="4" y="432"/>
                  </a:lnTo>
                  <a:lnTo>
                    <a:pt x="2" y="426"/>
                  </a:lnTo>
                  <a:lnTo>
                    <a:pt x="1" y="421"/>
                  </a:lnTo>
                  <a:lnTo>
                    <a:pt x="0" y="411"/>
                  </a:lnTo>
                  <a:lnTo>
                    <a:pt x="0" y="400"/>
                  </a:lnTo>
                  <a:lnTo>
                    <a:pt x="1" y="389"/>
                  </a:lnTo>
                  <a:lnTo>
                    <a:pt x="2" y="379"/>
                  </a:lnTo>
                  <a:lnTo>
                    <a:pt x="5" y="369"/>
                  </a:lnTo>
                  <a:lnTo>
                    <a:pt x="7" y="364"/>
                  </a:lnTo>
                  <a:lnTo>
                    <a:pt x="9" y="359"/>
                  </a:lnTo>
                  <a:lnTo>
                    <a:pt x="14" y="350"/>
                  </a:lnTo>
                  <a:lnTo>
                    <a:pt x="16" y="346"/>
                  </a:lnTo>
                  <a:lnTo>
                    <a:pt x="19" y="342"/>
                  </a:lnTo>
                  <a:lnTo>
                    <a:pt x="26" y="334"/>
                  </a:lnTo>
                  <a:lnTo>
                    <a:pt x="29" y="331"/>
                  </a:lnTo>
                  <a:lnTo>
                    <a:pt x="33" y="329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0" name="Freeform 21"/>
            <p:cNvSpPr>
              <a:spLocks/>
            </p:cNvSpPr>
            <p:nvPr/>
          </p:nvSpPr>
          <p:spPr bwMode="auto">
            <a:xfrm>
              <a:off x="895" y="2400"/>
              <a:ext cx="673" cy="662"/>
            </a:xfrm>
            <a:custGeom>
              <a:avLst/>
              <a:gdLst>
                <a:gd name="T0" fmla="*/ 11 w 673"/>
                <a:gd name="T1" fmla="*/ 448 h 662"/>
                <a:gd name="T2" fmla="*/ 27 w 673"/>
                <a:gd name="T3" fmla="*/ 447 h 662"/>
                <a:gd name="T4" fmla="*/ 60 w 673"/>
                <a:gd name="T5" fmla="*/ 469 h 662"/>
                <a:gd name="T6" fmla="*/ 85 w 673"/>
                <a:gd name="T7" fmla="*/ 481 h 662"/>
                <a:gd name="T8" fmla="*/ 109 w 673"/>
                <a:gd name="T9" fmla="*/ 475 h 662"/>
                <a:gd name="T10" fmla="*/ 132 w 673"/>
                <a:gd name="T11" fmla="*/ 446 h 662"/>
                <a:gd name="T12" fmla="*/ 142 w 673"/>
                <a:gd name="T13" fmla="*/ 411 h 662"/>
                <a:gd name="T14" fmla="*/ 135 w 673"/>
                <a:gd name="T15" fmla="*/ 364 h 662"/>
                <a:gd name="T16" fmla="*/ 116 w 673"/>
                <a:gd name="T17" fmla="*/ 334 h 662"/>
                <a:gd name="T18" fmla="*/ 92 w 673"/>
                <a:gd name="T19" fmla="*/ 322 h 662"/>
                <a:gd name="T20" fmla="*/ 67 w 673"/>
                <a:gd name="T21" fmla="*/ 327 h 662"/>
                <a:gd name="T22" fmla="*/ 26 w 673"/>
                <a:gd name="T23" fmla="*/ 354 h 662"/>
                <a:gd name="T24" fmla="*/ 11 w 673"/>
                <a:gd name="T25" fmla="*/ 352 h 662"/>
                <a:gd name="T26" fmla="*/ 0 w 673"/>
                <a:gd name="T27" fmla="*/ 333 h 662"/>
                <a:gd name="T28" fmla="*/ 283 w 673"/>
                <a:gd name="T29" fmla="*/ 135 h 662"/>
                <a:gd name="T30" fmla="*/ 290 w 673"/>
                <a:gd name="T31" fmla="*/ 123 h 662"/>
                <a:gd name="T32" fmla="*/ 278 w 673"/>
                <a:gd name="T33" fmla="*/ 99 h 662"/>
                <a:gd name="T34" fmla="*/ 258 w 673"/>
                <a:gd name="T35" fmla="*/ 64 h 662"/>
                <a:gd name="T36" fmla="*/ 259 w 673"/>
                <a:gd name="T37" fmla="*/ 43 h 662"/>
                <a:gd name="T38" fmla="*/ 274 w 673"/>
                <a:gd name="T39" fmla="*/ 22 h 662"/>
                <a:gd name="T40" fmla="*/ 304 w 673"/>
                <a:gd name="T41" fmla="*/ 5 h 662"/>
                <a:gd name="T42" fmla="*/ 356 w 673"/>
                <a:gd name="T43" fmla="*/ 1 h 662"/>
                <a:gd name="T44" fmla="*/ 390 w 673"/>
                <a:gd name="T45" fmla="*/ 14 h 662"/>
                <a:gd name="T46" fmla="*/ 410 w 673"/>
                <a:gd name="T47" fmla="*/ 32 h 662"/>
                <a:gd name="T48" fmla="*/ 416 w 673"/>
                <a:gd name="T49" fmla="*/ 54 h 662"/>
                <a:gd name="T50" fmla="*/ 394 w 673"/>
                <a:gd name="T51" fmla="*/ 98 h 662"/>
                <a:gd name="T52" fmla="*/ 381 w 673"/>
                <a:gd name="T53" fmla="*/ 123 h 662"/>
                <a:gd name="T54" fmla="*/ 388 w 673"/>
                <a:gd name="T55" fmla="*/ 135 h 662"/>
                <a:gd name="T56" fmla="*/ 673 w 673"/>
                <a:gd name="T57" fmla="*/ 333 h 662"/>
                <a:gd name="T58" fmla="*/ 662 w 673"/>
                <a:gd name="T59" fmla="*/ 353 h 662"/>
                <a:gd name="T60" fmla="*/ 648 w 673"/>
                <a:gd name="T61" fmla="*/ 354 h 662"/>
                <a:gd name="T62" fmla="*/ 615 w 673"/>
                <a:gd name="T63" fmla="*/ 332 h 662"/>
                <a:gd name="T64" fmla="*/ 587 w 673"/>
                <a:gd name="T65" fmla="*/ 322 h 662"/>
                <a:gd name="T66" fmla="*/ 565 w 673"/>
                <a:gd name="T67" fmla="*/ 329 h 662"/>
                <a:gd name="T68" fmla="*/ 545 w 673"/>
                <a:gd name="T69" fmla="*/ 350 h 662"/>
                <a:gd name="T70" fmla="*/ 532 w 673"/>
                <a:gd name="T71" fmla="*/ 389 h 662"/>
                <a:gd name="T72" fmla="*/ 535 w 673"/>
                <a:gd name="T73" fmla="*/ 432 h 662"/>
                <a:gd name="T74" fmla="*/ 549 w 673"/>
                <a:gd name="T75" fmla="*/ 459 h 662"/>
                <a:gd name="T76" fmla="*/ 568 w 673"/>
                <a:gd name="T77" fmla="*/ 477 h 662"/>
                <a:gd name="T78" fmla="*/ 590 w 673"/>
                <a:gd name="T79" fmla="*/ 481 h 662"/>
                <a:gd name="T80" fmla="*/ 628 w 673"/>
                <a:gd name="T81" fmla="*/ 458 h 662"/>
                <a:gd name="T82" fmla="*/ 652 w 673"/>
                <a:gd name="T83" fmla="*/ 446 h 662"/>
                <a:gd name="T84" fmla="*/ 665 w 673"/>
                <a:gd name="T85" fmla="*/ 450 h 662"/>
                <a:gd name="T86" fmla="*/ 673 w 673"/>
                <a:gd name="T87" fmla="*/ 662 h 662"/>
                <a:gd name="T88" fmla="*/ 383 w 673"/>
                <a:gd name="T89" fmla="*/ 652 h 662"/>
                <a:gd name="T90" fmla="*/ 382 w 673"/>
                <a:gd name="T91" fmla="*/ 638 h 662"/>
                <a:gd name="T92" fmla="*/ 405 w 673"/>
                <a:gd name="T93" fmla="*/ 604 h 662"/>
                <a:gd name="T94" fmla="*/ 416 w 673"/>
                <a:gd name="T95" fmla="*/ 570 h 662"/>
                <a:gd name="T96" fmla="*/ 403 w 673"/>
                <a:gd name="T97" fmla="*/ 545 h 662"/>
                <a:gd name="T98" fmla="*/ 377 w 673"/>
                <a:gd name="T99" fmla="*/ 528 h 662"/>
                <a:gd name="T100" fmla="*/ 335 w 673"/>
                <a:gd name="T101" fmla="*/ 521 h 662"/>
                <a:gd name="T102" fmla="*/ 294 w 673"/>
                <a:gd name="T103" fmla="*/ 530 h 662"/>
                <a:gd name="T104" fmla="*/ 267 w 673"/>
                <a:gd name="T105" fmla="*/ 550 h 662"/>
                <a:gd name="T106" fmla="*/ 257 w 673"/>
                <a:gd name="T107" fmla="*/ 572 h 662"/>
                <a:gd name="T108" fmla="*/ 263 w 673"/>
                <a:gd name="T109" fmla="*/ 597 h 662"/>
                <a:gd name="T110" fmla="*/ 287 w 673"/>
                <a:gd name="T111" fmla="*/ 633 h 662"/>
                <a:gd name="T112" fmla="*/ 289 w 673"/>
                <a:gd name="T113" fmla="*/ 649 h 662"/>
                <a:gd name="T114" fmla="*/ 275 w 673"/>
                <a:gd name="T115" fmla="*/ 660 h 66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73"/>
                <a:gd name="T175" fmla="*/ 0 h 662"/>
                <a:gd name="T176" fmla="*/ 673 w 673"/>
                <a:gd name="T177" fmla="*/ 662 h 66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73" h="662">
                  <a:moveTo>
                    <a:pt x="1" y="466"/>
                  </a:moveTo>
                  <a:lnTo>
                    <a:pt x="4" y="456"/>
                  </a:lnTo>
                  <a:lnTo>
                    <a:pt x="7" y="453"/>
                  </a:lnTo>
                  <a:lnTo>
                    <a:pt x="9" y="450"/>
                  </a:lnTo>
                  <a:lnTo>
                    <a:pt x="11" y="448"/>
                  </a:lnTo>
                  <a:lnTo>
                    <a:pt x="13" y="446"/>
                  </a:lnTo>
                  <a:lnTo>
                    <a:pt x="16" y="446"/>
                  </a:lnTo>
                  <a:lnTo>
                    <a:pt x="20" y="445"/>
                  </a:lnTo>
                  <a:lnTo>
                    <a:pt x="23" y="446"/>
                  </a:lnTo>
                  <a:lnTo>
                    <a:pt x="27" y="447"/>
                  </a:lnTo>
                  <a:lnTo>
                    <a:pt x="30" y="449"/>
                  </a:lnTo>
                  <a:lnTo>
                    <a:pt x="34" y="451"/>
                  </a:lnTo>
                  <a:lnTo>
                    <a:pt x="42" y="456"/>
                  </a:lnTo>
                  <a:lnTo>
                    <a:pt x="51" y="463"/>
                  </a:lnTo>
                  <a:lnTo>
                    <a:pt x="60" y="469"/>
                  </a:lnTo>
                  <a:lnTo>
                    <a:pt x="65" y="473"/>
                  </a:lnTo>
                  <a:lnTo>
                    <a:pt x="70" y="476"/>
                  </a:lnTo>
                  <a:lnTo>
                    <a:pt x="75" y="478"/>
                  </a:lnTo>
                  <a:lnTo>
                    <a:pt x="80" y="480"/>
                  </a:lnTo>
                  <a:lnTo>
                    <a:pt x="85" y="481"/>
                  </a:lnTo>
                  <a:lnTo>
                    <a:pt x="90" y="481"/>
                  </a:lnTo>
                  <a:lnTo>
                    <a:pt x="95" y="481"/>
                  </a:lnTo>
                  <a:lnTo>
                    <a:pt x="100" y="480"/>
                  </a:lnTo>
                  <a:lnTo>
                    <a:pt x="104" y="478"/>
                  </a:lnTo>
                  <a:lnTo>
                    <a:pt x="109" y="475"/>
                  </a:lnTo>
                  <a:lnTo>
                    <a:pt x="117" y="467"/>
                  </a:lnTo>
                  <a:lnTo>
                    <a:pt x="121" y="463"/>
                  </a:lnTo>
                  <a:lnTo>
                    <a:pt x="124" y="459"/>
                  </a:lnTo>
                  <a:lnTo>
                    <a:pt x="130" y="451"/>
                  </a:lnTo>
                  <a:lnTo>
                    <a:pt x="132" y="446"/>
                  </a:lnTo>
                  <a:lnTo>
                    <a:pt x="134" y="442"/>
                  </a:lnTo>
                  <a:lnTo>
                    <a:pt x="138" y="432"/>
                  </a:lnTo>
                  <a:lnTo>
                    <a:pt x="139" y="426"/>
                  </a:lnTo>
                  <a:lnTo>
                    <a:pt x="140" y="421"/>
                  </a:lnTo>
                  <a:lnTo>
                    <a:pt x="142" y="411"/>
                  </a:lnTo>
                  <a:lnTo>
                    <a:pt x="142" y="400"/>
                  </a:lnTo>
                  <a:lnTo>
                    <a:pt x="141" y="389"/>
                  </a:lnTo>
                  <a:lnTo>
                    <a:pt x="139" y="379"/>
                  </a:lnTo>
                  <a:lnTo>
                    <a:pt x="136" y="369"/>
                  </a:lnTo>
                  <a:lnTo>
                    <a:pt x="135" y="364"/>
                  </a:lnTo>
                  <a:lnTo>
                    <a:pt x="133" y="359"/>
                  </a:lnTo>
                  <a:lnTo>
                    <a:pt x="128" y="350"/>
                  </a:lnTo>
                  <a:lnTo>
                    <a:pt x="125" y="346"/>
                  </a:lnTo>
                  <a:lnTo>
                    <a:pt x="122" y="342"/>
                  </a:lnTo>
                  <a:lnTo>
                    <a:pt x="116" y="334"/>
                  </a:lnTo>
                  <a:lnTo>
                    <a:pt x="112" y="331"/>
                  </a:lnTo>
                  <a:lnTo>
                    <a:pt x="108" y="329"/>
                  </a:lnTo>
                  <a:lnTo>
                    <a:pt x="103" y="326"/>
                  </a:lnTo>
                  <a:lnTo>
                    <a:pt x="98" y="324"/>
                  </a:lnTo>
                  <a:lnTo>
                    <a:pt x="92" y="322"/>
                  </a:lnTo>
                  <a:lnTo>
                    <a:pt x="87" y="322"/>
                  </a:lnTo>
                  <a:lnTo>
                    <a:pt x="82" y="322"/>
                  </a:lnTo>
                  <a:lnTo>
                    <a:pt x="77" y="323"/>
                  </a:lnTo>
                  <a:lnTo>
                    <a:pt x="72" y="325"/>
                  </a:lnTo>
                  <a:lnTo>
                    <a:pt x="67" y="327"/>
                  </a:lnTo>
                  <a:lnTo>
                    <a:pt x="58" y="332"/>
                  </a:lnTo>
                  <a:lnTo>
                    <a:pt x="49" y="338"/>
                  </a:lnTo>
                  <a:lnTo>
                    <a:pt x="41" y="345"/>
                  </a:lnTo>
                  <a:lnTo>
                    <a:pt x="33" y="350"/>
                  </a:lnTo>
                  <a:lnTo>
                    <a:pt x="26" y="354"/>
                  </a:lnTo>
                  <a:lnTo>
                    <a:pt x="23" y="355"/>
                  </a:lnTo>
                  <a:lnTo>
                    <a:pt x="20" y="355"/>
                  </a:lnTo>
                  <a:lnTo>
                    <a:pt x="16" y="355"/>
                  </a:lnTo>
                  <a:lnTo>
                    <a:pt x="14" y="354"/>
                  </a:lnTo>
                  <a:lnTo>
                    <a:pt x="11" y="352"/>
                  </a:lnTo>
                  <a:lnTo>
                    <a:pt x="9" y="350"/>
                  </a:lnTo>
                  <a:lnTo>
                    <a:pt x="7" y="347"/>
                  </a:lnTo>
                  <a:lnTo>
                    <a:pt x="4" y="344"/>
                  </a:lnTo>
                  <a:lnTo>
                    <a:pt x="2" y="338"/>
                  </a:lnTo>
                  <a:lnTo>
                    <a:pt x="0" y="333"/>
                  </a:lnTo>
                  <a:lnTo>
                    <a:pt x="1" y="141"/>
                  </a:lnTo>
                  <a:lnTo>
                    <a:pt x="269" y="141"/>
                  </a:lnTo>
                  <a:lnTo>
                    <a:pt x="276" y="139"/>
                  </a:lnTo>
                  <a:lnTo>
                    <a:pt x="280" y="137"/>
                  </a:lnTo>
                  <a:lnTo>
                    <a:pt x="283" y="135"/>
                  </a:lnTo>
                  <a:lnTo>
                    <a:pt x="286" y="133"/>
                  </a:lnTo>
                  <a:lnTo>
                    <a:pt x="288" y="130"/>
                  </a:lnTo>
                  <a:lnTo>
                    <a:pt x="289" y="128"/>
                  </a:lnTo>
                  <a:lnTo>
                    <a:pt x="290" y="125"/>
                  </a:lnTo>
                  <a:lnTo>
                    <a:pt x="290" y="123"/>
                  </a:lnTo>
                  <a:lnTo>
                    <a:pt x="290" y="120"/>
                  </a:lnTo>
                  <a:lnTo>
                    <a:pt x="289" y="117"/>
                  </a:lnTo>
                  <a:lnTo>
                    <a:pt x="286" y="112"/>
                  </a:lnTo>
                  <a:lnTo>
                    <a:pt x="283" y="105"/>
                  </a:lnTo>
                  <a:lnTo>
                    <a:pt x="278" y="99"/>
                  </a:lnTo>
                  <a:lnTo>
                    <a:pt x="267" y="85"/>
                  </a:lnTo>
                  <a:lnTo>
                    <a:pt x="263" y="76"/>
                  </a:lnTo>
                  <a:lnTo>
                    <a:pt x="261" y="72"/>
                  </a:lnTo>
                  <a:lnTo>
                    <a:pt x="260" y="68"/>
                  </a:lnTo>
                  <a:lnTo>
                    <a:pt x="258" y="64"/>
                  </a:lnTo>
                  <a:lnTo>
                    <a:pt x="258" y="60"/>
                  </a:lnTo>
                  <a:lnTo>
                    <a:pt x="257" y="56"/>
                  </a:lnTo>
                  <a:lnTo>
                    <a:pt x="257" y="51"/>
                  </a:lnTo>
                  <a:lnTo>
                    <a:pt x="258" y="47"/>
                  </a:lnTo>
                  <a:lnTo>
                    <a:pt x="259" y="43"/>
                  </a:lnTo>
                  <a:lnTo>
                    <a:pt x="261" y="38"/>
                  </a:lnTo>
                  <a:lnTo>
                    <a:pt x="264" y="33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4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4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6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1" y="9"/>
                  </a:lnTo>
                  <a:lnTo>
                    <a:pt x="386" y="12"/>
                  </a:lnTo>
                  <a:lnTo>
                    <a:pt x="390" y="14"/>
                  </a:lnTo>
                  <a:lnTo>
                    <a:pt x="395" y="17"/>
                  </a:lnTo>
                  <a:lnTo>
                    <a:pt x="400" y="21"/>
                  </a:lnTo>
                  <a:lnTo>
                    <a:pt x="403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2" y="37"/>
                  </a:lnTo>
                  <a:lnTo>
                    <a:pt x="414" y="41"/>
                  </a:lnTo>
                  <a:lnTo>
                    <a:pt x="416" y="45"/>
                  </a:lnTo>
                  <a:lnTo>
                    <a:pt x="416" y="50"/>
                  </a:lnTo>
                  <a:lnTo>
                    <a:pt x="416" y="54"/>
                  </a:lnTo>
                  <a:lnTo>
                    <a:pt x="416" y="58"/>
                  </a:lnTo>
                  <a:lnTo>
                    <a:pt x="413" y="66"/>
                  </a:lnTo>
                  <a:lnTo>
                    <a:pt x="410" y="74"/>
                  </a:lnTo>
                  <a:lnTo>
                    <a:pt x="405" y="83"/>
                  </a:lnTo>
                  <a:lnTo>
                    <a:pt x="394" y="98"/>
                  </a:lnTo>
                  <a:lnTo>
                    <a:pt x="389" y="104"/>
                  </a:lnTo>
                  <a:lnTo>
                    <a:pt x="385" y="111"/>
                  </a:lnTo>
                  <a:lnTo>
                    <a:pt x="382" y="117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5"/>
                  </a:lnTo>
                  <a:lnTo>
                    <a:pt x="381" y="128"/>
                  </a:lnTo>
                  <a:lnTo>
                    <a:pt x="383" y="130"/>
                  </a:lnTo>
                  <a:lnTo>
                    <a:pt x="385" y="133"/>
                  </a:lnTo>
                  <a:lnTo>
                    <a:pt x="388" y="135"/>
                  </a:lnTo>
                  <a:lnTo>
                    <a:pt x="391" y="137"/>
                  </a:lnTo>
                  <a:lnTo>
                    <a:pt x="396" y="139"/>
                  </a:lnTo>
                  <a:lnTo>
                    <a:pt x="402" y="141"/>
                  </a:lnTo>
                  <a:lnTo>
                    <a:pt x="673" y="141"/>
                  </a:lnTo>
                  <a:lnTo>
                    <a:pt x="673" y="333"/>
                  </a:lnTo>
                  <a:lnTo>
                    <a:pt x="671" y="339"/>
                  </a:lnTo>
                  <a:lnTo>
                    <a:pt x="669" y="344"/>
                  </a:lnTo>
                  <a:lnTo>
                    <a:pt x="667" y="348"/>
                  </a:lnTo>
                  <a:lnTo>
                    <a:pt x="665" y="350"/>
                  </a:lnTo>
                  <a:lnTo>
                    <a:pt x="662" y="353"/>
                  </a:lnTo>
                  <a:lnTo>
                    <a:pt x="660" y="354"/>
                  </a:lnTo>
                  <a:lnTo>
                    <a:pt x="657" y="355"/>
                  </a:lnTo>
                  <a:lnTo>
                    <a:pt x="655" y="355"/>
                  </a:lnTo>
                  <a:lnTo>
                    <a:pt x="652" y="355"/>
                  </a:lnTo>
                  <a:lnTo>
                    <a:pt x="648" y="354"/>
                  </a:lnTo>
                  <a:lnTo>
                    <a:pt x="642" y="351"/>
                  </a:lnTo>
                  <a:lnTo>
                    <a:pt x="636" y="348"/>
                  </a:lnTo>
                  <a:lnTo>
                    <a:pt x="630" y="343"/>
                  </a:lnTo>
                  <a:lnTo>
                    <a:pt x="623" y="337"/>
                  </a:lnTo>
                  <a:lnTo>
                    <a:pt x="615" y="332"/>
                  </a:lnTo>
                  <a:lnTo>
                    <a:pt x="608" y="328"/>
                  </a:lnTo>
                  <a:lnTo>
                    <a:pt x="600" y="325"/>
                  </a:lnTo>
                  <a:lnTo>
                    <a:pt x="596" y="323"/>
                  </a:lnTo>
                  <a:lnTo>
                    <a:pt x="592" y="322"/>
                  </a:lnTo>
                  <a:lnTo>
                    <a:pt x="587" y="322"/>
                  </a:lnTo>
                  <a:lnTo>
                    <a:pt x="583" y="322"/>
                  </a:lnTo>
                  <a:lnTo>
                    <a:pt x="579" y="323"/>
                  </a:lnTo>
                  <a:lnTo>
                    <a:pt x="574" y="324"/>
                  </a:lnTo>
                  <a:lnTo>
                    <a:pt x="570" y="326"/>
                  </a:lnTo>
                  <a:lnTo>
                    <a:pt x="565" y="329"/>
                  </a:lnTo>
                  <a:lnTo>
                    <a:pt x="561" y="331"/>
                  </a:lnTo>
                  <a:lnTo>
                    <a:pt x="557" y="334"/>
                  </a:lnTo>
                  <a:lnTo>
                    <a:pt x="554" y="338"/>
                  </a:lnTo>
                  <a:lnTo>
                    <a:pt x="551" y="342"/>
                  </a:lnTo>
                  <a:lnTo>
                    <a:pt x="545" y="350"/>
                  </a:lnTo>
                  <a:lnTo>
                    <a:pt x="540" y="359"/>
                  </a:lnTo>
                  <a:lnTo>
                    <a:pt x="538" y="364"/>
                  </a:lnTo>
                  <a:lnTo>
                    <a:pt x="537" y="369"/>
                  </a:lnTo>
                  <a:lnTo>
                    <a:pt x="534" y="379"/>
                  </a:lnTo>
                  <a:lnTo>
                    <a:pt x="532" y="389"/>
                  </a:lnTo>
                  <a:lnTo>
                    <a:pt x="532" y="394"/>
                  </a:lnTo>
                  <a:lnTo>
                    <a:pt x="531" y="400"/>
                  </a:lnTo>
                  <a:lnTo>
                    <a:pt x="532" y="411"/>
                  </a:lnTo>
                  <a:lnTo>
                    <a:pt x="533" y="421"/>
                  </a:lnTo>
                  <a:lnTo>
                    <a:pt x="535" y="432"/>
                  </a:lnTo>
                  <a:lnTo>
                    <a:pt x="539" y="442"/>
                  </a:lnTo>
                  <a:lnTo>
                    <a:pt x="541" y="446"/>
                  </a:lnTo>
                  <a:lnTo>
                    <a:pt x="543" y="451"/>
                  </a:lnTo>
                  <a:lnTo>
                    <a:pt x="546" y="455"/>
                  </a:lnTo>
                  <a:lnTo>
                    <a:pt x="549" y="459"/>
                  </a:lnTo>
                  <a:lnTo>
                    <a:pt x="552" y="463"/>
                  </a:lnTo>
                  <a:lnTo>
                    <a:pt x="556" y="467"/>
                  </a:lnTo>
                  <a:lnTo>
                    <a:pt x="560" y="472"/>
                  </a:lnTo>
                  <a:lnTo>
                    <a:pt x="564" y="475"/>
                  </a:lnTo>
                  <a:lnTo>
                    <a:pt x="568" y="477"/>
                  </a:lnTo>
                  <a:lnTo>
                    <a:pt x="573" y="479"/>
                  </a:lnTo>
                  <a:lnTo>
                    <a:pt x="577" y="480"/>
                  </a:lnTo>
                  <a:lnTo>
                    <a:pt x="581" y="481"/>
                  </a:lnTo>
                  <a:lnTo>
                    <a:pt x="585" y="481"/>
                  </a:lnTo>
                  <a:lnTo>
                    <a:pt x="590" y="481"/>
                  </a:lnTo>
                  <a:lnTo>
                    <a:pt x="598" y="478"/>
                  </a:lnTo>
                  <a:lnTo>
                    <a:pt x="602" y="476"/>
                  </a:lnTo>
                  <a:lnTo>
                    <a:pt x="606" y="474"/>
                  </a:lnTo>
                  <a:lnTo>
                    <a:pt x="614" y="469"/>
                  </a:lnTo>
                  <a:lnTo>
                    <a:pt x="628" y="458"/>
                  </a:lnTo>
                  <a:lnTo>
                    <a:pt x="635" y="453"/>
                  </a:lnTo>
                  <a:lnTo>
                    <a:pt x="642" y="449"/>
                  </a:lnTo>
                  <a:lnTo>
                    <a:pt x="645" y="448"/>
                  </a:lnTo>
                  <a:lnTo>
                    <a:pt x="648" y="446"/>
                  </a:lnTo>
                  <a:lnTo>
                    <a:pt x="652" y="446"/>
                  </a:lnTo>
                  <a:lnTo>
                    <a:pt x="655" y="445"/>
                  </a:lnTo>
                  <a:lnTo>
                    <a:pt x="657" y="446"/>
                  </a:lnTo>
                  <a:lnTo>
                    <a:pt x="660" y="446"/>
                  </a:lnTo>
                  <a:lnTo>
                    <a:pt x="662" y="448"/>
                  </a:lnTo>
                  <a:lnTo>
                    <a:pt x="665" y="450"/>
                  </a:lnTo>
                  <a:lnTo>
                    <a:pt x="667" y="453"/>
                  </a:lnTo>
                  <a:lnTo>
                    <a:pt x="669" y="457"/>
                  </a:lnTo>
                  <a:lnTo>
                    <a:pt x="671" y="461"/>
                  </a:lnTo>
                  <a:lnTo>
                    <a:pt x="673" y="467"/>
                  </a:lnTo>
                  <a:lnTo>
                    <a:pt x="673" y="662"/>
                  </a:lnTo>
                  <a:lnTo>
                    <a:pt x="403" y="662"/>
                  </a:lnTo>
                  <a:lnTo>
                    <a:pt x="392" y="658"/>
                  </a:lnTo>
                  <a:lnTo>
                    <a:pt x="388" y="656"/>
                  </a:lnTo>
                  <a:lnTo>
                    <a:pt x="385" y="654"/>
                  </a:lnTo>
                  <a:lnTo>
                    <a:pt x="383" y="652"/>
                  </a:lnTo>
                  <a:lnTo>
                    <a:pt x="382" y="649"/>
                  </a:lnTo>
                  <a:lnTo>
                    <a:pt x="381" y="647"/>
                  </a:lnTo>
                  <a:lnTo>
                    <a:pt x="380" y="644"/>
                  </a:lnTo>
                  <a:lnTo>
                    <a:pt x="381" y="641"/>
                  </a:lnTo>
                  <a:lnTo>
                    <a:pt x="382" y="638"/>
                  </a:lnTo>
                  <a:lnTo>
                    <a:pt x="384" y="632"/>
                  </a:lnTo>
                  <a:lnTo>
                    <a:pt x="388" y="625"/>
                  </a:lnTo>
                  <a:lnTo>
                    <a:pt x="393" y="619"/>
                  </a:lnTo>
                  <a:lnTo>
                    <a:pt x="400" y="611"/>
                  </a:lnTo>
                  <a:lnTo>
                    <a:pt x="405" y="604"/>
                  </a:lnTo>
                  <a:lnTo>
                    <a:pt x="410" y="595"/>
                  </a:lnTo>
                  <a:lnTo>
                    <a:pt x="413" y="587"/>
                  </a:lnTo>
                  <a:lnTo>
                    <a:pt x="416" y="579"/>
                  </a:lnTo>
                  <a:lnTo>
                    <a:pt x="416" y="575"/>
                  </a:lnTo>
                  <a:lnTo>
                    <a:pt x="416" y="570"/>
                  </a:lnTo>
                  <a:lnTo>
                    <a:pt x="416" y="566"/>
                  </a:lnTo>
                  <a:lnTo>
                    <a:pt x="414" y="562"/>
                  </a:lnTo>
                  <a:lnTo>
                    <a:pt x="413" y="557"/>
                  </a:lnTo>
                  <a:lnTo>
                    <a:pt x="410" y="553"/>
                  </a:lnTo>
                  <a:lnTo>
                    <a:pt x="403" y="545"/>
                  </a:lnTo>
                  <a:lnTo>
                    <a:pt x="400" y="541"/>
                  </a:lnTo>
                  <a:lnTo>
                    <a:pt x="395" y="538"/>
                  </a:lnTo>
                  <a:lnTo>
                    <a:pt x="386" y="532"/>
                  </a:lnTo>
                  <a:lnTo>
                    <a:pt x="381" y="530"/>
                  </a:lnTo>
                  <a:lnTo>
                    <a:pt x="377" y="528"/>
                  </a:lnTo>
                  <a:lnTo>
                    <a:pt x="367" y="524"/>
                  </a:lnTo>
                  <a:lnTo>
                    <a:pt x="362" y="523"/>
                  </a:lnTo>
                  <a:lnTo>
                    <a:pt x="356" y="522"/>
                  </a:lnTo>
                  <a:lnTo>
                    <a:pt x="346" y="521"/>
                  </a:lnTo>
                  <a:lnTo>
                    <a:pt x="335" y="521"/>
                  </a:lnTo>
                  <a:lnTo>
                    <a:pt x="324" y="521"/>
                  </a:lnTo>
                  <a:lnTo>
                    <a:pt x="314" y="523"/>
                  </a:lnTo>
                  <a:lnTo>
                    <a:pt x="304" y="526"/>
                  </a:lnTo>
                  <a:lnTo>
                    <a:pt x="299" y="528"/>
                  </a:lnTo>
                  <a:lnTo>
                    <a:pt x="294" y="530"/>
                  </a:lnTo>
                  <a:lnTo>
                    <a:pt x="285" y="534"/>
                  </a:lnTo>
                  <a:lnTo>
                    <a:pt x="281" y="537"/>
                  </a:lnTo>
                  <a:lnTo>
                    <a:pt x="277" y="540"/>
                  </a:lnTo>
                  <a:lnTo>
                    <a:pt x="270" y="547"/>
                  </a:lnTo>
                  <a:lnTo>
                    <a:pt x="267" y="550"/>
                  </a:lnTo>
                  <a:lnTo>
                    <a:pt x="264" y="554"/>
                  </a:lnTo>
                  <a:lnTo>
                    <a:pt x="261" y="559"/>
                  </a:lnTo>
                  <a:lnTo>
                    <a:pt x="259" y="563"/>
                  </a:lnTo>
                  <a:lnTo>
                    <a:pt x="258" y="568"/>
                  </a:lnTo>
                  <a:lnTo>
                    <a:pt x="257" y="572"/>
                  </a:lnTo>
                  <a:lnTo>
                    <a:pt x="257" y="577"/>
                  </a:lnTo>
                  <a:lnTo>
                    <a:pt x="258" y="581"/>
                  </a:lnTo>
                  <a:lnTo>
                    <a:pt x="258" y="585"/>
                  </a:lnTo>
                  <a:lnTo>
                    <a:pt x="260" y="589"/>
                  </a:lnTo>
                  <a:lnTo>
                    <a:pt x="263" y="597"/>
                  </a:lnTo>
                  <a:lnTo>
                    <a:pt x="267" y="606"/>
                  </a:lnTo>
                  <a:lnTo>
                    <a:pt x="273" y="613"/>
                  </a:lnTo>
                  <a:lnTo>
                    <a:pt x="278" y="620"/>
                  </a:lnTo>
                  <a:lnTo>
                    <a:pt x="283" y="626"/>
                  </a:lnTo>
                  <a:lnTo>
                    <a:pt x="287" y="633"/>
                  </a:lnTo>
                  <a:lnTo>
                    <a:pt x="289" y="638"/>
                  </a:lnTo>
                  <a:lnTo>
                    <a:pt x="290" y="641"/>
                  </a:lnTo>
                  <a:lnTo>
                    <a:pt x="290" y="644"/>
                  </a:lnTo>
                  <a:lnTo>
                    <a:pt x="290" y="646"/>
                  </a:lnTo>
                  <a:lnTo>
                    <a:pt x="289" y="649"/>
                  </a:lnTo>
                  <a:lnTo>
                    <a:pt x="288" y="651"/>
                  </a:lnTo>
                  <a:lnTo>
                    <a:pt x="286" y="654"/>
                  </a:lnTo>
                  <a:lnTo>
                    <a:pt x="283" y="656"/>
                  </a:lnTo>
                  <a:lnTo>
                    <a:pt x="279" y="658"/>
                  </a:lnTo>
                  <a:lnTo>
                    <a:pt x="275" y="660"/>
                  </a:lnTo>
                  <a:lnTo>
                    <a:pt x="268" y="662"/>
                  </a:lnTo>
                  <a:lnTo>
                    <a:pt x="1" y="662"/>
                  </a:lnTo>
                  <a:lnTo>
                    <a:pt x="1" y="466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1" name="Freeform 22"/>
            <p:cNvSpPr>
              <a:spLocks/>
            </p:cNvSpPr>
            <p:nvPr/>
          </p:nvSpPr>
          <p:spPr bwMode="auto">
            <a:xfrm>
              <a:off x="219" y="2399"/>
              <a:ext cx="818" cy="805"/>
            </a:xfrm>
            <a:custGeom>
              <a:avLst/>
              <a:gdLst>
                <a:gd name="T0" fmla="*/ 388 w 818"/>
                <a:gd name="T1" fmla="*/ 671 h 805"/>
                <a:gd name="T2" fmla="*/ 383 w 818"/>
                <a:gd name="T3" fmla="*/ 681 h 805"/>
                <a:gd name="T4" fmla="*/ 391 w 818"/>
                <a:gd name="T5" fmla="*/ 700 h 805"/>
                <a:gd name="T6" fmla="*/ 411 w 818"/>
                <a:gd name="T7" fmla="*/ 729 h 805"/>
                <a:gd name="T8" fmla="*/ 417 w 818"/>
                <a:gd name="T9" fmla="*/ 755 h 805"/>
                <a:gd name="T10" fmla="*/ 411 w 818"/>
                <a:gd name="T11" fmla="*/ 772 h 805"/>
                <a:gd name="T12" fmla="*/ 388 w 818"/>
                <a:gd name="T13" fmla="*/ 793 h 805"/>
                <a:gd name="T14" fmla="*/ 364 w 818"/>
                <a:gd name="T15" fmla="*/ 802 h 805"/>
                <a:gd name="T16" fmla="*/ 327 w 818"/>
                <a:gd name="T17" fmla="*/ 804 h 805"/>
                <a:gd name="T18" fmla="*/ 295 w 818"/>
                <a:gd name="T19" fmla="*/ 796 h 805"/>
                <a:gd name="T20" fmla="*/ 272 w 818"/>
                <a:gd name="T21" fmla="*/ 779 h 805"/>
                <a:gd name="T22" fmla="*/ 261 w 818"/>
                <a:gd name="T23" fmla="*/ 762 h 805"/>
                <a:gd name="T24" fmla="*/ 260 w 818"/>
                <a:gd name="T25" fmla="*/ 744 h 805"/>
                <a:gd name="T26" fmla="*/ 275 w 818"/>
                <a:gd name="T27" fmla="*/ 712 h 805"/>
                <a:gd name="T28" fmla="*/ 290 w 818"/>
                <a:gd name="T29" fmla="*/ 687 h 805"/>
                <a:gd name="T30" fmla="*/ 290 w 818"/>
                <a:gd name="T31" fmla="*/ 676 h 805"/>
                <a:gd name="T32" fmla="*/ 280 w 818"/>
                <a:gd name="T33" fmla="*/ 667 h 805"/>
                <a:gd name="T34" fmla="*/ 0 w 818"/>
                <a:gd name="T35" fmla="*/ 142 h 805"/>
                <a:gd name="T36" fmla="*/ 284 w 818"/>
                <a:gd name="T37" fmla="*/ 136 h 805"/>
                <a:gd name="T38" fmla="*/ 291 w 818"/>
                <a:gd name="T39" fmla="*/ 126 h 805"/>
                <a:gd name="T40" fmla="*/ 289 w 818"/>
                <a:gd name="T41" fmla="*/ 115 h 805"/>
                <a:gd name="T42" fmla="*/ 275 w 818"/>
                <a:gd name="T43" fmla="*/ 93 h 805"/>
                <a:gd name="T44" fmla="*/ 261 w 818"/>
                <a:gd name="T45" fmla="*/ 65 h 805"/>
                <a:gd name="T46" fmla="*/ 260 w 818"/>
                <a:gd name="T47" fmla="*/ 48 h 805"/>
                <a:gd name="T48" fmla="*/ 269 w 818"/>
                <a:gd name="T49" fmla="*/ 30 h 805"/>
                <a:gd name="T50" fmla="*/ 287 w 818"/>
                <a:gd name="T51" fmla="*/ 14 h 805"/>
                <a:gd name="T52" fmla="*/ 316 w 818"/>
                <a:gd name="T53" fmla="*/ 3 h 805"/>
                <a:gd name="T54" fmla="*/ 359 w 818"/>
                <a:gd name="T55" fmla="*/ 2 h 805"/>
                <a:gd name="T56" fmla="*/ 388 w 818"/>
                <a:gd name="T57" fmla="*/ 12 h 805"/>
                <a:gd name="T58" fmla="*/ 404 w 818"/>
                <a:gd name="T59" fmla="*/ 25 h 805"/>
                <a:gd name="T60" fmla="*/ 416 w 818"/>
                <a:gd name="T61" fmla="*/ 42 h 805"/>
                <a:gd name="T62" fmla="*/ 417 w 818"/>
                <a:gd name="T63" fmla="*/ 59 h 805"/>
                <a:gd name="T64" fmla="*/ 406 w 818"/>
                <a:gd name="T65" fmla="*/ 84 h 805"/>
                <a:gd name="T66" fmla="*/ 385 w 818"/>
                <a:gd name="T67" fmla="*/ 115 h 805"/>
                <a:gd name="T68" fmla="*/ 383 w 818"/>
                <a:gd name="T69" fmla="*/ 127 h 805"/>
                <a:gd name="T70" fmla="*/ 391 w 818"/>
                <a:gd name="T71" fmla="*/ 136 h 805"/>
                <a:gd name="T72" fmla="*/ 677 w 818"/>
                <a:gd name="T73" fmla="*/ 142 h 805"/>
                <a:gd name="T74" fmla="*/ 683 w 818"/>
                <a:gd name="T75" fmla="*/ 349 h 805"/>
                <a:gd name="T76" fmla="*/ 692 w 818"/>
                <a:gd name="T77" fmla="*/ 356 h 805"/>
                <a:gd name="T78" fmla="*/ 707 w 818"/>
                <a:gd name="T79" fmla="*/ 352 h 805"/>
                <a:gd name="T80" fmla="*/ 742 w 818"/>
                <a:gd name="T81" fmla="*/ 329 h 805"/>
                <a:gd name="T82" fmla="*/ 762 w 818"/>
                <a:gd name="T83" fmla="*/ 323 h 805"/>
                <a:gd name="T84" fmla="*/ 780 w 818"/>
                <a:gd name="T85" fmla="*/ 327 h 805"/>
                <a:gd name="T86" fmla="*/ 795 w 818"/>
                <a:gd name="T87" fmla="*/ 339 h 805"/>
                <a:gd name="T88" fmla="*/ 811 w 818"/>
                <a:gd name="T89" fmla="*/ 365 h 805"/>
                <a:gd name="T90" fmla="*/ 818 w 818"/>
                <a:gd name="T91" fmla="*/ 395 h 805"/>
                <a:gd name="T92" fmla="*/ 814 w 818"/>
                <a:gd name="T93" fmla="*/ 433 h 805"/>
                <a:gd name="T94" fmla="*/ 803 w 818"/>
                <a:gd name="T95" fmla="*/ 456 h 805"/>
                <a:gd name="T96" fmla="*/ 790 w 818"/>
                <a:gd name="T97" fmla="*/ 473 h 805"/>
                <a:gd name="T98" fmla="*/ 773 w 818"/>
                <a:gd name="T99" fmla="*/ 481 h 805"/>
                <a:gd name="T100" fmla="*/ 752 w 818"/>
                <a:gd name="T101" fmla="*/ 479 h 805"/>
                <a:gd name="T102" fmla="*/ 714 w 818"/>
                <a:gd name="T103" fmla="*/ 454 h 805"/>
                <a:gd name="T104" fmla="*/ 699 w 818"/>
                <a:gd name="T105" fmla="*/ 447 h 805"/>
                <a:gd name="T106" fmla="*/ 687 w 818"/>
                <a:gd name="T107" fmla="*/ 449 h 805"/>
                <a:gd name="T108" fmla="*/ 679 w 818"/>
                <a:gd name="T109" fmla="*/ 462 h 80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8"/>
                <a:gd name="T166" fmla="*/ 0 h 805"/>
                <a:gd name="T167" fmla="*/ 818 w 818"/>
                <a:gd name="T168" fmla="*/ 805 h 80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8" h="805">
                  <a:moveTo>
                    <a:pt x="405" y="663"/>
                  </a:moveTo>
                  <a:lnTo>
                    <a:pt x="395" y="667"/>
                  </a:lnTo>
                  <a:lnTo>
                    <a:pt x="391" y="669"/>
                  </a:lnTo>
                  <a:lnTo>
                    <a:pt x="388" y="671"/>
                  </a:lnTo>
                  <a:lnTo>
                    <a:pt x="385" y="674"/>
                  </a:lnTo>
                  <a:lnTo>
                    <a:pt x="384" y="676"/>
                  </a:lnTo>
                  <a:lnTo>
                    <a:pt x="383" y="679"/>
                  </a:lnTo>
                  <a:lnTo>
                    <a:pt x="383" y="681"/>
                  </a:lnTo>
                  <a:lnTo>
                    <a:pt x="383" y="684"/>
                  </a:lnTo>
                  <a:lnTo>
                    <a:pt x="384" y="687"/>
                  </a:lnTo>
                  <a:lnTo>
                    <a:pt x="387" y="693"/>
                  </a:lnTo>
                  <a:lnTo>
                    <a:pt x="391" y="700"/>
                  </a:lnTo>
                  <a:lnTo>
                    <a:pt x="395" y="707"/>
                  </a:lnTo>
                  <a:lnTo>
                    <a:pt x="401" y="714"/>
                  </a:lnTo>
                  <a:lnTo>
                    <a:pt x="406" y="721"/>
                  </a:lnTo>
                  <a:lnTo>
                    <a:pt x="411" y="729"/>
                  </a:lnTo>
                  <a:lnTo>
                    <a:pt x="415" y="738"/>
                  </a:lnTo>
                  <a:lnTo>
                    <a:pt x="417" y="746"/>
                  </a:lnTo>
                  <a:lnTo>
                    <a:pt x="417" y="751"/>
                  </a:lnTo>
                  <a:lnTo>
                    <a:pt x="417" y="755"/>
                  </a:lnTo>
                  <a:lnTo>
                    <a:pt x="417" y="759"/>
                  </a:lnTo>
                  <a:lnTo>
                    <a:pt x="416" y="764"/>
                  </a:lnTo>
                  <a:lnTo>
                    <a:pt x="414" y="768"/>
                  </a:lnTo>
                  <a:lnTo>
                    <a:pt x="411" y="772"/>
                  </a:lnTo>
                  <a:lnTo>
                    <a:pt x="404" y="780"/>
                  </a:lnTo>
                  <a:lnTo>
                    <a:pt x="401" y="784"/>
                  </a:lnTo>
                  <a:lnTo>
                    <a:pt x="397" y="787"/>
                  </a:lnTo>
                  <a:lnTo>
                    <a:pt x="388" y="793"/>
                  </a:lnTo>
                  <a:lnTo>
                    <a:pt x="384" y="795"/>
                  </a:lnTo>
                  <a:lnTo>
                    <a:pt x="379" y="797"/>
                  </a:lnTo>
                  <a:lnTo>
                    <a:pt x="369" y="801"/>
                  </a:lnTo>
                  <a:lnTo>
                    <a:pt x="364" y="802"/>
                  </a:lnTo>
                  <a:lnTo>
                    <a:pt x="359" y="803"/>
                  </a:lnTo>
                  <a:lnTo>
                    <a:pt x="348" y="805"/>
                  </a:lnTo>
                  <a:lnTo>
                    <a:pt x="337" y="805"/>
                  </a:lnTo>
                  <a:lnTo>
                    <a:pt x="327" y="804"/>
                  </a:lnTo>
                  <a:lnTo>
                    <a:pt x="316" y="802"/>
                  </a:lnTo>
                  <a:lnTo>
                    <a:pt x="305" y="799"/>
                  </a:lnTo>
                  <a:lnTo>
                    <a:pt x="300" y="798"/>
                  </a:lnTo>
                  <a:lnTo>
                    <a:pt x="295" y="796"/>
                  </a:lnTo>
                  <a:lnTo>
                    <a:pt x="287" y="791"/>
                  </a:lnTo>
                  <a:lnTo>
                    <a:pt x="282" y="788"/>
                  </a:lnTo>
                  <a:lnTo>
                    <a:pt x="279" y="785"/>
                  </a:lnTo>
                  <a:lnTo>
                    <a:pt x="272" y="779"/>
                  </a:lnTo>
                  <a:lnTo>
                    <a:pt x="269" y="775"/>
                  </a:lnTo>
                  <a:lnTo>
                    <a:pt x="266" y="771"/>
                  </a:lnTo>
                  <a:lnTo>
                    <a:pt x="263" y="767"/>
                  </a:lnTo>
                  <a:lnTo>
                    <a:pt x="261" y="762"/>
                  </a:lnTo>
                  <a:lnTo>
                    <a:pt x="260" y="757"/>
                  </a:lnTo>
                  <a:lnTo>
                    <a:pt x="260" y="753"/>
                  </a:lnTo>
                  <a:lnTo>
                    <a:pt x="259" y="749"/>
                  </a:lnTo>
                  <a:lnTo>
                    <a:pt x="260" y="744"/>
                  </a:lnTo>
                  <a:lnTo>
                    <a:pt x="262" y="736"/>
                  </a:lnTo>
                  <a:lnTo>
                    <a:pt x="265" y="727"/>
                  </a:lnTo>
                  <a:lnTo>
                    <a:pt x="270" y="720"/>
                  </a:lnTo>
                  <a:lnTo>
                    <a:pt x="275" y="712"/>
                  </a:lnTo>
                  <a:lnTo>
                    <a:pt x="279" y="705"/>
                  </a:lnTo>
                  <a:lnTo>
                    <a:pt x="284" y="699"/>
                  </a:lnTo>
                  <a:lnTo>
                    <a:pt x="288" y="693"/>
                  </a:lnTo>
                  <a:lnTo>
                    <a:pt x="290" y="687"/>
                  </a:lnTo>
                  <a:lnTo>
                    <a:pt x="291" y="684"/>
                  </a:lnTo>
                  <a:lnTo>
                    <a:pt x="291" y="681"/>
                  </a:lnTo>
                  <a:lnTo>
                    <a:pt x="291" y="679"/>
                  </a:lnTo>
                  <a:lnTo>
                    <a:pt x="290" y="676"/>
                  </a:lnTo>
                  <a:lnTo>
                    <a:pt x="289" y="674"/>
                  </a:lnTo>
                  <a:lnTo>
                    <a:pt x="287" y="671"/>
                  </a:lnTo>
                  <a:lnTo>
                    <a:pt x="284" y="669"/>
                  </a:lnTo>
                  <a:lnTo>
                    <a:pt x="280" y="667"/>
                  </a:lnTo>
                  <a:lnTo>
                    <a:pt x="276" y="665"/>
                  </a:lnTo>
                  <a:lnTo>
                    <a:pt x="270" y="663"/>
                  </a:lnTo>
                  <a:lnTo>
                    <a:pt x="0" y="663"/>
                  </a:lnTo>
                  <a:lnTo>
                    <a:pt x="0" y="142"/>
                  </a:lnTo>
                  <a:lnTo>
                    <a:pt x="270" y="142"/>
                  </a:lnTo>
                  <a:lnTo>
                    <a:pt x="276" y="140"/>
                  </a:lnTo>
                  <a:lnTo>
                    <a:pt x="280" y="138"/>
                  </a:lnTo>
                  <a:lnTo>
                    <a:pt x="284" y="136"/>
                  </a:lnTo>
                  <a:lnTo>
                    <a:pt x="287" y="134"/>
                  </a:lnTo>
                  <a:lnTo>
                    <a:pt x="289" y="131"/>
                  </a:lnTo>
                  <a:lnTo>
                    <a:pt x="290" y="129"/>
                  </a:lnTo>
                  <a:lnTo>
                    <a:pt x="291" y="126"/>
                  </a:lnTo>
                  <a:lnTo>
                    <a:pt x="291" y="124"/>
                  </a:lnTo>
                  <a:lnTo>
                    <a:pt x="291" y="121"/>
                  </a:lnTo>
                  <a:lnTo>
                    <a:pt x="290" y="118"/>
                  </a:lnTo>
                  <a:lnTo>
                    <a:pt x="289" y="115"/>
                  </a:lnTo>
                  <a:lnTo>
                    <a:pt x="288" y="112"/>
                  </a:lnTo>
                  <a:lnTo>
                    <a:pt x="284" y="106"/>
                  </a:lnTo>
                  <a:lnTo>
                    <a:pt x="279" y="100"/>
                  </a:lnTo>
                  <a:lnTo>
                    <a:pt x="275" y="93"/>
                  </a:lnTo>
                  <a:lnTo>
                    <a:pt x="270" y="86"/>
                  </a:lnTo>
                  <a:lnTo>
                    <a:pt x="265" y="77"/>
                  </a:lnTo>
                  <a:lnTo>
                    <a:pt x="262" y="69"/>
                  </a:lnTo>
                  <a:lnTo>
                    <a:pt x="261" y="65"/>
                  </a:lnTo>
                  <a:lnTo>
                    <a:pt x="260" y="61"/>
                  </a:lnTo>
                  <a:lnTo>
                    <a:pt x="259" y="56"/>
                  </a:lnTo>
                  <a:lnTo>
                    <a:pt x="260" y="52"/>
                  </a:lnTo>
                  <a:lnTo>
                    <a:pt x="260" y="48"/>
                  </a:lnTo>
                  <a:lnTo>
                    <a:pt x="261" y="43"/>
                  </a:lnTo>
                  <a:lnTo>
                    <a:pt x="263" y="39"/>
                  </a:lnTo>
                  <a:lnTo>
                    <a:pt x="266" y="34"/>
                  </a:lnTo>
                  <a:lnTo>
                    <a:pt x="269" y="30"/>
                  </a:lnTo>
                  <a:lnTo>
                    <a:pt x="272" y="26"/>
                  </a:lnTo>
                  <a:lnTo>
                    <a:pt x="275" y="23"/>
                  </a:lnTo>
                  <a:lnTo>
                    <a:pt x="279" y="20"/>
                  </a:lnTo>
                  <a:lnTo>
                    <a:pt x="287" y="14"/>
                  </a:lnTo>
                  <a:lnTo>
                    <a:pt x="295" y="9"/>
                  </a:lnTo>
                  <a:lnTo>
                    <a:pt x="300" y="7"/>
                  </a:lnTo>
                  <a:lnTo>
                    <a:pt x="305" y="6"/>
                  </a:lnTo>
                  <a:lnTo>
                    <a:pt x="316" y="3"/>
                  </a:lnTo>
                  <a:lnTo>
                    <a:pt x="327" y="1"/>
                  </a:lnTo>
                  <a:lnTo>
                    <a:pt x="337" y="0"/>
                  </a:lnTo>
                  <a:lnTo>
                    <a:pt x="348" y="1"/>
                  </a:lnTo>
                  <a:lnTo>
                    <a:pt x="359" y="2"/>
                  </a:lnTo>
                  <a:lnTo>
                    <a:pt x="369" y="4"/>
                  </a:lnTo>
                  <a:lnTo>
                    <a:pt x="379" y="8"/>
                  </a:lnTo>
                  <a:lnTo>
                    <a:pt x="384" y="10"/>
                  </a:lnTo>
                  <a:lnTo>
                    <a:pt x="388" y="12"/>
                  </a:lnTo>
                  <a:lnTo>
                    <a:pt x="393" y="15"/>
                  </a:lnTo>
                  <a:lnTo>
                    <a:pt x="397" y="18"/>
                  </a:lnTo>
                  <a:lnTo>
                    <a:pt x="401" y="21"/>
                  </a:lnTo>
                  <a:lnTo>
                    <a:pt x="404" y="25"/>
                  </a:lnTo>
                  <a:lnTo>
                    <a:pt x="408" y="29"/>
                  </a:lnTo>
                  <a:lnTo>
                    <a:pt x="411" y="33"/>
                  </a:lnTo>
                  <a:lnTo>
                    <a:pt x="414" y="37"/>
                  </a:lnTo>
                  <a:lnTo>
                    <a:pt x="416" y="42"/>
                  </a:lnTo>
                  <a:lnTo>
                    <a:pt x="417" y="46"/>
                  </a:lnTo>
                  <a:lnTo>
                    <a:pt x="417" y="50"/>
                  </a:lnTo>
                  <a:lnTo>
                    <a:pt x="417" y="55"/>
                  </a:lnTo>
                  <a:lnTo>
                    <a:pt x="417" y="59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1" y="75"/>
                  </a:lnTo>
                  <a:lnTo>
                    <a:pt x="406" y="84"/>
                  </a:lnTo>
                  <a:lnTo>
                    <a:pt x="395" y="99"/>
                  </a:lnTo>
                  <a:lnTo>
                    <a:pt x="391" y="105"/>
                  </a:lnTo>
                  <a:lnTo>
                    <a:pt x="387" y="112"/>
                  </a:lnTo>
                  <a:lnTo>
                    <a:pt x="385" y="115"/>
                  </a:lnTo>
                  <a:lnTo>
                    <a:pt x="384" y="118"/>
                  </a:lnTo>
                  <a:lnTo>
                    <a:pt x="383" y="121"/>
                  </a:lnTo>
                  <a:lnTo>
                    <a:pt x="383" y="124"/>
                  </a:lnTo>
                  <a:lnTo>
                    <a:pt x="383" y="127"/>
                  </a:lnTo>
                  <a:lnTo>
                    <a:pt x="384" y="129"/>
                  </a:lnTo>
                  <a:lnTo>
                    <a:pt x="385" y="132"/>
                  </a:lnTo>
                  <a:lnTo>
                    <a:pt x="388" y="134"/>
                  </a:lnTo>
                  <a:lnTo>
                    <a:pt x="391" y="136"/>
                  </a:lnTo>
                  <a:lnTo>
                    <a:pt x="395" y="138"/>
                  </a:lnTo>
                  <a:lnTo>
                    <a:pt x="399" y="140"/>
                  </a:lnTo>
                  <a:lnTo>
                    <a:pt x="405" y="142"/>
                  </a:lnTo>
                  <a:lnTo>
                    <a:pt x="677" y="142"/>
                  </a:lnTo>
                  <a:lnTo>
                    <a:pt x="677" y="335"/>
                  </a:lnTo>
                  <a:lnTo>
                    <a:pt x="679" y="340"/>
                  </a:lnTo>
                  <a:lnTo>
                    <a:pt x="681" y="345"/>
                  </a:lnTo>
                  <a:lnTo>
                    <a:pt x="683" y="349"/>
                  </a:lnTo>
                  <a:lnTo>
                    <a:pt x="685" y="352"/>
                  </a:lnTo>
                  <a:lnTo>
                    <a:pt x="687" y="354"/>
                  </a:lnTo>
                  <a:lnTo>
                    <a:pt x="690" y="355"/>
                  </a:lnTo>
                  <a:lnTo>
                    <a:pt x="692" y="356"/>
                  </a:lnTo>
                  <a:lnTo>
                    <a:pt x="696" y="356"/>
                  </a:lnTo>
                  <a:lnTo>
                    <a:pt x="699" y="356"/>
                  </a:lnTo>
                  <a:lnTo>
                    <a:pt x="701" y="355"/>
                  </a:lnTo>
                  <a:lnTo>
                    <a:pt x="707" y="352"/>
                  </a:lnTo>
                  <a:lnTo>
                    <a:pt x="713" y="348"/>
                  </a:lnTo>
                  <a:lnTo>
                    <a:pt x="720" y="344"/>
                  </a:lnTo>
                  <a:lnTo>
                    <a:pt x="734" y="333"/>
                  </a:lnTo>
                  <a:lnTo>
                    <a:pt x="742" y="329"/>
                  </a:lnTo>
                  <a:lnTo>
                    <a:pt x="750" y="325"/>
                  </a:lnTo>
                  <a:lnTo>
                    <a:pt x="754" y="324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1" y="324"/>
                  </a:lnTo>
                  <a:lnTo>
                    <a:pt x="775" y="325"/>
                  </a:lnTo>
                  <a:lnTo>
                    <a:pt x="780" y="327"/>
                  </a:lnTo>
                  <a:lnTo>
                    <a:pt x="785" y="330"/>
                  </a:lnTo>
                  <a:lnTo>
                    <a:pt x="788" y="332"/>
                  </a:lnTo>
                  <a:lnTo>
                    <a:pt x="792" y="335"/>
                  </a:lnTo>
                  <a:lnTo>
                    <a:pt x="795" y="339"/>
                  </a:lnTo>
                  <a:lnTo>
                    <a:pt x="799" y="343"/>
                  </a:lnTo>
                  <a:lnTo>
                    <a:pt x="804" y="351"/>
                  </a:lnTo>
                  <a:lnTo>
                    <a:pt x="809" y="360"/>
                  </a:lnTo>
                  <a:lnTo>
                    <a:pt x="811" y="365"/>
                  </a:lnTo>
                  <a:lnTo>
                    <a:pt x="813" y="370"/>
                  </a:lnTo>
                  <a:lnTo>
                    <a:pt x="815" y="380"/>
                  </a:lnTo>
                  <a:lnTo>
                    <a:pt x="817" y="390"/>
                  </a:lnTo>
                  <a:lnTo>
                    <a:pt x="818" y="395"/>
                  </a:lnTo>
                  <a:lnTo>
                    <a:pt x="818" y="401"/>
                  </a:lnTo>
                  <a:lnTo>
                    <a:pt x="818" y="412"/>
                  </a:lnTo>
                  <a:lnTo>
                    <a:pt x="816" y="422"/>
                  </a:lnTo>
                  <a:lnTo>
                    <a:pt x="814" y="433"/>
                  </a:lnTo>
                  <a:lnTo>
                    <a:pt x="811" y="443"/>
                  </a:lnTo>
                  <a:lnTo>
                    <a:pt x="809" y="447"/>
                  </a:lnTo>
                  <a:lnTo>
                    <a:pt x="806" y="452"/>
                  </a:lnTo>
                  <a:lnTo>
                    <a:pt x="803" y="456"/>
                  </a:lnTo>
                  <a:lnTo>
                    <a:pt x="800" y="460"/>
                  </a:lnTo>
                  <a:lnTo>
                    <a:pt x="797" y="464"/>
                  </a:lnTo>
                  <a:lnTo>
                    <a:pt x="794" y="468"/>
                  </a:lnTo>
                  <a:lnTo>
                    <a:pt x="790" y="473"/>
                  </a:lnTo>
                  <a:lnTo>
                    <a:pt x="786" y="476"/>
                  </a:lnTo>
                  <a:lnTo>
                    <a:pt x="781" y="478"/>
                  </a:lnTo>
                  <a:lnTo>
                    <a:pt x="777" y="480"/>
                  </a:lnTo>
                  <a:lnTo>
                    <a:pt x="773" y="481"/>
                  </a:lnTo>
                  <a:lnTo>
                    <a:pt x="768" y="482"/>
                  </a:lnTo>
                  <a:lnTo>
                    <a:pt x="764" y="482"/>
                  </a:lnTo>
                  <a:lnTo>
                    <a:pt x="760" y="482"/>
                  </a:lnTo>
                  <a:lnTo>
                    <a:pt x="752" y="479"/>
                  </a:lnTo>
                  <a:lnTo>
                    <a:pt x="744" y="476"/>
                  </a:lnTo>
                  <a:lnTo>
                    <a:pt x="736" y="470"/>
                  </a:lnTo>
                  <a:lnTo>
                    <a:pt x="721" y="459"/>
                  </a:lnTo>
                  <a:lnTo>
                    <a:pt x="714" y="454"/>
                  </a:lnTo>
                  <a:lnTo>
                    <a:pt x="708" y="450"/>
                  </a:lnTo>
                  <a:lnTo>
                    <a:pt x="705" y="449"/>
                  </a:lnTo>
                  <a:lnTo>
                    <a:pt x="702" y="447"/>
                  </a:lnTo>
                  <a:lnTo>
                    <a:pt x="699" y="447"/>
                  </a:lnTo>
                  <a:lnTo>
                    <a:pt x="696" y="446"/>
                  </a:lnTo>
                  <a:lnTo>
                    <a:pt x="692" y="446"/>
                  </a:lnTo>
                  <a:lnTo>
                    <a:pt x="690" y="447"/>
                  </a:lnTo>
                  <a:lnTo>
                    <a:pt x="687" y="449"/>
                  </a:lnTo>
                  <a:lnTo>
                    <a:pt x="685" y="451"/>
                  </a:lnTo>
                  <a:lnTo>
                    <a:pt x="683" y="454"/>
                  </a:lnTo>
                  <a:lnTo>
                    <a:pt x="681" y="457"/>
                  </a:lnTo>
                  <a:lnTo>
                    <a:pt x="679" y="462"/>
                  </a:lnTo>
                  <a:lnTo>
                    <a:pt x="677" y="467"/>
                  </a:lnTo>
                  <a:lnTo>
                    <a:pt x="677" y="663"/>
                  </a:lnTo>
                  <a:lnTo>
                    <a:pt x="405" y="663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2" name="Freeform 23"/>
            <p:cNvSpPr>
              <a:spLocks/>
            </p:cNvSpPr>
            <p:nvPr/>
          </p:nvSpPr>
          <p:spPr bwMode="auto">
            <a:xfrm>
              <a:off x="1427" y="2020"/>
              <a:ext cx="817" cy="521"/>
            </a:xfrm>
            <a:custGeom>
              <a:avLst/>
              <a:gdLst>
                <a:gd name="T0" fmla="*/ 538 w 817"/>
                <a:gd name="T1" fmla="*/ 518 h 521"/>
                <a:gd name="T2" fmla="*/ 527 w 817"/>
                <a:gd name="T3" fmla="*/ 511 h 521"/>
                <a:gd name="T4" fmla="*/ 524 w 817"/>
                <a:gd name="T5" fmla="*/ 502 h 521"/>
                <a:gd name="T6" fmla="*/ 530 w 817"/>
                <a:gd name="T7" fmla="*/ 486 h 521"/>
                <a:gd name="T8" fmla="*/ 551 w 817"/>
                <a:gd name="T9" fmla="*/ 454 h 521"/>
                <a:gd name="T10" fmla="*/ 557 w 817"/>
                <a:gd name="T11" fmla="*/ 438 h 521"/>
                <a:gd name="T12" fmla="*/ 556 w 817"/>
                <a:gd name="T13" fmla="*/ 422 h 521"/>
                <a:gd name="T14" fmla="*/ 553 w 817"/>
                <a:gd name="T15" fmla="*/ 413 h 521"/>
                <a:gd name="T16" fmla="*/ 545 w 817"/>
                <a:gd name="T17" fmla="*/ 402 h 521"/>
                <a:gd name="T18" fmla="*/ 528 w 817"/>
                <a:gd name="T19" fmla="*/ 390 h 521"/>
                <a:gd name="T20" fmla="*/ 513 w 817"/>
                <a:gd name="T21" fmla="*/ 384 h 521"/>
                <a:gd name="T22" fmla="*/ 489 w 817"/>
                <a:gd name="T23" fmla="*/ 380 h 521"/>
                <a:gd name="T24" fmla="*/ 453 w 817"/>
                <a:gd name="T25" fmla="*/ 382 h 521"/>
                <a:gd name="T26" fmla="*/ 432 w 817"/>
                <a:gd name="T27" fmla="*/ 390 h 521"/>
                <a:gd name="T28" fmla="*/ 418 w 817"/>
                <a:gd name="T29" fmla="*/ 400 h 521"/>
                <a:gd name="T30" fmla="*/ 406 w 817"/>
                <a:gd name="T31" fmla="*/ 413 h 521"/>
                <a:gd name="T32" fmla="*/ 401 w 817"/>
                <a:gd name="T33" fmla="*/ 427 h 521"/>
                <a:gd name="T34" fmla="*/ 400 w 817"/>
                <a:gd name="T35" fmla="*/ 440 h 521"/>
                <a:gd name="T36" fmla="*/ 406 w 817"/>
                <a:gd name="T37" fmla="*/ 456 h 521"/>
                <a:gd name="T38" fmla="*/ 420 w 817"/>
                <a:gd name="T39" fmla="*/ 479 h 521"/>
                <a:gd name="T40" fmla="*/ 431 w 817"/>
                <a:gd name="T41" fmla="*/ 497 h 521"/>
                <a:gd name="T42" fmla="*/ 431 w 817"/>
                <a:gd name="T43" fmla="*/ 505 h 521"/>
                <a:gd name="T44" fmla="*/ 427 w 817"/>
                <a:gd name="T45" fmla="*/ 513 h 521"/>
                <a:gd name="T46" fmla="*/ 416 w 817"/>
                <a:gd name="T47" fmla="*/ 519 h 521"/>
                <a:gd name="T48" fmla="*/ 141 w 817"/>
                <a:gd name="T49" fmla="*/ 324 h 521"/>
                <a:gd name="T50" fmla="*/ 130 w 817"/>
                <a:gd name="T51" fmla="*/ 306 h 521"/>
                <a:gd name="T52" fmla="*/ 123 w 817"/>
                <a:gd name="T53" fmla="*/ 304 h 521"/>
                <a:gd name="T54" fmla="*/ 110 w 817"/>
                <a:gd name="T55" fmla="*/ 309 h 521"/>
                <a:gd name="T56" fmla="*/ 82 w 817"/>
                <a:gd name="T57" fmla="*/ 329 h 521"/>
                <a:gd name="T58" fmla="*/ 70 w 817"/>
                <a:gd name="T59" fmla="*/ 336 h 521"/>
                <a:gd name="T60" fmla="*/ 54 w 817"/>
                <a:gd name="T61" fmla="*/ 340 h 521"/>
                <a:gd name="T62" fmla="*/ 41 w 817"/>
                <a:gd name="T63" fmla="*/ 338 h 521"/>
                <a:gd name="T64" fmla="*/ 24 w 817"/>
                <a:gd name="T65" fmla="*/ 326 h 521"/>
                <a:gd name="T66" fmla="*/ 12 w 817"/>
                <a:gd name="T67" fmla="*/ 310 h 521"/>
                <a:gd name="T68" fmla="*/ 4 w 817"/>
                <a:gd name="T69" fmla="*/ 291 h 521"/>
                <a:gd name="T70" fmla="*/ 0 w 817"/>
                <a:gd name="T71" fmla="*/ 270 h 521"/>
                <a:gd name="T72" fmla="*/ 3 w 817"/>
                <a:gd name="T73" fmla="*/ 238 h 521"/>
                <a:gd name="T74" fmla="*/ 9 w 817"/>
                <a:gd name="T75" fmla="*/ 218 h 521"/>
                <a:gd name="T76" fmla="*/ 19 w 817"/>
                <a:gd name="T77" fmla="*/ 201 h 521"/>
                <a:gd name="T78" fmla="*/ 33 w 817"/>
                <a:gd name="T79" fmla="*/ 188 h 521"/>
                <a:gd name="T80" fmla="*/ 47 w 817"/>
                <a:gd name="T81" fmla="*/ 182 h 521"/>
                <a:gd name="T82" fmla="*/ 60 w 817"/>
                <a:gd name="T83" fmla="*/ 181 h 521"/>
                <a:gd name="T84" fmla="*/ 76 w 817"/>
                <a:gd name="T85" fmla="*/ 187 h 521"/>
                <a:gd name="T86" fmla="*/ 98 w 817"/>
                <a:gd name="T87" fmla="*/ 202 h 521"/>
                <a:gd name="T88" fmla="*/ 116 w 817"/>
                <a:gd name="T89" fmla="*/ 213 h 521"/>
                <a:gd name="T90" fmla="*/ 125 w 817"/>
                <a:gd name="T91" fmla="*/ 214 h 521"/>
                <a:gd name="T92" fmla="*/ 132 w 817"/>
                <a:gd name="T93" fmla="*/ 210 h 521"/>
                <a:gd name="T94" fmla="*/ 141 w 817"/>
                <a:gd name="T95" fmla="*/ 194 h 521"/>
                <a:gd name="T96" fmla="*/ 817 w 817"/>
                <a:gd name="T97" fmla="*/ 521 h 5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7"/>
                <a:gd name="T148" fmla="*/ 0 h 521"/>
                <a:gd name="T149" fmla="*/ 817 w 817"/>
                <a:gd name="T150" fmla="*/ 521 h 5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7" h="521">
                  <a:moveTo>
                    <a:pt x="817" y="521"/>
                  </a:moveTo>
                  <a:lnTo>
                    <a:pt x="546" y="521"/>
                  </a:lnTo>
                  <a:lnTo>
                    <a:pt x="538" y="518"/>
                  </a:lnTo>
                  <a:lnTo>
                    <a:pt x="533" y="516"/>
                  </a:lnTo>
                  <a:lnTo>
                    <a:pt x="528" y="512"/>
                  </a:lnTo>
                  <a:lnTo>
                    <a:pt x="527" y="511"/>
                  </a:lnTo>
                  <a:lnTo>
                    <a:pt x="526" y="509"/>
                  </a:lnTo>
                  <a:lnTo>
                    <a:pt x="524" y="506"/>
                  </a:lnTo>
                  <a:lnTo>
                    <a:pt x="524" y="502"/>
                  </a:lnTo>
                  <a:lnTo>
                    <a:pt x="524" y="498"/>
                  </a:lnTo>
                  <a:lnTo>
                    <a:pt x="525" y="494"/>
                  </a:lnTo>
                  <a:lnTo>
                    <a:pt x="530" y="486"/>
                  </a:lnTo>
                  <a:lnTo>
                    <a:pt x="537" y="476"/>
                  </a:lnTo>
                  <a:lnTo>
                    <a:pt x="547" y="463"/>
                  </a:lnTo>
                  <a:lnTo>
                    <a:pt x="551" y="454"/>
                  </a:lnTo>
                  <a:lnTo>
                    <a:pt x="555" y="447"/>
                  </a:lnTo>
                  <a:lnTo>
                    <a:pt x="557" y="441"/>
                  </a:lnTo>
                  <a:lnTo>
                    <a:pt x="557" y="438"/>
                  </a:lnTo>
                  <a:lnTo>
                    <a:pt x="558" y="434"/>
                  </a:lnTo>
                  <a:lnTo>
                    <a:pt x="558" y="428"/>
                  </a:lnTo>
                  <a:lnTo>
                    <a:pt x="556" y="422"/>
                  </a:lnTo>
                  <a:lnTo>
                    <a:pt x="556" y="419"/>
                  </a:lnTo>
                  <a:lnTo>
                    <a:pt x="555" y="417"/>
                  </a:lnTo>
                  <a:lnTo>
                    <a:pt x="553" y="413"/>
                  </a:lnTo>
                  <a:lnTo>
                    <a:pt x="551" y="409"/>
                  </a:lnTo>
                  <a:lnTo>
                    <a:pt x="548" y="405"/>
                  </a:lnTo>
                  <a:lnTo>
                    <a:pt x="545" y="402"/>
                  </a:lnTo>
                  <a:lnTo>
                    <a:pt x="541" y="399"/>
                  </a:lnTo>
                  <a:lnTo>
                    <a:pt x="533" y="393"/>
                  </a:lnTo>
                  <a:lnTo>
                    <a:pt x="528" y="390"/>
                  </a:lnTo>
                  <a:lnTo>
                    <a:pt x="523" y="388"/>
                  </a:lnTo>
                  <a:lnTo>
                    <a:pt x="518" y="386"/>
                  </a:lnTo>
                  <a:lnTo>
                    <a:pt x="513" y="384"/>
                  </a:lnTo>
                  <a:lnTo>
                    <a:pt x="501" y="381"/>
                  </a:lnTo>
                  <a:lnTo>
                    <a:pt x="495" y="380"/>
                  </a:lnTo>
                  <a:lnTo>
                    <a:pt x="489" y="380"/>
                  </a:lnTo>
                  <a:lnTo>
                    <a:pt x="477" y="379"/>
                  </a:lnTo>
                  <a:lnTo>
                    <a:pt x="465" y="380"/>
                  </a:lnTo>
                  <a:lnTo>
                    <a:pt x="453" y="382"/>
                  </a:lnTo>
                  <a:lnTo>
                    <a:pt x="442" y="385"/>
                  </a:lnTo>
                  <a:lnTo>
                    <a:pt x="437" y="388"/>
                  </a:lnTo>
                  <a:lnTo>
                    <a:pt x="432" y="390"/>
                  </a:lnTo>
                  <a:lnTo>
                    <a:pt x="427" y="393"/>
                  </a:lnTo>
                  <a:lnTo>
                    <a:pt x="422" y="396"/>
                  </a:lnTo>
                  <a:lnTo>
                    <a:pt x="418" y="400"/>
                  </a:lnTo>
                  <a:lnTo>
                    <a:pt x="413" y="404"/>
                  </a:lnTo>
                  <a:lnTo>
                    <a:pt x="410" y="408"/>
                  </a:lnTo>
                  <a:lnTo>
                    <a:pt x="406" y="413"/>
                  </a:lnTo>
                  <a:lnTo>
                    <a:pt x="404" y="417"/>
                  </a:lnTo>
                  <a:lnTo>
                    <a:pt x="402" y="422"/>
                  </a:lnTo>
                  <a:lnTo>
                    <a:pt x="401" y="427"/>
                  </a:lnTo>
                  <a:lnTo>
                    <a:pt x="400" y="431"/>
                  </a:lnTo>
                  <a:lnTo>
                    <a:pt x="400" y="435"/>
                  </a:lnTo>
                  <a:lnTo>
                    <a:pt x="400" y="440"/>
                  </a:lnTo>
                  <a:lnTo>
                    <a:pt x="401" y="444"/>
                  </a:lnTo>
                  <a:lnTo>
                    <a:pt x="402" y="448"/>
                  </a:lnTo>
                  <a:lnTo>
                    <a:pt x="406" y="456"/>
                  </a:lnTo>
                  <a:lnTo>
                    <a:pt x="410" y="464"/>
                  </a:lnTo>
                  <a:lnTo>
                    <a:pt x="415" y="472"/>
                  </a:lnTo>
                  <a:lnTo>
                    <a:pt x="420" y="479"/>
                  </a:lnTo>
                  <a:lnTo>
                    <a:pt x="424" y="485"/>
                  </a:lnTo>
                  <a:lnTo>
                    <a:pt x="428" y="491"/>
                  </a:lnTo>
                  <a:lnTo>
                    <a:pt x="431" y="497"/>
                  </a:lnTo>
                  <a:lnTo>
                    <a:pt x="431" y="500"/>
                  </a:lnTo>
                  <a:lnTo>
                    <a:pt x="432" y="503"/>
                  </a:lnTo>
                  <a:lnTo>
                    <a:pt x="431" y="505"/>
                  </a:lnTo>
                  <a:lnTo>
                    <a:pt x="431" y="508"/>
                  </a:lnTo>
                  <a:lnTo>
                    <a:pt x="429" y="510"/>
                  </a:lnTo>
                  <a:lnTo>
                    <a:pt x="427" y="513"/>
                  </a:lnTo>
                  <a:lnTo>
                    <a:pt x="424" y="515"/>
                  </a:lnTo>
                  <a:lnTo>
                    <a:pt x="421" y="517"/>
                  </a:lnTo>
                  <a:lnTo>
                    <a:pt x="416" y="519"/>
                  </a:lnTo>
                  <a:lnTo>
                    <a:pt x="411" y="521"/>
                  </a:lnTo>
                  <a:lnTo>
                    <a:pt x="141" y="521"/>
                  </a:lnTo>
                  <a:lnTo>
                    <a:pt x="141" y="324"/>
                  </a:lnTo>
                  <a:lnTo>
                    <a:pt x="137" y="314"/>
                  </a:lnTo>
                  <a:lnTo>
                    <a:pt x="133" y="308"/>
                  </a:lnTo>
                  <a:lnTo>
                    <a:pt x="130" y="306"/>
                  </a:lnTo>
                  <a:lnTo>
                    <a:pt x="128" y="305"/>
                  </a:lnTo>
                  <a:lnTo>
                    <a:pt x="125" y="304"/>
                  </a:lnTo>
                  <a:lnTo>
                    <a:pt x="123" y="304"/>
                  </a:lnTo>
                  <a:lnTo>
                    <a:pt x="120" y="305"/>
                  </a:lnTo>
                  <a:lnTo>
                    <a:pt x="116" y="306"/>
                  </a:lnTo>
                  <a:lnTo>
                    <a:pt x="110" y="309"/>
                  </a:lnTo>
                  <a:lnTo>
                    <a:pt x="103" y="313"/>
                  </a:lnTo>
                  <a:lnTo>
                    <a:pt x="96" y="318"/>
                  </a:lnTo>
                  <a:lnTo>
                    <a:pt x="82" y="329"/>
                  </a:lnTo>
                  <a:lnTo>
                    <a:pt x="78" y="331"/>
                  </a:lnTo>
                  <a:lnTo>
                    <a:pt x="74" y="334"/>
                  </a:lnTo>
                  <a:lnTo>
                    <a:pt x="70" y="336"/>
                  </a:lnTo>
                  <a:lnTo>
                    <a:pt x="66" y="337"/>
                  </a:lnTo>
                  <a:lnTo>
                    <a:pt x="58" y="340"/>
                  </a:lnTo>
                  <a:lnTo>
                    <a:pt x="54" y="340"/>
                  </a:lnTo>
                  <a:lnTo>
                    <a:pt x="50" y="340"/>
                  </a:lnTo>
                  <a:lnTo>
                    <a:pt x="45" y="339"/>
                  </a:lnTo>
                  <a:lnTo>
                    <a:pt x="41" y="338"/>
                  </a:lnTo>
                  <a:lnTo>
                    <a:pt x="37" y="336"/>
                  </a:lnTo>
                  <a:lnTo>
                    <a:pt x="32" y="334"/>
                  </a:lnTo>
                  <a:lnTo>
                    <a:pt x="24" y="326"/>
                  </a:lnTo>
                  <a:lnTo>
                    <a:pt x="21" y="322"/>
                  </a:lnTo>
                  <a:lnTo>
                    <a:pt x="18" y="318"/>
                  </a:lnTo>
                  <a:lnTo>
                    <a:pt x="12" y="310"/>
                  </a:lnTo>
                  <a:lnTo>
                    <a:pt x="10" y="305"/>
                  </a:lnTo>
                  <a:lnTo>
                    <a:pt x="7" y="300"/>
                  </a:lnTo>
                  <a:lnTo>
                    <a:pt x="4" y="291"/>
                  </a:lnTo>
                  <a:lnTo>
                    <a:pt x="3" y="285"/>
                  </a:lnTo>
                  <a:lnTo>
                    <a:pt x="2" y="280"/>
                  </a:lnTo>
                  <a:lnTo>
                    <a:pt x="0" y="270"/>
                  </a:lnTo>
                  <a:lnTo>
                    <a:pt x="0" y="259"/>
                  </a:lnTo>
                  <a:lnTo>
                    <a:pt x="1" y="248"/>
                  </a:lnTo>
                  <a:lnTo>
                    <a:pt x="3" y="238"/>
                  </a:lnTo>
                  <a:lnTo>
                    <a:pt x="5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19" y="201"/>
                  </a:lnTo>
                  <a:lnTo>
                    <a:pt x="26" y="193"/>
                  </a:lnTo>
                  <a:lnTo>
                    <a:pt x="30" y="190"/>
                  </a:lnTo>
                  <a:lnTo>
                    <a:pt x="33" y="188"/>
                  </a:lnTo>
                  <a:lnTo>
                    <a:pt x="38" y="185"/>
                  </a:lnTo>
                  <a:lnTo>
                    <a:pt x="43" y="183"/>
                  </a:lnTo>
                  <a:lnTo>
                    <a:pt x="47" y="182"/>
                  </a:lnTo>
                  <a:lnTo>
                    <a:pt x="52" y="181"/>
                  </a:lnTo>
                  <a:lnTo>
                    <a:pt x="56" y="181"/>
                  </a:lnTo>
                  <a:lnTo>
                    <a:pt x="60" y="181"/>
                  </a:lnTo>
                  <a:lnTo>
                    <a:pt x="64" y="182"/>
                  </a:lnTo>
                  <a:lnTo>
                    <a:pt x="68" y="183"/>
                  </a:lnTo>
                  <a:lnTo>
                    <a:pt x="76" y="187"/>
                  </a:lnTo>
                  <a:lnTo>
                    <a:pt x="84" y="191"/>
                  </a:lnTo>
                  <a:lnTo>
                    <a:pt x="91" y="196"/>
                  </a:lnTo>
                  <a:lnTo>
                    <a:pt x="98" y="202"/>
                  </a:lnTo>
                  <a:lnTo>
                    <a:pt x="104" y="206"/>
                  </a:lnTo>
                  <a:lnTo>
                    <a:pt x="110" y="210"/>
                  </a:lnTo>
                  <a:lnTo>
                    <a:pt x="116" y="213"/>
                  </a:lnTo>
                  <a:lnTo>
                    <a:pt x="120" y="214"/>
                  </a:lnTo>
                  <a:lnTo>
                    <a:pt x="123" y="214"/>
                  </a:lnTo>
                  <a:lnTo>
                    <a:pt x="125" y="214"/>
                  </a:lnTo>
                  <a:lnTo>
                    <a:pt x="128" y="213"/>
                  </a:lnTo>
                  <a:lnTo>
                    <a:pt x="130" y="212"/>
                  </a:lnTo>
                  <a:lnTo>
                    <a:pt x="132" y="210"/>
                  </a:lnTo>
                  <a:lnTo>
                    <a:pt x="137" y="204"/>
                  </a:lnTo>
                  <a:lnTo>
                    <a:pt x="139" y="200"/>
                  </a:lnTo>
                  <a:lnTo>
                    <a:pt x="141" y="194"/>
                  </a:lnTo>
                  <a:lnTo>
                    <a:pt x="141" y="0"/>
                  </a:lnTo>
                  <a:lnTo>
                    <a:pt x="817" y="0"/>
                  </a:lnTo>
                  <a:lnTo>
                    <a:pt x="817" y="521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3" name="Freeform 24"/>
            <p:cNvSpPr>
              <a:spLocks/>
            </p:cNvSpPr>
            <p:nvPr/>
          </p:nvSpPr>
          <p:spPr bwMode="auto">
            <a:xfrm>
              <a:off x="1568" y="3062"/>
              <a:ext cx="676" cy="664"/>
            </a:xfrm>
            <a:custGeom>
              <a:avLst/>
              <a:gdLst>
                <a:gd name="T0" fmla="*/ 283 w 676"/>
                <a:gd name="T1" fmla="*/ 6 h 664"/>
                <a:gd name="T2" fmla="*/ 290 w 676"/>
                <a:gd name="T3" fmla="*/ 15 h 664"/>
                <a:gd name="T4" fmla="*/ 287 w 676"/>
                <a:gd name="T5" fmla="*/ 30 h 664"/>
                <a:gd name="T6" fmla="*/ 269 w 676"/>
                <a:gd name="T7" fmla="*/ 55 h 664"/>
                <a:gd name="T8" fmla="*/ 260 w 676"/>
                <a:gd name="T9" fmla="*/ 79 h 664"/>
                <a:gd name="T10" fmla="*/ 260 w 676"/>
                <a:gd name="T11" fmla="*/ 93 h 664"/>
                <a:gd name="T12" fmla="*/ 276 w 676"/>
                <a:gd name="T13" fmla="*/ 120 h 664"/>
                <a:gd name="T14" fmla="*/ 291 w 676"/>
                <a:gd name="T15" fmla="*/ 130 h 664"/>
                <a:gd name="T16" fmla="*/ 319 w 676"/>
                <a:gd name="T17" fmla="*/ 139 h 664"/>
                <a:gd name="T18" fmla="*/ 361 w 676"/>
                <a:gd name="T19" fmla="*/ 139 h 664"/>
                <a:gd name="T20" fmla="*/ 390 w 676"/>
                <a:gd name="T21" fmla="*/ 128 h 664"/>
                <a:gd name="T22" fmla="*/ 411 w 676"/>
                <a:gd name="T23" fmla="*/ 108 h 664"/>
                <a:gd name="T24" fmla="*/ 417 w 676"/>
                <a:gd name="T25" fmla="*/ 91 h 664"/>
                <a:gd name="T26" fmla="*/ 411 w 676"/>
                <a:gd name="T27" fmla="*/ 65 h 664"/>
                <a:gd name="T28" fmla="*/ 387 w 676"/>
                <a:gd name="T29" fmla="*/ 30 h 664"/>
                <a:gd name="T30" fmla="*/ 383 w 676"/>
                <a:gd name="T31" fmla="*/ 16 h 664"/>
                <a:gd name="T32" fmla="*/ 389 w 676"/>
                <a:gd name="T33" fmla="*/ 6 h 664"/>
                <a:gd name="T34" fmla="*/ 676 w 676"/>
                <a:gd name="T35" fmla="*/ 0 h 664"/>
                <a:gd name="T36" fmla="*/ 389 w 676"/>
                <a:gd name="T37" fmla="*/ 529 h 664"/>
                <a:gd name="T38" fmla="*/ 383 w 676"/>
                <a:gd name="T39" fmla="*/ 539 h 664"/>
                <a:gd name="T40" fmla="*/ 387 w 676"/>
                <a:gd name="T41" fmla="*/ 554 h 664"/>
                <a:gd name="T42" fmla="*/ 406 w 676"/>
                <a:gd name="T43" fmla="*/ 581 h 664"/>
                <a:gd name="T44" fmla="*/ 417 w 676"/>
                <a:gd name="T45" fmla="*/ 609 h 664"/>
                <a:gd name="T46" fmla="*/ 412 w 676"/>
                <a:gd name="T47" fmla="*/ 631 h 664"/>
                <a:gd name="T48" fmla="*/ 396 w 676"/>
                <a:gd name="T49" fmla="*/ 647 h 664"/>
                <a:gd name="T50" fmla="*/ 372 w 676"/>
                <a:gd name="T51" fmla="*/ 659 h 664"/>
                <a:gd name="T52" fmla="*/ 341 w 676"/>
                <a:gd name="T53" fmla="*/ 664 h 664"/>
                <a:gd name="T54" fmla="*/ 307 w 676"/>
                <a:gd name="T55" fmla="*/ 659 h 664"/>
                <a:gd name="T56" fmla="*/ 291 w 676"/>
                <a:gd name="T57" fmla="*/ 653 h 664"/>
                <a:gd name="T58" fmla="*/ 277 w 676"/>
                <a:gd name="T59" fmla="*/ 643 h 664"/>
                <a:gd name="T60" fmla="*/ 267 w 676"/>
                <a:gd name="T61" fmla="*/ 630 h 664"/>
                <a:gd name="T62" fmla="*/ 260 w 676"/>
                <a:gd name="T63" fmla="*/ 614 h 664"/>
                <a:gd name="T64" fmla="*/ 263 w 676"/>
                <a:gd name="T65" fmla="*/ 594 h 664"/>
                <a:gd name="T66" fmla="*/ 274 w 676"/>
                <a:gd name="T67" fmla="*/ 572 h 664"/>
                <a:gd name="T68" fmla="*/ 288 w 676"/>
                <a:gd name="T69" fmla="*/ 553 h 664"/>
                <a:gd name="T70" fmla="*/ 292 w 676"/>
                <a:gd name="T71" fmla="*/ 538 h 664"/>
                <a:gd name="T72" fmla="*/ 281 w 676"/>
                <a:gd name="T73" fmla="*/ 526 h 664"/>
                <a:gd name="T74" fmla="*/ 2 w 676"/>
                <a:gd name="T75" fmla="*/ 320 h 664"/>
                <a:gd name="T76" fmla="*/ 12 w 676"/>
                <a:gd name="T77" fmla="*/ 308 h 664"/>
                <a:gd name="T78" fmla="*/ 27 w 676"/>
                <a:gd name="T79" fmla="*/ 308 h 664"/>
                <a:gd name="T80" fmla="*/ 66 w 676"/>
                <a:gd name="T81" fmla="*/ 335 h 664"/>
                <a:gd name="T82" fmla="*/ 85 w 676"/>
                <a:gd name="T83" fmla="*/ 341 h 664"/>
                <a:gd name="T84" fmla="*/ 108 w 676"/>
                <a:gd name="T85" fmla="*/ 336 h 664"/>
                <a:gd name="T86" fmla="*/ 122 w 676"/>
                <a:gd name="T87" fmla="*/ 323 h 664"/>
                <a:gd name="T88" fmla="*/ 133 w 676"/>
                <a:gd name="T89" fmla="*/ 305 h 664"/>
                <a:gd name="T90" fmla="*/ 140 w 676"/>
                <a:gd name="T91" fmla="*/ 278 h 664"/>
                <a:gd name="T92" fmla="*/ 139 w 676"/>
                <a:gd name="T93" fmla="*/ 237 h 664"/>
                <a:gd name="T94" fmla="*/ 128 w 676"/>
                <a:gd name="T95" fmla="*/ 210 h 664"/>
                <a:gd name="T96" fmla="*/ 113 w 676"/>
                <a:gd name="T97" fmla="*/ 192 h 664"/>
                <a:gd name="T98" fmla="*/ 93 w 676"/>
                <a:gd name="T99" fmla="*/ 183 h 664"/>
                <a:gd name="T100" fmla="*/ 76 w 676"/>
                <a:gd name="T101" fmla="*/ 183 h 664"/>
                <a:gd name="T102" fmla="*/ 49 w 676"/>
                <a:gd name="T103" fmla="*/ 197 h 664"/>
                <a:gd name="T104" fmla="*/ 24 w 676"/>
                <a:gd name="T105" fmla="*/ 214 h 664"/>
                <a:gd name="T106" fmla="*/ 13 w 676"/>
                <a:gd name="T107" fmla="*/ 214 h 664"/>
                <a:gd name="T108" fmla="*/ 4 w 676"/>
                <a:gd name="T109" fmla="*/ 204 h 66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76"/>
                <a:gd name="T166" fmla="*/ 0 h 664"/>
                <a:gd name="T167" fmla="*/ 676 w 676"/>
                <a:gd name="T168" fmla="*/ 664 h 66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76" h="664">
                  <a:moveTo>
                    <a:pt x="0" y="0"/>
                  </a:moveTo>
                  <a:lnTo>
                    <a:pt x="273" y="0"/>
                  </a:lnTo>
                  <a:lnTo>
                    <a:pt x="279" y="3"/>
                  </a:lnTo>
                  <a:lnTo>
                    <a:pt x="283" y="6"/>
                  </a:lnTo>
                  <a:lnTo>
                    <a:pt x="287" y="9"/>
                  </a:lnTo>
                  <a:lnTo>
                    <a:pt x="288" y="10"/>
                  </a:lnTo>
                  <a:lnTo>
                    <a:pt x="289" y="12"/>
                  </a:lnTo>
                  <a:lnTo>
                    <a:pt x="290" y="15"/>
                  </a:lnTo>
                  <a:lnTo>
                    <a:pt x="290" y="19"/>
                  </a:lnTo>
                  <a:lnTo>
                    <a:pt x="290" y="22"/>
                  </a:lnTo>
                  <a:lnTo>
                    <a:pt x="289" y="26"/>
                  </a:lnTo>
                  <a:lnTo>
                    <a:pt x="287" y="30"/>
                  </a:lnTo>
                  <a:lnTo>
                    <a:pt x="285" y="33"/>
                  </a:lnTo>
                  <a:lnTo>
                    <a:pt x="279" y="41"/>
                  </a:lnTo>
                  <a:lnTo>
                    <a:pt x="274" y="49"/>
                  </a:lnTo>
                  <a:lnTo>
                    <a:pt x="269" y="55"/>
                  </a:lnTo>
                  <a:lnTo>
                    <a:pt x="264" y="65"/>
                  </a:lnTo>
                  <a:lnTo>
                    <a:pt x="262" y="71"/>
                  </a:lnTo>
                  <a:lnTo>
                    <a:pt x="261" y="75"/>
                  </a:lnTo>
                  <a:lnTo>
                    <a:pt x="260" y="79"/>
                  </a:lnTo>
                  <a:lnTo>
                    <a:pt x="259" y="83"/>
                  </a:lnTo>
                  <a:lnTo>
                    <a:pt x="259" y="87"/>
                  </a:lnTo>
                  <a:lnTo>
                    <a:pt x="259" y="91"/>
                  </a:lnTo>
                  <a:lnTo>
                    <a:pt x="260" y="93"/>
                  </a:lnTo>
                  <a:lnTo>
                    <a:pt x="262" y="101"/>
                  </a:lnTo>
                  <a:lnTo>
                    <a:pt x="265" y="108"/>
                  </a:lnTo>
                  <a:lnTo>
                    <a:pt x="270" y="114"/>
                  </a:lnTo>
                  <a:lnTo>
                    <a:pt x="276" y="120"/>
                  </a:lnTo>
                  <a:lnTo>
                    <a:pt x="280" y="123"/>
                  </a:lnTo>
                  <a:lnTo>
                    <a:pt x="283" y="126"/>
                  </a:lnTo>
                  <a:lnTo>
                    <a:pt x="287" y="128"/>
                  </a:lnTo>
                  <a:lnTo>
                    <a:pt x="291" y="130"/>
                  </a:lnTo>
                  <a:lnTo>
                    <a:pt x="296" y="132"/>
                  </a:lnTo>
                  <a:lnTo>
                    <a:pt x="300" y="134"/>
                  </a:lnTo>
                  <a:lnTo>
                    <a:pt x="309" y="137"/>
                  </a:lnTo>
                  <a:lnTo>
                    <a:pt x="319" y="139"/>
                  </a:lnTo>
                  <a:lnTo>
                    <a:pt x="329" y="141"/>
                  </a:lnTo>
                  <a:lnTo>
                    <a:pt x="340" y="141"/>
                  </a:lnTo>
                  <a:lnTo>
                    <a:pt x="350" y="141"/>
                  </a:lnTo>
                  <a:lnTo>
                    <a:pt x="361" y="139"/>
                  </a:lnTo>
                  <a:lnTo>
                    <a:pt x="371" y="137"/>
                  </a:lnTo>
                  <a:lnTo>
                    <a:pt x="381" y="133"/>
                  </a:lnTo>
                  <a:lnTo>
                    <a:pt x="385" y="131"/>
                  </a:lnTo>
                  <a:lnTo>
                    <a:pt x="390" y="128"/>
                  </a:lnTo>
                  <a:lnTo>
                    <a:pt x="396" y="124"/>
                  </a:lnTo>
                  <a:lnTo>
                    <a:pt x="402" y="119"/>
                  </a:lnTo>
                  <a:lnTo>
                    <a:pt x="407" y="114"/>
                  </a:lnTo>
                  <a:lnTo>
                    <a:pt x="411" y="108"/>
                  </a:lnTo>
                  <a:lnTo>
                    <a:pt x="414" y="104"/>
                  </a:lnTo>
                  <a:lnTo>
                    <a:pt x="416" y="99"/>
                  </a:lnTo>
                  <a:lnTo>
                    <a:pt x="417" y="95"/>
                  </a:lnTo>
                  <a:lnTo>
                    <a:pt x="417" y="91"/>
                  </a:lnTo>
                  <a:lnTo>
                    <a:pt x="417" y="87"/>
                  </a:lnTo>
                  <a:lnTo>
                    <a:pt x="417" y="83"/>
                  </a:lnTo>
                  <a:lnTo>
                    <a:pt x="415" y="74"/>
                  </a:lnTo>
                  <a:lnTo>
                    <a:pt x="411" y="65"/>
                  </a:lnTo>
                  <a:lnTo>
                    <a:pt x="406" y="58"/>
                  </a:lnTo>
                  <a:lnTo>
                    <a:pt x="396" y="43"/>
                  </a:lnTo>
                  <a:lnTo>
                    <a:pt x="391" y="36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3" y="21"/>
                  </a:lnTo>
                  <a:lnTo>
                    <a:pt x="383" y="18"/>
                  </a:lnTo>
                  <a:lnTo>
                    <a:pt x="383" y="16"/>
                  </a:lnTo>
                  <a:lnTo>
                    <a:pt x="384" y="13"/>
                  </a:lnTo>
                  <a:lnTo>
                    <a:pt x="385" y="11"/>
                  </a:lnTo>
                  <a:lnTo>
                    <a:pt x="387" y="8"/>
                  </a:lnTo>
                  <a:lnTo>
                    <a:pt x="389" y="6"/>
                  </a:lnTo>
                  <a:lnTo>
                    <a:pt x="393" y="4"/>
                  </a:lnTo>
                  <a:lnTo>
                    <a:pt x="397" y="2"/>
                  </a:lnTo>
                  <a:lnTo>
                    <a:pt x="402" y="0"/>
                  </a:lnTo>
                  <a:lnTo>
                    <a:pt x="676" y="0"/>
                  </a:lnTo>
                  <a:lnTo>
                    <a:pt x="676" y="524"/>
                  </a:lnTo>
                  <a:lnTo>
                    <a:pt x="400" y="524"/>
                  </a:lnTo>
                  <a:lnTo>
                    <a:pt x="394" y="526"/>
                  </a:lnTo>
                  <a:lnTo>
                    <a:pt x="389" y="529"/>
                  </a:lnTo>
                  <a:lnTo>
                    <a:pt x="386" y="532"/>
                  </a:lnTo>
                  <a:lnTo>
                    <a:pt x="385" y="534"/>
                  </a:lnTo>
                  <a:lnTo>
                    <a:pt x="384" y="535"/>
                  </a:lnTo>
                  <a:lnTo>
                    <a:pt x="383" y="539"/>
                  </a:lnTo>
                  <a:lnTo>
                    <a:pt x="383" y="542"/>
                  </a:lnTo>
                  <a:lnTo>
                    <a:pt x="384" y="546"/>
                  </a:lnTo>
                  <a:lnTo>
                    <a:pt x="385" y="550"/>
                  </a:lnTo>
                  <a:lnTo>
                    <a:pt x="387" y="554"/>
                  </a:lnTo>
                  <a:lnTo>
                    <a:pt x="389" y="558"/>
                  </a:lnTo>
                  <a:lnTo>
                    <a:pt x="395" y="565"/>
                  </a:lnTo>
                  <a:lnTo>
                    <a:pt x="401" y="573"/>
                  </a:lnTo>
                  <a:lnTo>
                    <a:pt x="406" y="581"/>
                  </a:lnTo>
                  <a:lnTo>
                    <a:pt x="410" y="588"/>
                  </a:lnTo>
                  <a:lnTo>
                    <a:pt x="414" y="596"/>
                  </a:lnTo>
                  <a:lnTo>
                    <a:pt x="416" y="602"/>
                  </a:lnTo>
                  <a:lnTo>
                    <a:pt x="417" y="609"/>
                  </a:lnTo>
                  <a:lnTo>
                    <a:pt x="417" y="615"/>
                  </a:lnTo>
                  <a:lnTo>
                    <a:pt x="416" y="621"/>
                  </a:lnTo>
                  <a:lnTo>
                    <a:pt x="414" y="626"/>
                  </a:lnTo>
                  <a:lnTo>
                    <a:pt x="412" y="631"/>
                  </a:lnTo>
                  <a:lnTo>
                    <a:pt x="409" y="634"/>
                  </a:lnTo>
                  <a:lnTo>
                    <a:pt x="407" y="637"/>
                  </a:lnTo>
                  <a:lnTo>
                    <a:pt x="402" y="643"/>
                  </a:lnTo>
                  <a:lnTo>
                    <a:pt x="396" y="647"/>
                  </a:lnTo>
                  <a:lnTo>
                    <a:pt x="390" y="651"/>
                  </a:lnTo>
                  <a:lnTo>
                    <a:pt x="383" y="655"/>
                  </a:lnTo>
                  <a:lnTo>
                    <a:pt x="376" y="658"/>
                  </a:lnTo>
                  <a:lnTo>
                    <a:pt x="372" y="659"/>
                  </a:lnTo>
                  <a:lnTo>
                    <a:pt x="368" y="660"/>
                  </a:lnTo>
                  <a:lnTo>
                    <a:pt x="359" y="662"/>
                  </a:lnTo>
                  <a:lnTo>
                    <a:pt x="350" y="663"/>
                  </a:lnTo>
                  <a:lnTo>
                    <a:pt x="341" y="664"/>
                  </a:lnTo>
                  <a:lnTo>
                    <a:pt x="332" y="663"/>
                  </a:lnTo>
                  <a:lnTo>
                    <a:pt x="323" y="663"/>
                  </a:lnTo>
                  <a:lnTo>
                    <a:pt x="315" y="661"/>
                  </a:lnTo>
                  <a:lnTo>
                    <a:pt x="307" y="659"/>
                  </a:lnTo>
                  <a:lnTo>
                    <a:pt x="302" y="658"/>
                  </a:lnTo>
                  <a:lnTo>
                    <a:pt x="298" y="656"/>
                  </a:lnTo>
                  <a:lnTo>
                    <a:pt x="295" y="654"/>
                  </a:lnTo>
                  <a:lnTo>
                    <a:pt x="291" y="653"/>
                  </a:lnTo>
                  <a:lnTo>
                    <a:pt x="287" y="650"/>
                  </a:lnTo>
                  <a:lnTo>
                    <a:pt x="284" y="648"/>
                  </a:lnTo>
                  <a:lnTo>
                    <a:pt x="280" y="646"/>
                  </a:lnTo>
                  <a:lnTo>
                    <a:pt x="277" y="643"/>
                  </a:lnTo>
                  <a:lnTo>
                    <a:pt x="274" y="640"/>
                  </a:lnTo>
                  <a:lnTo>
                    <a:pt x="272" y="637"/>
                  </a:lnTo>
                  <a:lnTo>
                    <a:pt x="269" y="634"/>
                  </a:lnTo>
                  <a:lnTo>
                    <a:pt x="267" y="630"/>
                  </a:lnTo>
                  <a:lnTo>
                    <a:pt x="264" y="626"/>
                  </a:lnTo>
                  <a:lnTo>
                    <a:pt x="262" y="622"/>
                  </a:lnTo>
                  <a:lnTo>
                    <a:pt x="261" y="618"/>
                  </a:lnTo>
                  <a:lnTo>
                    <a:pt x="260" y="614"/>
                  </a:lnTo>
                  <a:lnTo>
                    <a:pt x="260" y="607"/>
                  </a:lnTo>
                  <a:lnTo>
                    <a:pt x="261" y="603"/>
                  </a:lnTo>
                  <a:lnTo>
                    <a:pt x="261" y="599"/>
                  </a:lnTo>
                  <a:lnTo>
                    <a:pt x="263" y="594"/>
                  </a:lnTo>
                  <a:lnTo>
                    <a:pt x="265" y="589"/>
                  </a:lnTo>
                  <a:lnTo>
                    <a:pt x="267" y="585"/>
                  </a:lnTo>
                  <a:lnTo>
                    <a:pt x="269" y="580"/>
                  </a:lnTo>
                  <a:lnTo>
                    <a:pt x="274" y="572"/>
                  </a:lnTo>
                  <a:lnTo>
                    <a:pt x="280" y="565"/>
                  </a:lnTo>
                  <a:lnTo>
                    <a:pt x="283" y="561"/>
                  </a:lnTo>
                  <a:lnTo>
                    <a:pt x="285" y="557"/>
                  </a:lnTo>
                  <a:lnTo>
                    <a:pt x="288" y="553"/>
                  </a:lnTo>
                  <a:lnTo>
                    <a:pt x="290" y="549"/>
                  </a:lnTo>
                  <a:lnTo>
                    <a:pt x="291" y="545"/>
                  </a:lnTo>
                  <a:lnTo>
                    <a:pt x="292" y="542"/>
                  </a:lnTo>
                  <a:lnTo>
                    <a:pt x="292" y="538"/>
                  </a:lnTo>
                  <a:lnTo>
                    <a:pt x="291" y="535"/>
                  </a:lnTo>
                  <a:lnTo>
                    <a:pt x="289" y="532"/>
                  </a:lnTo>
                  <a:lnTo>
                    <a:pt x="286" y="529"/>
                  </a:lnTo>
                  <a:lnTo>
                    <a:pt x="281" y="526"/>
                  </a:lnTo>
                  <a:lnTo>
                    <a:pt x="275" y="524"/>
                  </a:lnTo>
                  <a:lnTo>
                    <a:pt x="0" y="524"/>
                  </a:lnTo>
                  <a:lnTo>
                    <a:pt x="0" y="328"/>
                  </a:lnTo>
                  <a:lnTo>
                    <a:pt x="2" y="320"/>
                  </a:lnTo>
                  <a:lnTo>
                    <a:pt x="5" y="315"/>
                  </a:lnTo>
                  <a:lnTo>
                    <a:pt x="8" y="311"/>
                  </a:lnTo>
                  <a:lnTo>
                    <a:pt x="10" y="309"/>
                  </a:lnTo>
                  <a:lnTo>
                    <a:pt x="12" y="308"/>
                  </a:lnTo>
                  <a:lnTo>
                    <a:pt x="15" y="306"/>
                  </a:lnTo>
                  <a:lnTo>
                    <a:pt x="19" y="306"/>
                  </a:lnTo>
                  <a:lnTo>
                    <a:pt x="23" y="306"/>
                  </a:lnTo>
                  <a:lnTo>
                    <a:pt x="27" y="308"/>
                  </a:lnTo>
                  <a:lnTo>
                    <a:pt x="35" y="313"/>
                  </a:lnTo>
                  <a:lnTo>
                    <a:pt x="44" y="319"/>
                  </a:lnTo>
                  <a:lnTo>
                    <a:pt x="58" y="329"/>
                  </a:lnTo>
                  <a:lnTo>
                    <a:pt x="66" y="335"/>
                  </a:lnTo>
                  <a:lnTo>
                    <a:pt x="73" y="338"/>
                  </a:lnTo>
                  <a:lnTo>
                    <a:pt x="79" y="340"/>
                  </a:lnTo>
                  <a:lnTo>
                    <a:pt x="82" y="341"/>
                  </a:lnTo>
                  <a:lnTo>
                    <a:pt x="85" y="341"/>
                  </a:lnTo>
                  <a:lnTo>
                    <a:pt x="92" y="341"/>
                  </a:lnTo>
                  <a:lnTo>
                    <a:pt x="98" y="340"/>
                  </a:lnTo>
                  <a:lnTo>
                    <a:pt x="103" y="338"/>
                  </a:lnTo>
                  <a:lnTo>
                    <a:pt x="108" y="336"/>
                  </a:lnTo>
                  <a:lnTo>
                    <a:pt x="112" y="334"/>
                  </a:lnTo>
                  <a:lnTo>
                    <a:pt x="115" y="331"/>
                  </a:lnTo>
                  <a:lnTo>
                    <a:pt x="119" y="327"/>
                  </a:lnTo>
                  <a:lnTo>
                    <a:pt x="122" y="323"/>
                  </a:lnTo>
                  <a:lnTo>
                    <a:pt x="125" y="319"/>
                  </a:lnTo>
                  <a:lnTo>
                    <a:pt x="128" y="315"/>
                  </a:lnTo>
                  <a:lnTo>
                    <a:pt x="131" y="310"/>
                  </a:lnTo>
                  <a:lnTo>
                    <a:pt x="133" y="305"/>
                  </a:lnTo>
                  <a:lnTo>
                    <a:pt x="135" y="300"/>
                  </a:lnTo>
                  <a:lnTo>
                    <a:pt x="137" y="295"/>
                  </a:lnTo>
                  <a:lnTo>
                    <a:pt x="139" y="284"/>
                  </a:lnTo>
                  <a:lnTo>
                    <a:pt x="140" y="278"/>
                  </a:lnTo>
                  <a:lnTo>
                    <a:pt x="141" y="272"/>
                  </a:lnTo>
                  <a:lnTo>
                    <a:pt x="141" y="260"/>
                  </a:lnTo>
                  <a:lnTo>
                    <a:pt x="141" y="248"/>
                  </a:lnTo>
                  <a:lnTo>
                    <a:pt x="139" y="237"/>
                  </a:lnTo>
                  <a:lnTo>
                    <a:pt x="135" y="225"/>
                  </a:lnTo>
                  <a:lnTo>
                    <a:pt x="133" y="220"/>
                  </a:lnTo>
                  <a:lnTo>
                    <a:pt x="131" y="215"/>
                  </a:lnTo>
                  <a:lnTo>
                    <a:pt x="128" y="210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17" y="196"/>
                  </a:lnTo>
                  <a:lnTo>
                    <a:pt x="113" y="192"/>
                  </a:lnTo>
                  <a:lnTo>
                    <a:pt x="108" y="189"/>
                  </a:lnTo>
                  <a:lnTo>
                    <a:pt x="102" y="186"/>
                  </a:lnTo>
                  <a:lnTo>
                    <a:pt x="98" y="184"/>
                  </a:lnTo>
                  <a:lnTo>
                    <a:pt x="93" y="183"/>
                  </a:lnTo>
                  <a:lnTo>
                    <a:pt x="89" y="182"/>
                  </a:lnTo>
                  <a:lnTo>
                    <a:pt x="84" y="182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72" y="185"/>
                  </a:lnTo>
                  <a:lnTo>
                    <a:pt x="64" y="188"/>
                  </a:lnTo>
                  <a:lnTo>
                    <a:pt x="56" y="192"/>
                  </a:lnTo>
                  <a:lnTo>
                    <a:pt x="49" y="197"/>
                  </a:lnTo>
                  <a:lnTo>
                    <a:pt x="42" y="203"/>
                  </a:lnTo>
                  <a:lnTo>
                    <a:pt x="36" y="208"/>
                  </a:lnTo>
                  <a:lnTo>
                    <a:pt x="29" y="211"/>
                  </a:lnTo>
                  <a:lnTo>
                    <a:pt x="24" y="214"/>
                  </a:lnTo>
                  <a:lnTo>
                    <a:pt x="21" y="215"/>
                  </a:lnTo>
                  <a:lnTo>
                    <a:pt x="18" y="215"/>
                  </a:lnTo>
                  <a:lnTo>
                    <a:pt x="15" y="215"/>
                  </a:lnTo>
                  <a:lnTo>
                    <a:pt x="13" y="214"/>
                  </a:lnTo>
                  <a:lnTo>
                    <a:pt x="11" y="213"/>
                  </a:lnTo>
                  <a:lnTo>
                    <a:pt x="8" y="210"/>
                  </a:lnTo>
                  <a:lnTo>
                    <a:pt x="6" y="208"/>
                  </a:lnTo>
                  <a:lnTo>
                    <a:pt x="4" y="204"/>
                  </a:lnTo>
                  <a:lnTo>
                    <a:pt x="2" y="199"/>
                  </a:lnTo>
                  <a:lnTo>
                    <a:pt x="0" y="1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220" y="3063"/>
              <a:ext cx="676" cy="523"/>
            </a:xfrm>
            <a:custGeom>
              <a:avLst/>
              <a:gdLst>
                <a:gd name="T0" fmla="*/ 395 w 676"/>
                <a:gd name="T1" fmla="*/ 517 h 523"/>
                <a:gd name="T2" fmla="*/ 388 w 676"/>
                <a:gd name="T3" fmla="*/ 508 h 523"/>
                <a:gd name="T4" fmla="*/ 395 w 676"/>
                <a:gd name="T5" fmla="*/ 488 h 523"/>
                <a:gd name="T6" fmla="*/ 419 w 676"/>
                <a:gd name="T7" fmla="*/ 450 h 523"/>
                <a:gd name="T8" fmla="*/ 422 w 676"/>
                <a:gd name="T9" fmla="*/ 431 h 523"/>
                <a:gd name="T10" fmla="*/ 417 w 676"/>
                <a:gd name="T11" fmla="*/ 416 h 523"/>
                <a:gd name="T12" fmla="*/ 405 w 676"/>
                <a:gd name="T13" fmla="*/ 401 h 523"/>
                <a:gd name="T14" fmla="*/ 382 w 676"/>
                <a:gd name="T15" fmla="*/ 389 h 523"/>
                <a:gd name="T16" fmla="*/ 354 w 676"/>
                <a:gd name="T17" fmla="*/ 382 h 523"/>
                <a:gd name="T18" fmla="*/ 306 w 676"/>
                <a:gd name="T19" fmla="*/ 388 h 523"/>
                <a:gd name="T20" fmla="*/ 286 w 676"/>
                <a:gd name="T21" fmla="*/ 399 h 523"/>
                <a:gd name="T22" fmla="*/ 271 w 676"/>
                <a:gd name="T23" fmla="*/ 416 h 523"/>
                <a:gd name="T24" fmla="*/ 264 w 676"/>
                <a:gd name="T25" fmla="*/ 434 h 523"/>
                <a:gd name="T26" fmla="*/ 267 w 676"/>
                <a:gd name="T27" fmla="*/ 450 h 523"/>
                <a:gd name="T28" fmla="*/ 284 w 676"/>
                <a:gd name="T29" fmla="*/ 481 h 523"/>
                <a:gd name="T30" fmla="*/ 296 w 676"/>
                <a:gd name="T31" fmla="*/ 502 h 523"/>
                <a:gd name="T32" fmla="*/ 294 w 676"/>
                <a:gd name="T33" fmla="*/ 512 h 523"/>
                <a:gd name="T34" fmla="*/ 283 w 676"/>
                <a:gd name="T35" fmla="*/ 521 h 523"/>
                <a:gd name="T36" fmla="*/ 273 w 676"/>
                <a:gd name="T37" fmla="*/ 0 h 523"/>
                <a:gd name="T38" fmla="*/ 287 w 676"/>
                <a:gd name="T39" fmla="*/ 8 h 523"/>
                <a:gd name="T40" fmla="*/ 291 w 676"/>
                <a:gd name="T41" fmla="*/ 18 h 523"/>
                <a:gd name="T42" fmla="*/ 283 w 676"/>
                <a:gd name="T43" fmla="*/ 35 h 523"/>
                <a:gd name="T44" fmla="*/ 264 w 676"/>
                <a:gd name="T45" fmla="*/ 63 h 523"/>
                <a:gd name="T46" fmla="*/ 259 w 676"/>
                <a:gd name="T47" fmla="*/ 84 h 523"/>
                <a:gd name="T48" fmla="*/ 261 w 676"/>
                <a:gd name="T49" fmla="*/ 97 h 523"/>
                <a:gd name="T50" fmla="*/ 271 w 676"/>
                <a:gd name="T51" fmla="*/ 114 h 523"/>
                <a:gd name="T52" fmla="*/ 295 w 676"/>
                <a:gd name="T53" fmla="*/ 131 h 523"/>
                <a:gd name="T54" fmla="*/ 326 w 676"/>
                <a:gd name="T55" fmla="*/ 139 h 523"/>
                <a:gd name="T56" fmla="*/ 368 w 676"/>
                <a:gd name="T57" fmla="*/ 136 h 523"/>
                <a:gd name="T58" fmla="*/ 392 w 676"/>
                <a:gd name="T59" fmla="*/ 125 h 523"/>
                <a:gd name="T60" fmla="*/ 407 w 676"/>
                <a:gd name="T61" fmla="*/ 112 h 523"/>
                <a:gd name="T62" fmla="*/ 416 w 676"/>
                <a:gd name="T63" fmla="*/ 95 h 523"/>
                <a:gd name="T64" fmla="*/ 416 w 676"/>
                <a:gd name="T65" fmla="*/ 78 h 523"/>
                <a:gd name="T66" fmla="*/ 396 w 676"/>
                <a:gd name="T67" fmla="*/ 43 h 523"/>
                <a:gd name="T68" fmla="*/ 382 w 676"/>
                <a:gd name="T69" fmla="*/ 18 h 523"/>
                <a:gd name="T70" fmla="*/ 386 w 676"/>
                <a:gd name="T71" fmla="*/ 8 h 523"/>
                <a:gd name="T72" fmla="*/ 401 w 676"/>
                <a:gd name="T73" fmla="*/ 0 h 523"/>
                <a:gd name="T74" fmla="*/ 670 w 676"/>
                <a:gd name="T75" fmla="*/ 207 h 523"/>
                <a:gd name="T76" fmla="*/ 658 w 676"/>
                <a:gd name="T77" fmla="*/ 214 h 523"/>
                <a:gd name="T78" fmla="*/ 640 w 676"/>
                <a:gd name="T79" fmla="*/ 206 h 523"/>
                <a:gd name="T80" fmla="*/ 612 w 676"/>
                <a:gd name="T81" fmla="*/ 186 h 523"/>
                <a:gd name="T82" fmla="*/ 592 w 676"/>
                <a:gd name="T83" fmla="*/ 181 h 523"/>
                <a:gd name="T84" fmla="*/ 574 w 676"/>
                <a:gd name="T85" fmla="*/ 185 h 523"/>
                <a:gd name="T86" fmla="*/ 558 w 676"/>
                <a:gd name="T87" fmla="*/ 196 h 523"/>
                <a:gd name="T88" fmla="*/ 542 w 676"/>
                <a:gd name="T89" fmla="*/ 222 h 523"/>
                <a:gd name="T90" fmla="*/ 536 w 676"/>
                <a:gd name="T91" fmla="*/ 253 h 523"/>
                <a:gd name="T92" fmla="*/ 539 w 676"/>
                <a:gd name="T93" fmla="*/ 290 h 523"/>
                <a:gd name="T94" fmla="*/ 550 w 676"/>
                <a:gd name="T95" fmla="*/ 314 h 523"/>
                <a:gd name="T96" fmla="*/ 564 w 676"/>
                <a:gd name="T97" fmla="*/ 330 h 523"/>
                <a:gd name="T98" fmla="*/ 582 w 676"/>
                <a:gd name="T99" fmla="*/ 339 h 523"/>
                <a:gd name="T100" fmla="*/ 602 w 676"/>
                <a:gd name="T101" fmla="*/ 337 h 523"/>
                <a:gd name="T102" fmla="*/ 639 w 676"/>
                <a:gd name="T103" fmla="*/ 313 h 523"/>
                <a:gd name="T104" fmla="*/ 660 w 676"/>
                <a:gd name="T105" fmla="*/ 304 h 523"/>
                <a:gd name="T106" fmla="*/ 670 w 676"/>
                <a:gd name="T107" fmla="*/ 310 h 523"/>
                <a:gd name="T108" fmla="*/ 676 w 676"/>
                <a:gd name="T109" fmla="*/ 522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76"/>
                <a:gd name="T166" fmla="*/ 0 h 523"/>
                <a:gd name="T167" fmla="*/ 676 w 676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76" h="523">
                  <a:moveTo>
                    <a:pt x="676" y="522"/>
                  </a:moveTo>
                  <a:lnTo>
                    <a:pt x="407" y="523"/>
                  </a:lnTo>
                  <a:lnTo>
                    <a:pt x="400" y="520"/>
                  </a:lnTo>
                  <a:lnTo>
                    <a:pt x="395" y="517"/>
                  </a:lnTo>
                  <a:lnTo>
                    <a:pt x="392" y="514"/>
                  </a:lnTo>
                  <a:lnTo>
                    <a:pt x="391" y="513"/>
                  </a:lnTo>
                  <a:lnTo>
                    <a:pt x="390" y="511"/>
                  </a:lnTo>
                  <a:lnTo>
                    <a:pt x="388" y="508"/>
                  </a:lnTo>
                  <a:lnTo>
                    <a:pt x="388" y="504"/>
                  </a:lnTo>
                  <a:lnTo>
                    <a:pt x="389" y="501"/>
                  </a:lnTo>
                  <a:lnTo>
                    <a:pt x="390" y="497"/>
                  </a:lnTo>
                  <a:lnTo>
                    <a:pt x="395" y="488"/>
                  </a:lnTo>
                  <a:lnTo>
                    <a:pt x="401" y="479"/>
                  </a:lnTo>
                  <a:lnTo>
                    <a:pt x="411" y="466"/>
                  </a:lnTo>
                  <a:lnTo>
                    <a:pt x="416" y="457"/>
                  </a:lnTo>
                  <a:lnTo>
                    <a:pt x="419" y="450"/>
                  </a:lnTo>
                  <a:lnTo>
                    <a:pt x="421" y="443"/>
                  </a:lnTo>
                  <a:lnTo>
                    <a:pt x="422" y="440"/>
                  </a:lnTo>
                  <a:lnTo>
                    <a:pt x="422" y="437"/>
                  </a:lnTo>
                  <a:lnTo>
                    <a:pt x="422" y="431"/>
                  </a:lnTo>
                  <a:lnTo>
                    <a:pt x="421" y="424"/>
                  </a:lnTo>
                  <a:lnTo>
                    <a:pt x="420" y="422"/>
                  </a:lnTo>
                  <a:lnTo>
                    <a:pt x="419" y="420"/>
                  </a:lnTo>
                  <a:lnTo>
                    <a:pt x="417" y="416"/>
                  </a:lnTo>
                  <a:lnTo>
                    <a:pt x="415" y="412"/>
                  </a:lnTo>
                  <a:lnTo>
                    <a:pt x="412" y="408"/>
                  </a:lnTo>
                  <a:lnTo>
                    <a:pt x="409" y="405"/>
                  </a:lnTo>
                  <a:lnTo>
                    <a:pt x="405" y="401"/>
                  </a:lnTo>
                  <a:lnTo>
                    <a:pt x="397" y="395"/>
                  </a:lnTo>
                  <a:lnTo>
                    <a:pt x="392" y="393"/>
                  </a:lnTo>
                  <a:lnTo>
                    <a:pt x="387" y="391"/>
                  </a:lnTo>
                  <a:lnTo>
                    <a:pt x="382" y="389"/>
                  </a:lnTo>
                  <a:lnTo>
                    <a:pt x="377" y="387"/>
                  </a:lnTo>
                  <a:lnTo>
                    <a:pt x="366" y="384"/>
                  </a:lnTo>
                  <a:lnTo>
                    <a:pt x="360" y="383"/>
                  </a:lnTo>
                  <a:lnTo>
                    <a:pt x="354" y="382"/>
                  </a:lnTo>
                  <a:lnTo>
                    <a:pt x="342" y="382"/>
                  </a:lnTo>
                  <a:lnTo>
                    <a:pt x="330" y="383"/>
                  </a:lnTo>
                  <a:lnTo>
                    <a:pt x="319" y="385"/>
                  </a:lnTo>
                  <a:lnTo>
                    <a:pt x="306" y="388"/>
                  </a:lnTo>
                  <a:lnTo>
                    <a:pt x="301" y="390"/>
                  </a:lnTo>
                  <a:lnTo>
                    <a:pt x="296" y="393"/>
                  </a:lnTo>
                  <a:lnTo>
                    <a:pt x="291" y="396"/>
                  </a:lnTo>
                  <a:lnTo>
                    <a:pt x="286" y="399"/>
                  </a:lnTo>
                  <a:lnTo>
                    <a:pt x="282" y="403"/>
                  </a:lnTo>
                  <a:lnTo>
                    <a:pt x="278" y="406"/>
                  </a:lnTo>
                  <a:lnTo>
                    <a:pt x="274" y="411"/>
                  </a:lnTo>
                  <a:lnTo>
                    <a:pt x="271" y="416"/>
                  </a:lnTo>
                  <a:lnTo>
                    <a:pt x="268" y="420"/>
                  </a:lnTo>
                  <a:lnTo>
                    <a:pt x="266" y="425"/>
                  </a:lnTo>
                  <a:lnTo>
                    <a:pt x="265" y="429"/>
                  </a:lnTo>
                  <a:lnTo>
                    <a:pt x="264" y="434"/>
                  </a:lnTo>
                  <a:lnTo>
                    <a:pt x="264" y="438"/>
                  </a:lnTo>
                  <a:lnTo>
                    <a:pt x="265" y="442"/>
                  </a:lnTo>
                  <a:lnTo>
                    <a:pt x="265" y="446"/>
                  </a:lnTo>
                  <a:lnTo>
                    <a:pt x="267" y="450"/>
                  </a:lnTo>
                  <a:lnTo>
                    <a:pt x="270" y="458"/>
                  </a:lnTo>
                  <a:lnTo>
                    <a:pt x="274" y="467"/>
                  </a:lnTo>
                  <a:lnTo>
                    <a:pt x="279" y="474"/>
                  </a:lnTo>
                  <a:lnTo>
                    <a:pt x="284" y="481"/>
                  </a:lnTo>
                  <a:lnTo>
                    <a:pt x="288" y="487"/>
                  </a:lnTo>
                  <a:lnTo>
                    <a:pt x="292" y="493"/>
                  </a:lnTo>
                  <a:lnTo>
                    <a:pt x="295" y="499"/>
                  </a:lnTo>
                  <a:lnTo>
                    <a:pt x="296" y="502"/>
                  </a:lnTo>
                  <a:lnTo>
                    <a:pt x="296" y="505"/>
                  </a:lnTo>
                  <a:lnTo>
                    <a:pt x="296" y="507"/>
                  </a:lnTo>
                  <a:lnTo>
                    <a:pt x="295" y="510"/>
                  </a:lnTo>
                  <a:lnTo>
                    <a:pt x="294" y="512"/>
                  </a:lnTo>
                  <a:lnTo>
                    <a:pt x="292" y="514"/>
                  </a:lnTo>
                  <a:lnTo>
                    <a:pt x="290" y="517"/>
                  </a:lnTo>
                  <a:lnTo>
                    <a:pt x="287" y="519"/>
                  </a:lnTo>
                  <a:lnTo>
                    <a:pt x="283" y="521"/>
                  </a:lnTo>
                  <a:lnTo>
                    <a:pt x="278" y="523"/>
                  </a:lnTo>
                  <a:lnTo>
                    <a:pt x="0" y="523"/>
                  </a:lnTo>
                  <a:lnTo>
                    <a:pt x="0" y="0"/>
                  </a:lnTo>
                  <a:lnTo>
                    <a:pt x="273" y="0"/>
                  </a:lnTo>
                  <a:lnTo>
                    <a:pt x="278" y="2"/>
                  </a:lnTo>
                  <a:lnTo>
                    <a:pt x="282" y="4"/>
                  </a:lnTo>
                  <a:lnTo>
                    <a:pt x="285" y="6"/>
                  </a:lnTo>
                  <a:lnTo>
                    <a:pt x="287" y="8"/>
                  </a:lnTo>
                  <a:lnTo>
                    <a:pt x="289" y="10"/>
                  </a:lnTo>
                  <a:lnTo>
                    <a:pt x="290" y="13"/>
                  </a:lnTo>
                  <a:lnTo>
                    <a:pt x="291" y="15"/>
                  </a:lnTo>
                  <a:lnTo>
                    <a:pt x="291" y="18"/>
                  </a:lnTo>
                  <a:lnTo>
                    <a:pt x="290" y="21"/>
                  </a:lnTo>
                  <a:lnTo>
                    <a:pt x="289" y="23"/>
                  </a:lnTo>
                  <a:lnTo>
                    <a:pt x="287" y="29"/>
                  </a:lnTo>
                  <a:lnTo>
                    <a:pt x="283" y="35"/>
                  </a:lnTo>
                  <a:lnTo>
                    <a:pt x="278" y="42"/>
                  </a:lnTo>
                  <a:lnTo>
                    <a:pt x="273" y="49"/>
                  </a:lnTo>
                  <a:lnTo>
                    <a:pt x="269" y="56"/>
                  </a:lnTo>
                  <a:lnTo>
                    <a:pt x="264" y="63"/>
                  </a:lnTo>
                  <a:lnTo>
                    <a:pt x="261" y="72"/>
                  </a:lnTo>
                  <a:lnTo>
                    <a:pt x="260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59" y="89"/>
                  </a:lnTo>
                  <a:lnTo>
                    <a:pt x="259" y="91"/>
                  </a:lnTo>
                  <a:lnTo>
                    <a:pt x="260" y="93"/>
                  </a:lnTo>
                  <a:lnTo>
                    <a:pt x="261" y="97"/>
                  </a:lnTo>
                  <a:lnTo>
                    <a:pt x="263" y="102"/>
                  </a:lnTo>
                  <a:lnTo>
                    <a:pt x="265" y="107"/>
                  </a:lnTo>
                  <a:lnTo>
                    <a:pt x="268" y="110"/>
                  </a:lnTo>
                  <a:lnTo>
                    <a:pt x="271" y="114"/>
                  </a:lnTo>
                  <a:lnTo>
                    <a:pt x="275" y="117"/>
                  </a:lnTo>
                  <a:lnTo>
                    <a:pt x="278" y="121"/>
                  </a:lnTo>
                  <a:lnTo>
                    <a:pt x="286" y="126"/>
                  </a:lnTo>
                  <a:lnTo>
                    <a:pt x="295" y="131"/>
                  </a:lnTo>
                  <a:lnTo>
                    <a:pt x="300" y="133"/>
                  </a:lnTo>
                  <a:lnTo>
                    <a:pt x="304" y="135"/>
                  </a:lnTo>
                  <a:lnTo>
                    <a:pt x="315" y="138"/>
                  </a:lnTo>
                  <a:lnTo>
                    <a:pt x="326" y="139"/>
                  </a:lnTo>
                  <a:lnTo>
                    <a:pt x="337" y="140"/>
                  </a:lnTo>
                  <a:lnTo>
                    <a:pt x="347" y="140"/>
                  </a:lnTo>
                  <a:lnTo>
                    <a:pt x="358" y="139"/>
                  </a:lnTo>
                  <a:lnTo>
                    <a:pt x="368" y="136"/>
                  </a:lnTo>
                  <a:lnTo>
                    <a:pt x="378" y="133"/>
                  </a:lnTo>
                  <a:lnTo>
                    <a:pt x="383" y="131"/>
                  </a:lnTo>
                  <a:lnTo>
                    <a:pt x="388" y="128"/>
                  </a:lnTo>
                  <a:lnTo>
                    <a:pt x="392" y="125"/>
                  </a:lnTo>
                  <a:lnTo>
                    <a:pt x="396" y="122"/>
                  </a:lnTo>
                  <a:lnTo>
                    <a:pt x="400" y="119"/>
                  </a:lnTo>
                  <a:lnTo>
                    <a:pt x="404" y="116"/>
                  </a:lnTo>
                  <a:lnTo>
                    <a:pt x="407" y="112"/>
                  </a:lnTo>
                  <a:lnTo>
                    <a:pt x="410" y="108"/>
                  </a:lnTo>
                  <a:lnTo>
                    <a:pt x="413" y="103"/>
                  </a:lnTo>
                  <a:lnTo>
                    <a:pt x="415" y="99"/>
                  </a:lnTo>
                  <a:lnTo>
                    <a:pt x="416" y="95"/>
                  </a:lnTo>
                  <a:lnTo>
                    <a:pt x="417" y="91"/>
                  </a:lnTo>
                  <a:lnTo>
                    <a:pt x="417" y="86"/>
                  </a:lnTo>
                  <a:lnTo>
                    <a:pt x="416" y="82"/>
                  </a:lnTo>
                  <a:lnTo>
                    <a:pt x="416" y="78"/>
                  </a:lnTo>
                  <a:lnTo>
                    <a:pt x="414" y="74"/>
                  </a:lnTo>
                  <a:lnTo>
                    <a:pt x="411" y="65"/>
                  </a:lnTo>
                  <a:lnTo>
                    <a:pt x="406" y="58"/>
                  </a:lnTo>
                  <a:lnTo>
                    <a:pt x="396" y="43"/>
                  </a:lnTo>
                  <a:lnTo>
                    <a:pt x="391" y="36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2" y="18"/>
                  </a:lnTo>
                  <a:lnTo>
                    <a:pt x="382" y="15"/>
                  </a:lnTo>
                  <a:lnTo>
                    <a:pt x="383" y="13"/>
                  </a:lnTo>
                  <a:lnTo>
                    <a:pt x="384" y="10"/>
                  </a:lnTo>
                  <a:lnTo>
                    <a:pt x="386" y="8"/>
                  </a:lnTo>
                  <a:lnTo>
                    <a:pt x="388" y="6"/>
                  </a:lnTo>
                  <a:lnTo>
                    <a:pt x="391" y="4"/>
                  </a:lnTo>
                  <a:lnTo>
                    <a:pt x="396" y="1"/>
                  </a:lnTo>
                  <a:lnTo>
                    <a:pt x="401" y="0"/>
                  </a:lnTo>
                  <a:lnTo>
                    <a:pt x="676" y="0"/>
                  </a:lnTo>
                  <a:lnTo>
                    <a:pt x="676" y="194"/>
                  </a:lnTo>
                  <a:lnTo>
                    <a:pt x="672" y="204"/>
                  </a:lnTo>
                  <a:lnTo>
                    <a:pt x="670" y="207"/>
                  </a:lnTo>
                  <a:lnTo>
                    <a:pt x="668" y="210"/>
                  </a:lnTo>
                  <a:lnTo>
                    <a:pt x="665" y="212"/>
                  </a:lnTo>
                  <a:lnTo>
                    <a:pt x="663" y="213"/>
                  </a:lnTo>
                  <a:lnTo>
                    <a:pt x="658" y="214"/>
                  </a:lnTo>
                  <a:lnTo>
                    <a:pt x="655" y="213"/>
                  </a:lnTo>
                  <a:lnTo>
                    <a:pt x="652" y="212"/>
                  </a:lnTo>
                  <a:lnTo>
                    <a:pt x="647" y="210"/>
                  </a:lnTo>
                  <a:lnTo>
                    <a:pt x="640" y="206"/>
                  </a:lnTo>
                  <a:lnTo>
                    <a:pt x="634" y="201"/>
                  </a:lnTo>
                  <a:lnTo>
                    <a:pt x="627" y="195"/>
                  </a:lnTo>
                  <a:lnTo>
                    <a:pt x="620" y="191"/>
                  </a:lnTo>
                  <a:lnTo>
                    <a:pt x="612" y="186"/>
                  </a:lnTo>
                  <a:lnTo>
                    <a:pt x="605" y="183"/>
                  </a:lnTo>
                  <a:lnTo>
                    <a:pt x="600" y="182"/>
                  </a:lnTo>
                  <a:lnTo>
                    <a:pt x="596" y="181"/>
                  </a:lnTo>
                  <a:lnTo>
                    <a:pt x="592" y="181"/>
                  </a:lnTo>
                  <a:lnTo>
                    <a:pt x="588" y="181"/>
                  </a:lnTo>
                  <a:lnTo>
                    <a:pt x="583" y="182"/>
                  </a:lnTo>
                  <a:lnTo>
                    <a:pt x="579" y="183"/>
                  </a:lnTo>
                  <a:lnTo>
                    <a:pt x="574" y="185"/>
                  </a:lnTo>
                  <a:lnTo>
                    <a:pt x="570" y="187"/>
                  </a:lnTo>
                  <a:lnTo>
                    <a:pt x="565" y="190"/>
                  </a:lnTo>
                  <a:lnTo>
                    <a:pt x="561" y="193"/>
                  </a:lnTo>
                  <a:lnTo>
                    <a:pt x="558" y="196"/>
                  </a:lnTo>
                  <a:lnTo>
                    <a:pt x="555" y="201"/>
                  </a:lnTo>
                  <a:lnTo>
                    <a:pt x="549" y="209"/>
                  </a:lnTo>
                  <a:lnTo>
                    <a:pt x="544" y="218"/>
                  </a:lnTo>
                  <a:lnTo>
                    <a:pt x="542" y="222"/>
                  </a:lnTo>
                  <a:lnTo>
                    <a:pt x="541" y="227"/>
                  </a:lnTo>
                  <a:lnTo>
                    <a:pt x="538" y="237"/>
                  </a:lnTo>
                  <a:lnTo>
                    <a:pt x="536" y="248"/>
                  </a:lnTo>
                  <a:lnTo>
                    <a:pt x="536" y="253"/>
                  </a:lnTo>
                  <a:lnTo>
                    <a:pt x="535" y="258"/>
                  </a:lnTo>
                  <a:lnTo>
                    <a:pt x="536" y="269"/>
                  </a:lnTo>
                  <a:lnTo>
                    <a:pt x="537" y="280"/>
                  </a:lnTo>
                  <a:lnTo>
                    <a:pt x="539" y="290"/>
                  </a:lnTo>
                  <a:lnTo>
                    <a:pt x="543" y="300"/>
                  </a:lnTo>
                  <a:lnTo>
                    <a:pt x="545" y="305"/>
                  </a:lnTo>
                  <a:lnTo>
                    <a:pt x="547" y="310"/>
                  </a:lnTo>
                  <a:lnTo>
                    <a:pt x="550" y="314"/>
                  </a:lnTo>
                  <a:lnTo>
                    <a:pt x="553" y="318"/>
                  </a:lnTo>
                  <a:lnTo>
                    <a:pt x="556" y="322"/>
                  </a:lnTo>
                  <a:lnTo>
                    <a:pt x="560" y="326"/>
                  </a:lnTo>
                  <a:lnTo>
                    <a:pt x="564" y="330"/>
                  </a:lnTo>
                  <a:lnTo>
                    <a:pt x="569" y="333"/>
                  </a:lnTo>
                  <a:lnTo>
                    <a:pt x="573" y="336"/>
                  </a:lnTo>
                  <a:lnTo>
                    <a:pt x="577" y="338"/>
                  </a:lnTo>
                  <a:lnTo>
                    <a:pt x="582" y="339"/>
                  </a:lnTo>
                  <a:lnTo>
                    <a:pt x="586" y="340"/>
                  </a:lnTo>
                  <a:lnTo>
                    <a:pt x="590" y="340"/>
                  </a:lnTo>
                  <a:lnTo>
                    <a:pt x="594" y="339"/>
                  </a:lnTo>
                  <a:lnTo>
                    <a:pt x="602" y="337"/>
                  </a:lnTo>
                  <a:lnTo>
                    <a:pt x="610" y="333"/>
                  </a:lnTo>
                  <a:lnTo>
                    <a:pt x="618" y="328"/>
                  </a:lnTo>
                  <a:lnTo>
                    <a:pt x="633" y="317"/>
                  </a:lnTo>
                  <a:lnTo>
                    <a:pt x="639" y="313"/>
                  </a:lnTo>
                  <a:lnTo>
                    <a:pt x="646" y="308"/>
                  </a:lnTo>
                  <a:lnTo>
                    <a:pt x="652" y="305"/>
                  </a:lnTo>
                  <a:lnTo>
                    <a:pt x="658" y="304"/>
                  </a:lnTo>
                  <a:lnTo>
                    <a:pt x="660" y="304"/>
                  </a:lnTo>
                  <a:lnTo>
                    <a:pt x="663" y="305"/>
                  </a:lnTo>
                  <a:lnTo>
                    <a:pt x="665" y="306"/>
                  </a:lnTo>
                  <a:lnTo>
                    <a:pt x="668" y="308"/>
                  </a:lnTo>
                  <a:lnTo>
                    <a:pt x="670" y="310"/>
                  </a:lnTo>
                  <a:lnTo>
                    <a:pt x="672" y="314"/>
                  </a:lnTo>
                  <a:lnTo>
                    <a:pt x="674" y="318"/>
                  </a:lnTo>
                  <a:lnTo>
                    <a:pt x="676" y="323"/>
                  </a:lnTo>
                  <a:lnTo>
                    <a:pt x="676" y="522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auto">
            <a:xfrm>
              <a:off x="754" y="2921"/>
              <a:ext cx="955" cy="665"/>
            </a:xfrm>
            <a:custGeom>
              <a:avLst/>
              <a:gdLst>
                <a:gd name="T0" fmla="*/ 529 w 955"/>
                <a:gd name="T1" fmla="*/ 659 h 665"/>
                <a:gd name="T2" fmla="*/ 523 w 955"/>
                <a:gd name="T3" fmla="*/ 643 h 665"/>
                <a:gd name="T4" fmla="*/ 551 w 955"/>
                <a:gd name="T5" fmla="*/ 600 h 665"/>
                <a:gd name="T6" fmla="*/ 558 w 955"/>
                <a:gd name="T7" fmla="*/ 573 h 665"/>
                <a:gd name="T8" fmla="*/ 551 w 955"/>
                <a:gd name="T9" fmla="*/ 554 h 665"/>
                <a:gd name="T10" fmla="*/ 527 w 955"/>
                <a:gd name="T11" fmla="*/ 536 h 665"/>
                <a:gd name="T12" fmla="*/ 495 w 955"/>
                <a:gd name="T13" fmla="*/ 526 h 665"/>
                <a:gd name="T14" fmla="*/ 442 w 955"/>
                <a:gd name="T15" fmla="*/ 531 h 665"/>
                <a:gd name="T16" fmla="*/ 417 w 955"/>
                <a:gd name="T17" fmla="*/ 545 h 665"/>
                <a:gd name="T18" fmla="*/ 401 w 955"/>
                <a:gd name="T19" fmla="*/ 567 h 665"/>
                <a:gd name="T20" fmla="*/ 400 w 955"/>
                <a:gd name="T21" fmla="*/ 589 h 665"/>
                <a:gd name="T22" fmla="*/ 419 w 955"/>
                <a:gd name="T23" fmla="*/ 623 h 665"/>
                <a:gd name="T24" fmla="*/ 432 w 955"/>
                <a:gd name="T25" fmla="*/ 649 h 665"/>
                <a:gd name="T26" fmla="*/ 423 w 955"/>
                <a:gd name="T27" fmla="*/ 661 h 665"/>
                <a:gd name="T28" fmla="*/ 138 w 955"/>
                <a:gd name="T29" fmla="*/ 458 h 665"/>
                <a:gd name="T30" fmla="*/ 126 w 955"/>
                <a:gd name="T31" fmla="*/ 447 h 665"/>
                <a:gd name="T32" fmla="*/ 105 w 955"/>
                <a:gd name="T33" fmla="*/ 455 h 665"/>
                <a:gd name="T34" fmla="*/ 68 w 955"/>
                <a:gd name="T35" fmla="*/ 480 h 665"/>
                <a:gd name="T36" fmla="*/ 42 w 955"/>
                <a:gd name="T37" fmla="*/ 481 h 665"/>
                <a:gd name="T38" fmla="*/ 18 w 955"/>
                <a:gd name="T39" fmla="*/ 461 h 665"/>
                <a:gd name="T40" fmla="*/ 3 w 955"/>
                <a:gd name="T41" fmla="*/ 428 h 665"/>
                <a:gd name="T42" fmla="*/ 3 w 955"/>
                <a:gd name="T43" fmla="*/ 380 h 665"/>
                <a:gd name="T44" fmla="*/ 17 w 955"/>
                <a:gd name="T45" fmla="*/ 347 h 665"/>
                <a:gd name="T46" fmla="*/ 39 w 955"/>
                <a:gd name="T47" fmla="*/ 327 h 665"/>
                <a:gd name="T48" fmla="*/ 61 w 955"/>
                <a:gd name="T49" fmla="*/ 324 h 665"/>
                <a:gd name="T50" fmla="*/ 99 w 955"/>
                <a:gd name="T51" fmla="*/ 344 h 665"/>
                <a:gd name="T52" fmla="*/ 123 w 955"/>
                <a:gd name="T53" fmla="*/ 356 h 665"/>
                <a:gd name="T54" fmla="*/ 136 w 955"/>
                <a:gd name="T55" fmla="*/ 349 h 665"/>
                <a:gd name="T56" fmla="*/ 412 w 955"/>
                <a:gd name="T57" fmla="*/ 141 h 665"/>
                <a:gd name="T58" fmla="*/ 429 w 955"/>
                <a:gd name="T59" fmla="*/ 130 h 665"/>
                <a:gd name="T60" fmla="*/ 427 w 955"/>
                <a:gd name="T61" fmla="*/ 112 h 665"/>
                <a:gd name="T62" fmla="*/ 404 w 955"/>
                <a:gd name="T63" fmla="*/ 76 h 665"/>
                <a:gd name="T64" fmla="*/ 398 w 955"/>
                <a:gd name="T65" fmla="*/ 52 h 665"/>
                <a:gd name="T66" fmla="*/ 405 w 955"/>
                <a:gd name="T67" fmla="*/ 34 h 665"/>
                <a:gd name="T68" fmla="*/ 426 w 955"/>
                <a:gd name="T69" fmla="*/ 14 h 665"/>
                <a:gd name="T70" fmla="*/ 465 w 955"/>
                <a:gd name="T71" fmla="*/ 1 h 665"/>
                <a:gd name="T72" fmla="*/ 518 w 955"/>
                <a:gd name="T73" fmla="*/ 8 h 665"/>
                <a:gd name="T74" fmla="*/ 541 w 955"/>
                <a:gd name="T75" fmla="*/ 21 h 665"/>
                <a:gd name="T76" fmla="*/ 555 w 955"/>
                <a:gd name="T77" fmla="*/ 42 h 665"/>
                <a:gd name="T78" fmla="*/ 555 w 955"/>
                <a:gd name="T79" fmla="*/ 66 h 665"/>
                <a:gd name="T80" fmla="*/ 526 w 955"/>
                <a:gd name="T81" fmla="*/ 111 h 665"/>
                <a:gd name="T82" fmla="*/ 523 w 955"/>
                <a:gd name="T83" fmla="*/ 130 h 665"/>
                <a:gd name="T84" fmla="*/ 541 w 955"/>
                <a:gd name="T85" fmla="*/ 141 h 665"/>
                <a:gd name="T86" fmla="*/ 820 w 955"/>
                <a:gd name="T87" fmla="*/ 349 h 665"/>
                <a:gd name="T88" fmla="*/ 832 w 955"/>
                <a:gd name="T89" fmla="*/ 356 h 665"/>
                <a:gd name="T90" fmla="*/ 856 w 955"/>
                <a:gd name="T91" fmla="*/ 344 h 665"/>
                <a:gd name="T92" fmla="*/ 890 w 955"/>
                <a:gd name="T93" fmla="*/ 325 h 665"/>
                <a:gd name="T94" fmla="*/ 911 w 955"/>
                <a:gd name="T95" fmla="*/ 325 h 665"/>
                <a:gd name="T96" fmla="*/ 932 w 955"/>
                <a:gd name="T97" fmla="*/ 339 h 665"/>
                <a:gd name="T98" fmla="*/ 950 w 955"/>
                <a:gd name="T99" fmla="*/ 370 h 665"/>
                <a:gd name="T100" fmla="*/ 955 w 955"/>
                <a:gd name="T101" fmla="*/ 412 h 665"/>
                <a:gd name="T102" fmla="*/ 943 w 955"/>
                <a:gd name="T103" fmla="*/ 452 h 665"/>
                <a:gd name="T104" fmla="*/ 927 w 955"/>
                <a:gd name="T105" fmla="*/ 473 h 665"/>
                <a:gd name="T106" fmla="*/ 904 w 955"/>
                <a:gd name="T107" fmla="*/ 482 h 665"/>
                <a:gd name="T108" fmla="*/ 872 w 955"/>
                <a:gd name="T109" fmla="*/ 470 h 665"/>
                <a:gd name="T110" fmla="*/ 835 w 955"/>
                <a:gd name="T111" fmla="*/ 447 h 665"/>
                <a:gd name="T112" fmla="*/ 822 w 955"/>
                <a:gd name="T113" fmla="*/ 451 h 665"/>
                <a:gd name="T114" fmla="*/ 814 w 955"/>
                <a:gd name="T115" fmla="*/ 665 h 6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55"/>
                <a:gd name="T175" fmla="*/ 0 h 665"/>
                <a:gd name="T176" fmla="*/ 955 w 955"/>
                <a:gd name="T177" fmla="*/ 665 h 66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55" h="665">
                  <a:moveTo>
                    <a:pt x="814" y="665"/>
                  </a:moveTo>
                  <a:lnTo>
                    <a:pt x="541" y="665"/>
                  </a:lnTo>
                  <a:lnTo>
                    <a:pt x="537" y="664"/>
                  </a:lnTo>
                  <a:lnTo>
                    <a:pt x="534" y="662"/>
                  </a:lnTo>
                  <a:lnTo>
                    <a:pt x="529" y="659"/>
                  </a:lnTo>
                  <a:lnTo>
                    <a:pt x="526" y="657"/>
                  </a:lnTo>
                  <a:lnTo>
                    <a:pt x="524" y="653"/>
                  </a:lnTo>
                  <a:lnTo>
                    <a:pt x="523" y="650"/>
                  </a:lnTo>
                  <a:lnTo>
                    <a:pt x="523" y="647"/>
                  </a:lnTo>
                  <a:lnTo>
                    <a:pt x="523" y="643"/>
                  </a:lnTo>
                  <a:lnTo>
                    <a:pt x="524" y="639"/>
                  </a:lnTo>
                  <a:lnTo>
                    <a:pt x="529" y="631"/>
                  </a:lnTo>
                  <a:lnTo>
                    <a:pt x="536" y="622"/>
                  </a:lnTo>
                  <a:lnTo>
                    <a:pt x="547" y="608"/>
                  </a:lnTo>
                  <a:lnTo>
                    <a:pt x="551" y="600"/>
                  </a:lnTo>
                  <a:lnTo>
                    <a:pt x="554" y="592"/>
                  </a:lnTo>
                  <a:lnTo>
                    <a:pt x="557" y="586"/>
                  </a:lnTo>
                  <a:lnTo>
                    <a:pt x="557" y="583"/>
                  </a:lnTo>
                  <a:lnTo>
                    <a:pt x="558" y="580"/>
                  </a:lnTo>
                  <a:lnTo>
                    <a:pt x="558" y="573"/>
                  </a:lnTo>
                  <a:lnTo>
                    <a:pt x="556" y="567"/>
                  </a:lnTo>
                  <a:lnTo>
                    <a:pt x="556" y="565"/>
                  </a:lnTo>
                  <a:lnTo>
                    <a:pt x="555" y="563"/>
                  </a:lnTo>
                  <a:lnTo>
                    <a:pt x="553" y="558"/>
                  </a:lnTo>
                  <a:lnTo>
                    <a:pt x="551" y="554"/>
                  </a:lnTo>
                  <a:lnTo>
                    <a:pt x="548" y="551"/>
                  </a:lnTo>
                  <a:lnTo>
                    <a:pt x="544" y="547"/>
                  </a:lnTo>
                  <a:lnTo>
                    <a:pt x="541" y="544"/>
                  </a:lnTo>
                  <a:lnTo>
                    <a:pt x="531" y="538"/>
                  </a:lnTo>
                  <a:lnTo>
                    <a:pt x="527" y="536"/>
                  </a:lnTo>
                  <a:lnTo>
                    <a:pt x="522" y="533"/>
                  </a:lnTo>
                  <a:lnTo>
                    <a:pt x="517" y="531"/>
                  </a:lnTo>
                  <a:lnTo>
                    <a:pt x="512" y="529"/>
                  </a:lnTo>
                  <a:lnTo>
                    <a:pt x="500" y="527"/>
                  </a:lnTo>
                  <a:lnTo>
                    <a:pt x="495" y="526"/>
                  </a:lnTo>
                  <a:lnTo>
                    <a:pt x="489" y="525"/>
                  </a:lnTo>
                  <a:lnTo>
                    <a:pt x="477" y="525"/>
                  </a:lnTo>
                  <a:lnTo>
                    <a:pt x="465" y="525"/>
                  </a:lnTo>
                  <a:lnTo>
                    <a:pt x="453" y="527"/>
                  </a:lnTo>
                  <a:lnTo>
                    <a:pt x="442" y="531"/>
                  </a:lnTo>
                  <a:lnTo>
                    <a:pt x="437" y="533"/>
                  </a:lnTo>
                  <a:lnTo>
                    <a:pt x="431" y="536"/>
                  </a:lnTo>
                  <a:lnTo>
                    <a:pt x="426" y="538"/>
                  </a:lnTo>
                  <a:lnTo>
                    <a:pt x="422" y="542"/>
                  </a:lnTo>
                  <a:lnTo>
                    <a:pt x="417" y="545"/>
                  </a:lnTo>
                  <a:lnTo>
                    <a:pt x="412" y="549"/>
                  </a:lnTo>
                  <a:lnTo>
                    <a:pt x="409" y="553"/>
                  </a:lnTo>
                  <a:lnTo>
                    <a:pt x="405" y="558"/>
                  </a:lnTo>
                  <a:lnTo>
                    <a:pt x="403" y="563"/>
                  </a:lnTo>
                  <a:lnTo>
                    <a:pt x="401" y="567"/>
                  </a:lnTo>
                  <a:lnTo>
                    <a:pt x="400" y="572"/>
                  </a:lnTo>
                  <a:lnTo>
                    <a:pt x="399" y="576"/>
                  </a:lnTo>
                  <a:lnTo>
                    <a:pt x="399" y="580"/>
                  </a:lnTo>
                  <a:lnTo>
                    <a:pt x="399" y="584"/>
                  </a:lnTo>
                  <a:lnTo>
                    <a:pt x="400" y="589"/>
                  </a:lnTo>
                  <a:lnTo>
                    <a:pt x="401" y="593"/>
                  </a:lnTo>
                  <a:lnTo>
                    <a:pt x="402" y="596"/>
                  </a:lnTo>
                  <a:lnTo>
                    <a:pt x="404" y="600"/>
                  </a:lnTo>
                  <a:lnTo>
                    <a:pt x="408" y="609"/>
                  </a:lnTo>
                  <a:lnTo>
                    <a:pt x="419" y="623"/>
                  </a:lnTo>
                  <a:lnTo>
                    <a:pt x="423" y="629"/>
                  </a:lnTo>
                  <a:lnTo>
                    <a:pt x="427" y="635"/>
                  </a:lnTo>
                  <a:lnTo>
                    <a:pt x="430" y="641"/>
                  </a:lnTo>
                  <a:lnTo>
                    <a:pt x="432" y="647"/>
                  </a:lnTo>
                  <a:lnTo>
                    <a:pt x="432" y="649"/>
                  </a:lnTo>
                  <a:lnTo>
                    <a:pt x="431" y="652"/>
                  </a:lnTo>
                  <a:lnTo>
                    <a:pt x="430" y="654"/>
                  </a:lnTo>
                  <a:lnTo>
                    <a:pt x="429" y="656"/>
                  </a:lnTo>
                  <a:lnTo>
                    <a:pt x="426" y="659"/>
                  </a:lnTo>
                  <a:lnTo>
                    <a:pt x="423" y="661"/>
                  </a:lnTo>
                  <a:lnTo>
                    <a:pt x="420" y="663"/>
                  </a:lnTo>
                  <a:lnTo>
                    <a:pt x="415" y="665"/>
                  </a:lnTo>
                  <a:lnTo>
                    <a:pt x="142" y="665"/>
                  </a:lnTo>
                  <a:lnTo>
                    <a:pt x="142" y="469"/>
                  </a:lnTo>
                  <a:lnTo>
                    <a:pt x="138" y="458"/>
                  </a:lnTo>
                  <a:lnTo>
                    <a:pt x="136" y="455"/>
                  </a:lnTo>
                  <a:lnTo>
                    <a:pt x="134" y="452"/>
                  </a:lnTo>
                  <a:lnTo>
                    <a:pt x="131" y="449"/>
                  </a:lnTo>
                  <a:lnTo>
                    <a:pt x="129" y="448"/>
                  </a:lnTo>
                  <a:lnTo>
                    <a:pt x="126" y="447"/>
                  </a:lnTo>
                  <a:lnTo>
                    <a:pt x="123" y="447"/>
                  </a:lnTo>
                  <a:lnTo>
                    <a:pt x="121" y="447"/>
                  </a:lnTo>
                  <a:lnTo>
                    <a:pt x="118" y="448"/>
                  </a:lnTo>
                  <a:lnTo>
                    <a:pt x="112" y="450"/>
                  </a:lnTo>
                  <a:lnTo>
                    <a:pt x="105" y="455"/>
                  </a:lnTo>
                  <a:lnTo>
                    <a:pt x="98" y="459"/>
                  </a:lnTo>
                  <a:lnTo>
                    <a:pt x="91" y="465"/>
                  </a:lnTo>
                  <a:lnTo>
                    <a:pt x="83" y="470"/>
                  </a:lnTo>
                  <a:lnTo>
                    <a:pt x="76" y="476"/>
                  </a:lnTo>
                  <a:lnTo>
                    <a:pt x="68" y="480"/>
                  </a:lnTo>
                  <a:lnTo>
                    <a:pt x="59" y="482"/>
                  </a:lnTo>
                  <a:lnTo>
                    <a:pt x="55" y="482"/>
                  </a:lnTo>
                  <a:lnTo>
                    <a:pt x="51" y="482"/>
                  </a:lnTo>
                  <a:lnTo>
                    <a:pt x="47" y="482"/>
                  </a:lnTo>
                  <a:lnTo>
                    <a:pt x="42" y="481"/>
                  </a:lnTo>
                  <a:lnTo>
                    <a:pt x="38" y="479"/>
                  </a:lnTo>
                  <a:lnTo>
                    <a:pt x="34" y="476"/>
                  </a:lnTo>
                  <a:lnTo>
                    <a:pt x="25" y="468"/>
                  </a:lnTo>
                  <a:lnTo>
                    <a:pt x="21" y="465"/>
                  </a:lnTo>
                  <a:lnTo>
                    <a:pt x="18" y="461"/>
                  </a:lnTo>
                  <a:lnTo>
                    <a:pt x="12" y="452"/>
                  </a:lnTo>
                  <a:lnTo>
                    <a:pt x="10" y="448"/>
                  </a:lnTo>
                  <a:lnTo>
                    <a:pt x="7" y="443"/>
                  </a:lnTo>
                  <a:lnTo>
                    <a:pt x="4" y="433"/>
                  </a:lnTo>
                  <a:lnTo>
                    <a:pt x="3" y="428"/>
                  </a:lnTo>
                  <a:lnTo>
                    <a:pt x="2" y="423"/>
                  </a:lnTo>
                  <a:lnTo>
                    <a:pt x="0" y="412"/>
                  </a:lnTo>
                  <a:lnTo>
                    <a:pt x="0" y="401"/>
                  </a:lnTo>
                  <a:lnTo>
                    <a:pt x="1" y="390"/>
                  </a:lnTo>
                  <a:lnTo>
                    <a:pt x="3" y="380"/>
                  </a:lnTo>
                  <a:lnTo>
                    <a:pt x="5" y="370"/>
                  </a:lnTo>
                  <a:lnTo>
                    <a:pt x="7" y="365"/>
                  </a:lnTo>
                  <a:lnTo>
                    <a:pt x="9" y="360"/>
                  </a:lnTo>
                  <a:lnTo>
                    <a:pt x="14" y="352"/>
                  </a:lnTo>
                  <a:lnTo>
                    <a:pt x="17" y="347"/>
                  </a:lnTo>
                  <a:lnTo>
                    <a:pt x="19" y="344"/>
                  </a:lnTo>
                  <a:lnTo>
                    <a:pt x="26" y="336"/>
                  </a:lnTo>
                  <a:lnTo>
                    <a:pt x="30" y="333"/>
                  </a:lnTo>
                  <a:lnTo>
                    <a:pt x="35" y="330"/>
                  </a:lnTo>
                  <a:lnTo>
                    <a:pt x="39" y="327"/>
                  </a:lnTo>
                  <a:lnTo>
                    <a:pt x="44" y="325"/>
                  </a:lnTo>
                  <a:lnTo>
                    <a:pt x="48" y="324"/>
                  </a:lnTo>
                  <a:lnTo>
                    <a:pt x="53" y="324"/>
                  </a:lnTo>
                  <a:lnTo>
                    <a:pt x="57" y="323"/>
                  </a:lnTo>
                  <a:lnTo>
                    <a:pt x="61" y="324"/>
                  </a:lnTo>
                  <a:lnTo>
                    <a:pt x="70" y="326"/>
                  </a:lnTo>
                  <a:lnTo>
                    <a:pt x="78" y="329"/>
                  </a:lnTo>
                  <a:lnTo>
                    <a:pt x="85" y="334"/>
                  </a:lnTo>
                  <a:lnTo>
                    <a:pt x="92" y="338"/>
                  </a:lnTo>
                  <a:lnTo>
                    <a:pt x="99" y="344"/>
                  </a:lnTo>
                  <a:lnTo>
                    <a:pt x="106" y="349"/>
                  </a:lnTo>
                  <a:lnTo>
                    <a:pt x="112" y="353"/>
                  </a:lnTo>
                  <a:lnTo>
                    <a:pt x="118" y="355"/>
                  </a:lnTo>
                  <a:lnTo>
                    <a:pt x="121" y="356"/>
                  </a:lnTo>
                  <a:lnTo>
                    <a:pt x="123" y="356"/>
                  </a:lnTo>
                  <a:lnTo>
                    <a:pt x="126" y="356"/>
                  </a:lnTo>
                  <a:lnTo>
                    <a:pt x="129" y="355"/>
                  </a:lnTo>
                  <a:lnTo>
                    <a:pt x="131" y="354"/>
                  </a:lnTo>
                  <a:lnTo>
                    <a:pt x="133" y="352"/>
                  </a:lnTo>
                  <a:lnTo>
                    <a:pt x="136" y="349"/>
                  </a:lnTo>
                  <a:lnTo>
                    <a:pt x="138" y="345"/>
                  </a:lnTo>
                  <a:lnTo>
                    <a:pt x="140" y="340"/>
                  </a:lnTo>
                  <a:lnTo>
                    <a:pt x="142" y="334"/>
                  </a:lnTo>
                  <a:lnTo>
                    <a:pt x="142" y="141"/>
                  </a:lnTo>
                  <a:lnTo>
                    <a:pt x="412" y="141"/>
                  </a:lnTo>
                  <a:lnTo>
                    <a:pt x="418" y="139"/>
                  </a:lnTo>
                  <a:lnTo>
                    <a:pt x="422" y="137"/>
                  </a:lnTo>
                  <a:lnTo>
                    <a:pt x="425" y="135"/>
                  </a:lnTo>
                  <a:lnTo>
                    <a:pt x="428" y="133"/>
                  </a:lnTo>
                  <a:lnTo>
                    <a:pt x="429" y="130"/>
                  </a:lnTo>
                  <a:lnTo>
                    <a:pt x="430" y="128"/>
                  </a:lnTo>
                  <a:lnTo>
                    <a:pt x="431" y="123"/>
                  </a:lnTo>
                  <a:lnTo>
                    <a:pt x="431" y="120"/>
                  </a:lnTo>
                  <a:lnTo>
                    <a:pt x="430" y="117"/>
                  </a:lnTo>
                  <a:lnTo>
                    <a:pt x="427" y="112"/>
                  </a:lnTo>
                  <a:lnTo>
                    <a:pt x="423" y="105"/>
                  </a:lnTo>
                  <a:lnTo>
                    <a:pt x="419" y="99"/>
                  </a:lnTo>
                  <a:lnTo>
                    <a:pt x="414" y="92"/>
                  </a:lnTo>
                  <a:lnTo>
                    <a:pt x="408" y="85"/>
                  </a:lnTo>
                  <a:lnTo>
                    <a:pt x="404" y="76"/>
                  </a:lnTo>
                  <a:lnTo>
                    <a:pt x="401" y="69"/>
                  </a:lnTo>
                  <a:lnTo>
                    <a:pt x="399" y="65"/>
                  </a:lnTo>
                  <a:lnTo>
                    <a:pt x="399" y="60"/>
                  </a:lnTo>
                  <a:lnTo>
                    <a:pt x="398" y="56"/>
                  </a:lnTo>
                  <a:lnTo>
                    <a:pt x="398" y="52"/>
                  </a:lnTo>
                  <a:lnTo>
                    <a:pt x="399" y="50"/>
                  </a:lnTo>
                  <a:lnTo>
                    <a:pt x="399" y="48"/>
                  </a:lnTo>
                  <a:lnTo>
                    <a:pt x="400" y="43"/>
                  </a:lnTo>
                  <a:lnTo>
                    <a:pt x="402" y="39"/>
                  </a:lnTo>
                  <a:lnTo>
                    <a:pt x="405" y="34"/>
                  </a:lnTo>
                  <a:lnTo>
                    <a:pt x="408" y="30"/>
                  </a:lnTo>
                  <a:lnTo>
                    <a:pt x="411" y="26"/>
                  </a:lnTo>
                  <a:lnTo>
                    <a:pt x="415" y="23"/>
                  </a:lnTo>
                  <a:lnTo>
                    <a:pt x="418" y="20"/>
                  </a:lnTo>
                  <a:lnTo>
                    <a:pt x="426" y="14"/>
                  </a:lnTo>
                  <a:lnTo>
                    <a:pt x="435" y="10"/>
                  </a:lnTo>
                  <a:lnTo>
                    <a:pt x="440" y="8"/>
                  </a:lnTo>
                  <a:lnTo>
                    <a:pt x="445" y="6"/>
                  </a:lnTo>
                  <a:lnTo>
                    <a:pt x="455" y="3"/>
                  </a:lnTo>
                  <a:lnTo>
                    <a:pt x="465" y="1"/>
                  </a:lnTo>
                  <a:lnTo>
                    <a:pt x="476" y="0"/>
                  </a:lnTo>
                  <a:lnTo>
                    <a:pt x="487" y="1"/>
                  </a:lnTo>
                  <a:lnTo>
                    <a:pt x="497" y="2"/>
                  </a:lnTo>
                  <a:lnTo>
                    <a:pt x="508" y="4"/>
                  </a:lnTo>
                  <a:lnTo>
                    <a:pt x="518" y="8"/>
                  </a:lnTo>
                  <a:lnTo>
                    <a:pt x="522" y="10"/>
                  </a:lnTo>
                  <a:lnTo>
                    <a:pt x="527" y="12"/>
                  </a:lnTo>
                  <a:lnTo>
                    <a:pt x="531" y="15"/>
                  </a:lnTo>
                  <a:lnTo>
                    <a:pt x="536" y="18"/>
                  </a:lnTo>
                  <a:lnTo>
                    <a:pt x="541" y="21"/>
                  </a:lnTo>
                  <a:lnTo>
                    <a:pt x="544" y="25"/>
                  </a:lnTo>
                  <a:lnTo>
                    <a:pt x="548" y="29"/>
                  </a:lnTo>
                  <a:lnTo>
                    <a:pt x="551" y="33"/>
                  </a:lnTo>
                  <a:lnTo>
                    <a:pt x="553" y="37"/>
                  </a:lnTo>
                  <a:lnTo>
                    <a:pt x="555" y="42"/>
                  </a:lnTo>
                  <a:lnTo>
                    <a:pt x="557" y="46"/>
                  </a:lnTo>
                  <a:lnTo>
                    <a:pt x="557" y="50"/>
                  </a:lnTo>
                  <a:lnTo>
                    <a:pt x="557" y="54"/>
                  </a:lnTo>
                  <a:lnTo>
                    <a:pt x="557" y="58"/>
                  </a:lnTo>
                  <a:lnTo>
                    <a:pt x="555" y="66"/>
                  </a:lnTo>
                  <a:lnTo>
                    <a:pt x="551" y="74"/>
                  </a:lnTo>
                  <a:lnTo>
                    <a:pt x="546" y="83"/>
                  </a:lnTo>
                  <a:lnTo>
                    <a:pt x="535" y="98"/>
                  </a:lnTo>
                  <a:lnTo>
                    <a:pt x="530" y="104"/>
                  </a:lnTo>
                  <a:lnTo>
                    <a:pt x="526" y="111"/>
                  </a:lnTo>
                  <a:lnTo>
                    <a:pt x="523" y="117"/>
                  </a:lnTo>
                  <a:lnTo>
                    <a:pt x="522" y="123"/>
                  </a:lnTo>
                  <a:lnTo>
                    <a:pt x="522" y="125"/>
                  </a:lnTo>
                  <a:lnTo>
                    <a:pt x="522" y="128"/>
                  </a:lnTo>
                  <a:lnTo>
                    <a:pt x="523" y="130"/>
                  </a:lnTo>
                  <a:lnTo>
                    <a:pt x="525" y="133"/>
                  </a:lnTo>
                  <a:lnTo>
                    <a:pt x="528" y="135"/>
                  </a:lnTo>
                  <a:lnTo>
                    <a:pt x="531" y="137"/>
                  </a:lnTo>
                  <a:lnTo>
                    <a:pt x="535" y="139"/>
                  </a:lnTo>
                  <a:lnTo>
                    <a:pt x="541" y="141"/>
                  </a:lnTo>
                  <a:lnTo>
                    <a:pt x="814" y="141"/>
                  </a:lnTo>
                  <a:lnTo>
                    <a:pt x="814" y="336"/>
                  </a:lnTo>
                  <a:lnTo>
                    <a:pt x="816" y="342"/>
                  </a:lnTo>
                  <a:lnTo>
                    <a:pt x="818" y="346"/>
                  </a:lnTo>
                  <a:lnTo>
                    <a:pt x="820" y="349"/>
                  </a:lnTo>
                  <a:lnTo>
                    <a:pt x="822" y="352"/>
                  </a:lnTo>
                  <a:lnTo>
                    <a:pt x="825" y="354"/>
                  </a:lnTo>
                  <a:lnTo>
                    <a:pt x="827" y="355"/>
                  </a:lnTo>
                  <a:lnTo>
                    <a:pt x="830" y="356"/>
                  </a:lnTo>
                  <a:lnTo>
                    <a:pt x="832" y="356"/>
                  </a:lnTo>
                  <a:lnTo>
                    <a:pt x="835" y="356"/>
                  </a:lnTo>
                  <a:lnTo>
                    <a:pt x="838" y="355"/>
                  </a:lnTo>
                  <a:lnTo>
                    <a:pt x="843" y="353"/>
                  </a:lnTo>
                  <a:lnTo>
                    <a:pt x="850" y="349"/>
                  </a:lnTo>
                  <a:lnTo>
                    <a:pt x="856" y="344"/>
                  </a:lnTo>
                  <a:lnTo>
                    <a:pt x="870" y="333"/>
                  </a:lnTo>
                  <a:lnTo>
                    <a:pt x="878" y="329"/>
                  </a:lnTo>
                  <a:lnTo>
                    <a:pt x="882" y="327"/>
                  </a:lnTo>
                  <a:lnTo>
                    <a:pt x="886" y="326"/>
                  </a:lnTo>
                  <a:lnTo>
                    <a:pt x="890" y="325"/>
                  </a:lnTo>
                  <a:lnTo>
                    <a:pt x="894" y="324"/>
                  </a:lnTo>
                  <a:lnTo>
                    <a:pt x="898" y="323"/>
                  </a:lnTo>
                  <a:lnTo>
                    <a:pt x="903" y="324"/>
                  </a:lnTo>
                  <a:lnTo>
                    <a:pt x="907" y="324"/>
                  </a:lnTo>
                  <a:lnTo>
                    <a:pt x="911" y="325"/>
                  </a:lnTo>
                  <a:lnTo>
                    <a:pt x="916" y="327"/>
                  </a:lnTo>
                  <a:lnTo>
                    <a:pt x="922" y="330"/>
                  </a:lnTo>
                  <a:lnTo>
                    <a:pt x="925" y="333"/>
                  </a:lnTo>
                  <a:lnTo>
                    <a:pt x="929" y="336"/>
                  </a:lnTo>
                  <a:lnTo>
                    <a:pt x="932" y="339"/>
                  </a:lnTo>
                  <a:lnTo>
                    <a:pt x="936" y="344"/>
                  </a:lnTo>
                  <a:lnTo>
                    <a:pt x="941" y="352"/>
                  </a:lnTo>
                  <a:lnTo>
                    <a:pt x="946" y="360"/>
                  </a:lnTo>
                  <a:lnTo>
                    <a:pt x="948" y="365"/>
                  </a:lnTo>
                  <a:lnTo>
                    <a:pt x="950" y="370"/>
                  </a:lnTo>
                  <a:lnTo>
                    <a:pt x="953" y="380"/>
                  </a:lnTo>
                  <a:lnTo>
                    <a:pt x="954" y="390"/>
                  </a:lnTo>
                  <a:lnTo>
                    <a:pt x="955" y="396"/>
                  </a:lnTo>
                  <a:lnTo>
                    <a:pt x="955" y="401"/>
                  </a:lnTo>
                  <a:lnTo>
                    <a:pt x="955" y="412"/>
                  </a:lnTo>
                  <a:lnTo>
                    <a:pt x="954" y="423"/>
                  </a:lnTo>
                  <a:lnTo>
                    <a:pt x="951" y="433"/>
                  </a:lnTo>
                  <a:lnTo>
                    <a:pt x="948" y="443"/>
                  </a:lnTo>
                  <a:lnTo>
                    <a:pt x="946" y="448"/>
                  </a:lnTo>
                  <a:lnTo>
                    <a:pt x="943" y="452"/>
                  </a:lnTo>
                  <a:lnTo>
                    <a:pt x="940" y="457"/>
                  </a:lnTo>
                  <a:lnTo>
                    <a:pt x="937" y="461"/>
                  </a:lnTo>
                  <a:lnTo>
                    <a:pt x="934" y="465"/>
                  </a:lnTo>
                  <a:lnTo>
                    <a:pt x="931" y="468"/>
                  </a:lnTo>
                  <a:lnTo>
                    <a:pt x="927" y="473"/>
                  </a:lnTo>
                  <a:lnTo>
                    <a:pt x="923" y="476"/>
                  </a:lnTo>
                  <a:lnTo>
                    <a:pt x="917" y="479"/>
                  </a:lnTo>
                  <a:lnTo>
                    <a:pt x="913" y="481"/>
                  </a:lnTo>
                  <a:lnTo>
                    <a:pt x="909" y="482"/>
                  </a:lnTo>
                  <a:lnTo>
                    <a:pt x="904" y="482"/>
                  </a:lnTo>
                  <a:lnTo>
                    <a:pt x="900" y="482"/>
                  </a:lnTo>
                  <a:lnTo>
                    <a:pt x="896" y="482"/>
                  </a:lnTo>
                  <a:lnTo>
                    <a:pt x="888" y="480"/>
                  </a:lnTo>
                  <a:lnTo>
                    <a:pt x="880" y="476"/>
                  </a:lnTo>
                  <a:lnTo>
                    <a:pt x="872" y="470"/>
                  </a:lnTo>
                  <a:lnTo>
                    <a:pt x="857" y="460"/>
                  </a:lnTo>
                  <a:lnTo>
                    <a:pt x="851" y="455"/>
                  </a:lnTo>
                  <a:lnTo>
                    <a:pt x="844" y="451"/>
                  </a:lnTo>
                  <a:lnTo>
                    <a:pt x="838" y="448"/>
                  </a:lnTo>
                  <a:lnTo>
                    <a:pt x="835" y="447"/>
                  </a:lnTo>
                  <a:lnTo>
                    <a:pt x="832" y="447"/>
                  </a:lnTo>
                  <a:lnTo>
                    <a:pt x="830" y="447"/>
                  </a:lnTo>
                  <a:lnTo>
                    <a:pt x="827" y="448"/>
                  </a:lnTo>
                  <a:lnTo>
                    <a:pt x="824" y="449"/>
                  </a:lnTo>
                  <a:lnTo>
                    <a:pt x="822" y="451"/>
                  </a:lnTo>
                  <a:lnTo>
                    <a:pt x="820" y="454"/>
                  </a:lnTo>
                  <a:lnTo>
                    <a:pt x="818" y="457"/>
                  </a:lnTo>
                  <a:lnTo>
                    <a:pt x="816" y="462"/>
                  </a:lnTo>
                  <a:lnTo>
                    <a:pt x="814" y="467"/>
                  </a:lnTo>
                  <a:lnTo>
                    <a:pt x="814" y="665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grpSp>
        <p:nvGrpSpPr>
          <p:cNvPr id="2" name="Gruppierung 1"/>
          <p:cNvGrpSpPr/>
          <p:nvPr/>
        </p:nvGrpSpPr>
        <p:grpSpPr>
          <a:xfrm>
            <a:off x="6960096" y="4300396"/>
            <a:ext cx="2476500" cy="1390650"/>
            <a:chOff x="2930525" y="1609725"/>
            <a:chExt cx="2476500" cy="1390650"/>
          </a:xfrm>
        </p:grpSpPr>
        <p:sp>
          <p:nvSpPr>
            <p:cNvPr id="66" name="Freeform 31"/>
            <p:cNvSpPr>
              <a:spLocks/>
            </p:cNvSpPr>
            <p:nvPr/>
          </p:nvSpPr>
          <p:spPr bwMode="auto">
            <a:xfrm>
              <a:off x="4406900" y="2116138"/>
              <a:ext cx="1000125" cy="884237"/>
            </a:xfrm>
            <a:custGeom>
              <a:avLst/>
              <a:gdLst>
                <a:gd name="T0" fmla="*/ 2147483647 w 817"/>
                <a:gd name="T1" fmla="*/ 2147483647 h 667"/>
                <a:gd name="T2" fmla="*/ 2147483647 w 817"/>
                <a:gd name="T3" fmla="*/ 2147483647 h 667"/>
                <a:gd name="T4" fmla="*/ 2147483647 w 817"/>
                <a:gd name="T5" fmla="*/ 2147483647 h 667"/>
                <a:gd name="T6" fmla="*/ 2147483647 w 817"/>
                <a:gd name="T7" fmla="*/ 2147483647 h 667"/>
                <a:gd name="T8" fmla="*/ 2147483647 w 817"/>
                <a:gd name="T9" fmla="*/ 2147483647 h 667"/>
                <a:gd name="T10" fmla="*/ 2147483647 w 817"/>
                <a:gd name="T11" fmla="*/ 2147483647 h 667"/>
                <a:gd name="T12" fmla="*/ 2147483647 w 817"/>
                <a:gd name="T13" fmla="*/ 2147483647 h 667"/>
                <a:gd name="T14" fmla="*/ 2147483647 w 817"/>
                <a:gd name="T15" fmla="*/ 2147483647 h 667"/>
                <a:gd name="T16" fmla="*/ 2147483647 w 817"/>
                <a:gd name="T17" fmla="*/ 2147483647 h 667"/>
                <a:gd name="T18" fmla="*/ 2147483647 w 817"/>
                <a:gd name="T19" fmla="*/ 2147483647 h 667"/>
                <a:gd name="T20" fmla="*/ 2147483647 w 817"/>
                <a:gd name="T21" fmla="*/ 2147483647 h 667"/>
                <a:gd name="T22" fmla="*/ 2147483647 w 817"/>
                <a:gd name="T23" fmla="*/ 2147483647 h 667"/>
                <a:gd name="T24" fmla="*/ 2147483647 w 817"/>
                <a:gd name="T25" fmla="*/ 2147483647 h 667"/>
                <a:gd name="T26" fmla="*/ 2147483647 w 817"/>
                <a:gd name="T27" fmla="*/ 2147483647 h 667"/>
                <a:gd name="T28" fmla="*/ 2147483647 w 817"/>
                <a:gd name="T29" fmla="*/ 2147483647 h 667"/>
                <a:gd name="T30" fmla="*/ 2147483647 w 817"/>
                <a:gd name="T31" fmla="*/ 2147483647 h 667"/>
                <a:gd name="T32" fmla="*/ 2147483647 w 817"/>
                <a:gd name="T33" fmla="*/ 2147483647 h 667"/>
                <a:gd name="T34" fmla="*/ 2147483647 w 817"/>
                <a:gd name="T35" fmla="*/ 2147483647 h 667"/>
                <a:gd name="T36" fmla="*/ 2147483647 w 817"/>
                <a:gd name="T37" fmla="*/ 2147483647 h 667"/>
                <a:gd name="T38" fmla="*/ 2147483647 w 817"/>
                <a:gd name="T39" fmla="*/ 0 h 667"/>
                <a:gd name="T40" fmla="*/ 2147483647 w 817"/>
                <a:gd name="T41" fmla="*/ 2147483647 h 667"/>
                <a:gd name="T42" fmla="*/ 2147483647 w 817"/>
                <a:gd name="T43" fmla="*/ 2147483647 h 667"/>
                <a:gd name="T44" fmla="*/ 2147483647 w 817"/>
                <a:gd name="T45" fmla="*/ 2147483647 h 667"/>
                <a:gd name="T46" fmla="*/ 2147483647 w 817"/>
                <a:gd name="T47" fmla="*/ 2147483647 h 667"/>
                <a:gd name="T48" fmla="*/ 2147483647 w 817"/>
                <a:gd name="T49" fmla="*/ 2147483647 h 667"/>
                <a:gd name="T50" fmla="*/ 2147483647 w 817"/>
                <a:gd name="T51" fmla="*/ 2147483647 h 667"/>
                <a:gd name="T52" fmla="*/ 2147483647 w 817"/>
                <a:gd name="T53" fmla="*/ 2147483647 h 667"/>
                <a:gd name="T54" fmla="*/ 2147483647 w 817"/>
                <a:gd name="T55" fmla="*/ 2147483647 h 667"/>
                <a:gd name="T56" fmla="*/ 2147483647 w 817"/>
                <a:gd name="T57" fmla="*/ 2147483647 h 667"/>
                <a:gd name="T58" fmla="*/ 2147483647 w 817"/>
                <a:gd name="T59" fmla="*/ 2147483647 h 667"/>
                <a:gd name="T60" fmla="*/ 2147483647 w 817"/>
                <a:gd name="T61" fmla="*/ 2147483647 h 667"/>
                <a:gd name="T62" fmla="*/ 2147483647 w 817"/>
                <a:gd name="T63" fmla="*/ 2147483647 h 667"/>
                <a:gd name="T64" fmla="*/ 2147483647 w 817"/>
                <a:gd name="T65" fmla="*/ 2147483647 h 667"/>
                <a:gd name="T66" fmla="*/ 2147483647 w 817"/>
                <a:gd name="T67" fmla="*/ 2147483647 h 667"/>
                <a:gd name="T68" fmla="*/ 2147483647 w 817"/>
                <a:gd name="T69" fmla="*/ 2147483647 h 667"/>
                <a:gd name="T70" fmla="*/ 2147483647 w 817"/>
                <a:gd name="T71" fmla="*/ 2147483647 h 667"/>
                <a:gd name="T72" fmla="*/ 2147483647 w 817"/>
                <a:gd name="T73" fmla="*/ 2147483647 h 667"/>
                <a:gd name="T74" fmla="*/ 2147483647 w 817"/>
                <a:gd name="T75" fmla="*/ 2147483647 h 667"/>
                <a:gd name="T76" fmla="*/ 2147483647 w 817"/>
                <a:gd name="T77" fmla="*/ 2147483647 h 667"/>
                <a:gd name="T78" fmla="*/ 2147483647 w 817"/>
                <a:gd name="T79" fmla="*/ 2147483647 h 667"/>
                <a:gd name="T80" fmla="*/ 2147483647 w 817"/>
                <a:gd name="T81" fmla="*/ 2147483647 h 667"/>
                <a:gd name="T82" fmla="*/ 2147483647 w 817"/>
                <a:gd name="T83" fmla="*/ 2147483647 h 667"/>
                <a:gd name="T84" fmla="*/ 2147483647 w 817"/>
                <a:gd name="T85" fmla="*/ 2147483647 h 667"/>
                <a:gd name="T86" fmla="*/ 2147483647 w 817"/>
                <a:gd name="T87" fmla="*/ 2147483647 h 667"/>
                <a:gd name="T88" fmla="*/ 2147483647 w 817"/>
                <a:gd name="T89" fmla="*/ 2147483647 h 667"/>
                <a:gd name="T90" fmla="*/ 0 w 817"/>
                <a:gd name="T91" fmla="*/ 2147483647 h 667"/>
                <a:gd name="T92" fmla="*/ 2147483647 w 817"/>
                <a:gd name="T93" fmla="*/ 2147483647 h 667"/>
                <a:gd name="T94" fmla="*/ 2147483647 w 817"/>
                <a:gd name="T95" fmla="*/ 2147483647 h 667"/>
                <a:gd name="T96" fmla="*/ 2147483647 w 817"/>
                <a:gd name="T97" fmla="*/ 2147483647 h 66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7"/>
                <a:gd name="T148" fmla="*/ 0 h 667"/>
                <a:gd name="T149" fmla="*/ 817 w 817"/>
                <a:gd name="T150" fmla="*/ 667 h 66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7" h="667">
                  <a:moveTo>
                    <a:pt x="33" y="332"/>
                  </a:moveTo>
                  <a:lnTo>
                    <a:pt x="38" y="329"/>
                  </a:lnTo>
                  <a:lnTo>
                    <a:pt x="42" y="327"/>
                  </a:lnTo>
                  <a:lnTo>
                    <a:pt x="47" y="326"/>
                  </a:lnTo>
                  <a:lnTo>
                    <a:pt x="51" y="325"/>
                  </a:lnTo>
                  <a:lnTo>
                    <a:pt x="56" y="325"/>
                  </a:lnTo>
                  <a:lnTo>
                    <a:pt x="60" y="325"/>
                  </a:lnTo>
                  <a:lnTo>
                    <a:pt x="64" y="326"/>
                  </a:lnTo>
                  <a:lnTo>
                    <a:pt x="68" y="327"/>
                  </a:lnTo>
                  <a:lnTo>
                    <a:pt x="76" y="331"/>
                  </a:lnTo>
                  <a:lnTo>
                    <a:pt x="83" y="335"/>
                  </a:lnTo>
                  <a:lnTo>
                    <a:pt x="91" y="340"/>
                  </a:lnTo>
                  <a:lnTo>
                    <a:pt x="97" y="345"/>
                  </a:lnTo>
                  <a:lnTo>
                    <a:pt x="104" y="349"/>
                  </a:lnTo>
                  <a:lnTo>
                    <a:pt x="110" y="353"/>
                  </a:lnTo>
                  <a:lnTo>
                    <a:pt x="116" y="356"/>
                  </a:lnTo>
                  <a:lnTo>
                    <a:pt x="119" y="357"/>
                  </a:lnTo>
                  <a:lnTo>
                    <a:pt x="122" y="357"/>
                  </a:lnTo>
                  <a:lnTo>
                    <a:pt x="128" y="356"/>
                  </a:lnTo>
                  <a:lnTo>
                    <a:pt x="130" y="355"/>
                  </a:lnTo>
                  <a:lnTo>
                    <a:pt x="132" y="353"/>
                  </a:lnTo>
                  <a:lnTo>
                    <a:pt x="135" y="350"/>
                  </a:lnTo>
                  <a:lnTo>
                    <a:pt x="137" y="347"/>
                  </a:lnTo>
                  <a:lnTo>
                    <a:pt x="139" y="343"/>
                  </a:lnTo>
                  <a:lnTo>
                    <a:pt x="141" y="338"/>
                  </a:lnTo>
                  <a:lnTo>
                    <a:pt x="141" y="142"/>
                  </a:lnTo>
                  <a:lnTo>
                    <a:pt x="411" y="142"/>
                  </a:lnTo>
                  <a:lnTo>
                    <a:pt x="418" y="139"/>
                  </a:lnTo>
                  <a:lnTo>
                    <a:pt x="423" y="137"/>
                  </a:lnTo>
                  <a:lnTo>
                    <a:pt x="427" y="134"/>
                  </a:lnTo>
                  <a:lnTo>
                    <a:pt x="430" y="130"/>
                  </a:lnTo>
                  <a:lnTo>
                    <a:pt x="431" y="127"/>
                  </a:lnTo>
                  <a:lnTo>
                    <a:pt x="432" y="123"/>
                  </a:lnTo>
                  <a:lnTo>
                    <a:pt x="432" y="120"/>
                  </a:lnTo>
                  <a:lnTo>
                    <a:pt x="431" y="116"/>
                  </a:lnTo>
                  <a:lnTo>
                    <a:pt x="427" y="108"/>
                  </a:lnTo>
                  <a:lnTo>
                    <a:pt x="421" y="100"/>
                  </a:lnTo>
                  <a:lnTo>
                    <a:pt x="416" y="92"/>
                  </a:lnTo>
                  <a:lnTo>
                    <a:pt x="410" y="84"/>
                  </a:lnTo>
                  <a:lnTo>
                    <a:pt x="406" y="77"/>
                  </a:lnTo>
                  <a:lnTo>
                    <a:pt x="403" y="71"/>
                  </a:lnTo>
                  <a:lnTo>
                    <a:pt x="402" y="67"/>
                  </a:lnTo>
                  <a:lnTo>
                    <a:pt x="402" y="64"/>
                  </a:lnTo>
                  <a:lnTo>
                    <a:pt x="401" y="58"/>
                  </a:lnTo>
                  <a:lnTo>
                    <a:pt x="401" y="52"/>
                  </a:lnTo>
                  <a:lnTo>
                    <a:pt x="402" y="46"/>
                  </a:lnTo>
                  <a:lnTo>
                    <a:pt x="403" y="39"/>
                  </a:lnTo>
                  <a:lnTo>
                    <a:pt x="406" y="34"/>
                  </a:lnTo>
                  <a:lnTo>
                    <a:pt x="409" y="29"/>
                  </a:lnTo>
                  <a:lnTo>
                    <a:pt x="413" y="25"/>
                  </a:lnTo>
                  <a:lnTo>
                    <a:pt x="417" y="21"/>
                  </a:lnTo>
                  <a:lnTo>
                    <a:pt x="422" y="17"/>
                  </a:lnTo>
                  <a:lnTo>
                    <a:pt x="427" y="13"/>
                  </a:lnTo>
                  <a:lnTo>
                    <a:pt x="433" y="10"/>
                  </a:lnTo>
                  <a:lnTo>
                    <a:pt x="439" y="7"/>
                  </a:lnTo>
                  <a:lnTo>
                    <a:pt x="446" y="5"/>
                  </a:lnTo>
                  <a:lnTo>
                    <a:pt x="452" y="3"/>
                  </a:lnTo>
                  <a:lnTo>
                    <a:pt x="459" y="1"/>
                  </a:lnTo>
                  <a:lnTo>
                    <a:pt x="466" y="0"/>
                  </a:lnTo>
                  <a:lnTo>
                    <a:pt x="474" y="0"/>
                  </a:lnTo>
                  <a:lnTo>
                    <a:pt x="481" y="0"/>
                  </a:lnTo>
                  <a:lnTo>
                    <a:pt x="488" y="0"/>
                  </a:lnTo>
                  <a:lnTo>
                    <a:pt x="496" y="1"/>
                  </a:lnTo>
                  <a:lnTo>
                    <a:pt x="504" y="2"/>
                  </a:lnTo>
                  <a:lnTo>
                    <a:pt x="511" y="4"/>
                  </a:lnTo>
                  <a:lnTo>
                    <a:pt x="518" y="6"/>
                  </a:lnTo>
                  <a:lnTo>
                    <a:pt x="521" y="8"/>
                  </a:lnTo>
                  <a:lnTo>
                    <a:pt x="524" y="9"/>
                  </a:lnTo>
                  <a:lnTo>
                    <a:pt x="530" y="13"/>
                  </a:lnTo>
                  <a:lnTo>
                    <a:pt x="536" y="17"/>
                  </a:lnTo>
                  <a:lnTo>
                    <a:pt x="542" y="21"/>
                  </a:lnTo>
                  <a:lnTo>
                    <a:pt x="544" y="24"/>
                  </a:lnTo>
                  <a:lnTo>
                    <a:pt x="547" y="26"/>
                  </a:lnTo>
                  <a:lnTo>
                    <a:pt x="551" y="32"/>
                  </a:lnTo>
                  <a:lnTo>
                    <a:pt x="554" y="37"/>
                  </a:lnTo>
                  <a:lnTo>
                    <a:pt x="556" y="42"/>
                  </a:lnTo>
                  <a:lnTo>
                    <a:pt x="557" y="48"/>
                  </a:lnTo>
                  <a:lnTo>
                    <a:pt x="557" y="55"/>
                  </a:lnTo>
                  <a:lnTo>
                    <a:pt x="556" y="61"/>
                  </a:lnTo>
                  <a:lnTo>
                    <a:pt x="556" y="64"/>
                  </a:lnTo>
                  <a:lnTo>
                    <a:pt x="554" y="68"/>
                  </a:lnTo>
                  <a:lnTo>
                    <a:pt x="551" y="75"/>
                  </a:lnTo>
                  <a:lnTo>
                    <a:pt x="549" y="79"/>
                  </a:lnTo>
                  <a:lnTo>
                    <a:pt x="546" y="83"/>
                  </a:lnTo>
                  <a:lnTo>
                    <a:pt x="537" y="96"/>
                  </a:lnTo>
                  <a:lnTo>
                    <a:pt x="530" y="106"/>
                  </a:lnTo>
                  <a:lnTo>
                    <a:pt x="527" y="111"/>
                  </a:lnTo>
                  <a:lnTo>
                    <a:pt x="525" y="115"/>
                  </a:lnTo>
                  <a:lnTo>
                    <a:pt x="524" y="119"/>
                  </a:lnTo>
                  <a:lnTo>
                    <a:pt x="523" y="123"/>
                  </a:lnTo>
                  <a:lnTo>
                    <a:pt x="523" y="127"/>
                  </a:lnTo>
                  <a:lnTo>
                    <a:pt x="524" y="129"/>
                  </a:lnTo>
                  <a:lnTo>
                    <a:pt x="525" y="130"/>
                  </a:lnTo>
                  <a:lnTo>
                    <a:pt x="526" y="132"/>
                  </a:lnTo>
                  <a:lnTo>
                    <a:pt x="527" y="134"/>
                  </a:lnTo>
                  <a:lnTo>
                    <a:pt x="532" y="137"/>
                  </a:lnTo>
                  <a:lnTo>
                    <a:pt x="534" y="138"/>
                  </a:lnTo>
                  <a:lnTo>
                    <a:pt x="537" y="140"/>
                  </a:lnTo>
                  <a:lnTo>
                    <a:pt x="545" y="142"/>
                  </a:lnTo>
                  <a:lnTo>
                    <a:pt x="817" y="142"/>
                  </a:lnTo>
                  <a:lnTo>
                    <a:pt x="817" y="667"/>
                  </a:lnTo>
                  <a:lnTo>
                    <a:pt x="141" y="667"/>
                  </a:lnTo>
                  <a:lnTo>
                    <a:pt x="141" y="470"/>
                  </a:lnTo>
                  <a:lnTo>
                    <a:pt x="137" y="460"/>
                  </a:lnTo>
                  <a:lnTo>
                    <a:pt x="135" y="456"/>
                  </a:lnTo>
                  <a:lnTo>
                    <a:pt x="132" y="454"/>
                  </a:lnTo>
                  <a:lnTo>
                    <a:pt x="130" y="451"/>
                  </a:lnTo>
                  <a:lnTo>
                    <a:pt x="128" y="450"/>
                  </a:lnTo>
                  <a:lnTo>
                    <a:pt x="125" y="449"/>
                  </a:lnTo>
                  <a:lnTo>
                    <a:pt x="122" y="449"/>
                  </a:lnTo>
                  <a:lnTo>
                    <a:pt x="119" y="450"/>
                  </a:lnTo>
                  <a:lnTo>
                    <a:pt x="116" y="451"/>
                  </a:lnTo>
                  <a:lnTo>
                    <a:pt x="110" y="454"/>
                  </a:lnTo>
                  <a:lnTo>
                    <a:pt x="103" y="458"/>
                  </a:lnTo>
                  <a:lnTo>
                    <a:pt x="96" y="463"/>
                  </a:lnTo>
                  <a:lnTo>
                    <a:pt x="82" y="473"/>
                  </a:lnTo>
                  <a:lnTo>
                    <a:pt x="74" y="478"/>
                  </a:lnTo>
                  <a:lnTo>
                    <a:pt x="70" y="480"/>
                  </a:lnTo>
                  <a:lnTo>
                    <a:pt x="66" y="481"/>
                  </a:lnTo>
                  <a:lnTo>
                    <a:pt x="58" y="484"/>
                  </a:lnTo>
                  <a:lnTo>
                    <a:pt x="54" y="484"/>
                  </a:lnTo>
                  <a:lnTo>
                    <a:pt x="49" y="484"/>
                  </a:lnTo>
                  <a:lnTo>
                    <a:pt x="45" y="483"/>
                  </a:lnTo>
                  <a:lnTo>
                    <a:pt x="41" y="482"/>
                  </a:lnTo>
                  <a:lnTo>
                    <a:pt x="36" y="480"/>
                  </a:lnTo>
                  <a:lnTo>
                    <a:pt x="32" y="478"/>
                  </a:lnTo>
                  <a:lnTo>
                    <a:pt x="24" y="471"/>
                  </a:lnTo>
                  <a:lnTo>
                    <a:pt x="21" y="467"/>
                  </a:lnTo>
                  <a:lnTo>
                    <a:pt x="17" y="463"/>
                  </a:lnTo>
                  <a:lnTo>
                    <a:pt x="12" y="455"/>
                  </a:lnTo>
                  <a:lnTo>
                    <a:pt x="9" y="450"/>
                  </a:lnTo>
                  <a:lnTo>
                    <a:pt x="7" y="446"/>
                  </a:lnTo>
                  <a:lnTo>
                    <a:pt x="4" y="435"/>
                  </a:lnTo>
                  <a:lnTo>
                    <a:pt x="2" y="429"/>
                  </a:lnTo>
                  <a:lnTo>
                    <a:pt x="1" y="424"/>
                  </a:lnTo>
                  <a:lnTo>
                    <a:pt x="0" y="414"/>
                  </a:lnTo>
                  <a:lnTo>
                    <a:pt x="0" y="403"/>
                  </a:lnTo>
                  <a:lnTo>
                    <a:pt x="0" y="392"/>
                  </a:lnTo>
                  <a:lnTo>
                    <a:pt x="2" y="382"/>
                  </a:lnTo>
                  <a:lnTo>
                    <a:pt x="5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3" y="352"/>
                  </a:lnTo>
                  <a:lnTo>
                    <a:pt x="16" y="348"/>
                  </a:lnTo>
                  <a:lnTo>
                    <a:pt x="19" y="344"/>
                  </a:lnTo>
                  <a:lnTo>
                    <a:pt x="26" y="337"/>
                  </a:lnTo>
                  <a:lnTo>
                    <a:pt x="29" y="334"/>
                  </a:lnTo>
                  <a:lnTo>
                    <a:pt x="33" y="332"/>
                  </a:lnTo>
                  <a:close/>
                </a:path>
              </a:pathLst>
            </a:custGeom>
            <a:solidFill>
              <a:srgbClr val="FFBC0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7" name="Freeform 32"/>
            <p:cNvSpPr>
              <a:spLocks/>
            </p:cNvSpPr>
            <p:nvPr/>
          </p:nvSpPr>
          <p:spPr bwMode="auto">
            <a:xfrm>
              <a:off x="3757613" y="2116138"/>
              <a:ext cx="822325" cy="884237"/>
            </a:xfrm>
            <a:custGeom>
              <a:avLst/>
              <a:gdLst>
                <a:gd name="T0" fmla="*/ 2147483647 w 673"/>
                <a:gd name="T1" fmla="*/ 2147483647 h 667"/>
                <a:gd name="T2" fmla="*/ 2147483647 w 673"/>
                <a:gd name="T3" fmla="*/ 2147483647 h 667"/>
                <a:gd name="T4" fmla="*/ 2147483647 w 673"/>
                <a:gd name="T5" fmla="*/ 2147483647 h 667"/>
                <a:gd name="T6" fmla="*/ 2147483647 w 673"/>
                <a:gd name="T7" fmla="*/ 2147483647 h 667"/>
                <a:gd name="T8" fmla="*/ 2147483647 w 673"/>
                <a:gd name="T9" fmla="*/ 2147483647 h 667"/>
                <a:gd name="T10" fmla="*/ 2147483647 w 673"/>
                <a:gd name="T11" fmla="*/ 2147483647 h 667"/>
                <a:gd name="T12" fmla="*/ 2147483647 w 673"/>
                <a:gd name="T13" fmla="*/ 2147483647 h 667"/>
                <a:gd name="T14" fmla="*/ 2147483647 w 673"/>
                <a:gd name="T15" fmla="*/ 2147483647 h 667"/>
                <a:gd name="T16" fmla="*/ 2147483647 w 673"/>
                <a:gd name="T17" fmla="*/ 2147483647 h 667"/>
                <a:gd name="T18" fmla="*/ 2147483647 w 673"/>
                <a:gd name="T19" fmla="*/ 2147483647 h 667"/>
                <a:gd name="T20" fmla="*/ 2147483647 w 673"/>
                <a:gd name="T21" fmla="*/ 2147483647 h 667"/>
                <a:gd name="T22" fmla="*/ 2147483647 w 673"/>
                <a:gd name="T23" fmla="*/ 2147483647 h 667"/>
                <a:gd name="T24" fmla="*/ 2147483647 w 673"/>
                <a:gd name="T25" fmla="*/ 2147483647 h 667"/>
                <a:gd name="T26" fmla="*/ 2147483647 w 673"/>
                <a:gd name="T27" fmla="*/ 2147483647 h 667"/>
                <a:gd name="T28" fmla="*/ 2147483647 w 673"/>
                <a:gd name="T29" fmla="*/ 2147483647 h 667"/>
                <a:gd name="T30" fmla="*/ 2147483647 w 673"/>
                <a:gd name="T31" fmla="*/ 2147483647 h 667"/>
                <a:gd name="T32" fmla="*/ 2147483647 w 673"/>
                <a:gd name="T33" fmla="*/ 2147483647 h 667"/>
                <a:gd name="T34" fmla="*/ 2147483647 w 673"/>
                <a:gd name="T35" fmla="*/ 2147483647 h 667"/>
                <a:gd name="T36" fmla="*/ 2147483647 w 673"/>
                <a:gd name="T37" fmla="*/ 2147483647 h 667"/>
                <a:gd name="T38" fmla="*/ 2147483647 w 673"/>
                <a:gd name="T39" fmla="*/ 2147483647 h 667"/>
                <a:gd name="T40" fmla="*/ 2147483647 w 673"/>
                <a:gd name="T41" fmla="*/ 2147483647 h 667"/>
                <a:gd name="T42" fmla="*/ 2147483647 w 673"/>
                <a:gd name="T43" fmla="*/ 2147483647 h 667"/>
                <a:gd name="T44" fmla="*/ 2147483647 w 673"/>
                <a:gd name="T45" fmla="*/ 2147483647 h 667"/>
                <a:gd name="T46" fmla="*/ 2147483647 w 673"/>
                <a:gd name="T47" fmla="*/ 2147483647 h 667"/>
                <a:gd name="T48" fmla="*/ 2147483647 w 673"/>
                <a:gd name="T49" fmla="*/ 2147483647 h 667"/>
                <a:gd name="T50" fmla="*/ 2147483647 w 673"/>
                <a:gd name="T51" fmla="*/ 2147483647 h 667"/>
                <a:gd name="T52" fmla="*/ 2147483647 w 673"/>
                <a:gd name="T53" fmla="*/ 0 h 667"/>
                <a:gd name="T54" fmla="*/ 2147483647 w 673"/>
                <a:gd name="T55" fmla="*/ 2147483647 h 667"/>
                <a:gd name="T56" fmla="*/ 2147483647 w 673"/>
                <a:gd name="T57" fmla="*/ 2147483647 h 667"/>
                <a:gd name="T58" fmla="*/ 2147483647 w 673"/>
                <a:gd name="T59" fmla="*/ 2147483647 h 667"/>
                <a:gd name="T60" fmla="*/ 2147483647 w 673"/>
                <a:gd name="T61" fmla="*/ 2147483647 h 667"/>
                <a:gd name="T62" fmla="*/ 2147483647 w 673"/>
                <a:gd name="T63" fmla="*/ 2147483647 h 667"/>
                <a:gd name="T64" fmla="*/ 2147483647 w 673"/>
                <a:gd name="T65" fmla="*/ 2147483647 h 667"/>
                <a:gd name="T66" fmla="*/ 2147483647 w 673"/>
                <a:gd name="T67" fmla="*/ 2147483647 h 667"/>
                <a:gd name="T68" fmla="*/ 2147483647 w 673"/>
                <a:gd name="T69" fmla="*/ 2147483647 h 667"/>
                <a:gd name="T70" fmla="*/ 2147483647 w 673"/>
                <a:gd name="T71" fmla="*/ 2147483647 h 667"/>
                <a:gd name="T72" fmla="*/ 2147483647 w 673"/>
                <a:gd name="T73" fmla="*/ 2147483647 h 667"/>
                <a:gd name="T74" fmla="*/ 2147483647 w 673"/>
                <a:gd name="T75" fmla="*/ 2147483647 h 667"/>
                <a:gd name="T76" fmla="*/ 2147483647 w 673"/>
                <a:gd name="T77" fmla="*/ 2147483647 h 667"/>
                <a:gd name="T78" fmla="*/ 2147483647 w 673"/>
                <a:gd name="T79" fmla="*/ 2147483647 h 667"/>
                <a:gd name="T80" fmla="*/ 2147483647 w 673"/>
                <a:gd name="T81" fmla="*/ 2147483647 h 667"/>
                <a:gd name="T82" fmla="*/ 2147483647 w 673"/>
                <a:gd name="T83" fmla="*/ 2147483647 h 667"/>
                <a:gd name="T84" fmla="*/ 2147483647 w 673"/>
                <a:gd name="T85" fmla="*/ 2147483647 h 667"/>
                <a:gd name="T86" fmla="*/ 2147483647 w 673"/>
                <a:gd name="T87" fmla="*/ 2147483647 h 667"/>
                <a:gd name="T88" fmla="*/ 2147483647 w 673"/>
                <a:gd name="T89" fmla="*/ 2147483647 h 667"/>
                <a:gd name="T90" fmla="*/ 2147483647 w 673"/>
                <a:gd name="T91" fmla="*/ 2147483647 h 667"/>
                <a:gd name="T92" fmla="*/ 2147483647 w 673"/>
                <a:gd name="T93" fmla="*/ 2147483647 h 667"/>
                <a:gd name="T94" fmla="*/ 2147483647 w 673"/>
                <a:gd name="T95" fmla="*/ 2147483647 h 667"/>
                <a:gd name="T96" fmla="*/ 2147483647 w 673"/>
                <a:gd name="T97" fmla="*/ 2147483647 h 667"/>
                <a:gd name="T98" fmla="*/ 2147483647 w 673"/>
                <a:gd name="T99" fmla="*/ 2147483647 h 667"/>
                <a:gd name="T100" fmla="*/ 2147483647 w 673"/>
                <a:gd name="T101" fmla="*/ 2147483647 h 667"/>
                <a:gd name="T102" fmla="*/ 2147483647 w 673"/>
                <a:gd name="T103" fmla="*/ 2147483647 h 667"/>
                <a:gd name="T104" fmla="*/ 2147483647 w 673"/>
                <a:gd name="T105" fmla="*/ 2147483647 h 667"/>
                <a:gd name="T106" fmla="*/ 2147483647 w 673"/>
                <a:gd name="T107" fmla="*/ 2147483647 h 667"/>
                <a:gd name="T108" fmla="*/ 2147483647 w 673"/>
                <a:gd name="T109" fmla="*/ 2147483647 h 66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73"/>
                <a:gd name="T166" fmla="*/ 0 h 667"/>
                <a:gd name="T167" fmla="*/ 673 w 673"/>
                <a:gd name="T168" fmla="*/ 667 h 66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73" h="667">
                  <a:moveTo>
                    <a:pt x="0" y="470"/>
                  </a:moveTo>
                  <a:lnTo>
                    <a:pt x="4" y="460"/>
                  </a:lnTo>
                  <a:lnTo>
                    <a:pt x="6" y="457"/>
                  </a:lnTo>
                  <a:lnTo>
                    <a:pt x="9" y="454"/>
                  </a:lnTo>
                  <a:lnTo>
                    <a:pt x="11" y="452"/>
                  </a:lnTo>
                  <a:lnTo>
                    <a:pt x="13" y="450"/>
                  </a:lnTo>
                  <a:lnTo>
                    <a:pt x="16" y="450"/>
                  </a:lnTo>
                  <a:lnTo>
                    <a:pt x="18" y="449"/>
                  </a:lnTo>
                  <a:lnTo>
                    <a:pt x="23" y="450"/>
                  </a:lnTo>
                  <a:lnTo>
                    <a:pt x="26" y="451"/>
                  </a:lnTo>
                  <a:lnTo>
                    <a:pt x="30" y="453"/>
                  </a:lnTo>
                  <a:lnTo>
                    <a:pt x="34" y="455"/>
                  </a:lnTo>
                  <a:lnTo>
                    <a:pt x="42" y="461"/>
                  </a:lnTo>
                  <a:lnTo>
                    <a:pt x="51" y="467"/>
                  </a:lnTo>
                  <a:lnTo>
                    <a:pt x="60" y="473"/>
                  </a:lnTo>
                  <a:lnTo>
                    <a:pt x="65" y="476"/>
                  </a:lnTo>
                  <a:lnTo>
                    <a:pt x="70" y="479"/>
                  </a:lnTo>
                  <a:lnTo>
                    <a:pt x="75" y="481"/>
                  </a:lnTo>
                  <a:lnTo>
                    <a:pt x="80" y="483"/>
                  </a:lnTo>
                  <a:lnTo>
                    <a:pt x="85" y="484"/>
                  </a:lnTo>
                  <a:lnTo>
                    <a:pt x="90" y="484"/>
                  </a:lnTo>
                  <a:lnTo>
                    <a:pt x="95" y="484"/>
                  </a:lnTo>
                  <a:lnTo>
                    <a:pt x="99" y="483"/>
                  </a:lnTo>
                  <a:lnTo>
                    <a:pt x="104" y="481"/>
                  </a:lnTo>
                  <a:lnTo>
                    <a:pt x="109" y="478"/>
                  </a:lnTo>
                  <a:lnTo>
                    <a:pt x="117" y="471"/>
                  </a:lnTo>
                  <a:lnTo>
                    <a:pt x="121" y="467"/>
                  </a:lnTo>
                  <a:lnTo>
                    <a:pt x="124" y="463"/>
                  </a:lnTo>
                  <a:lnTo>
                    <a:pt x="130" y="455"/>
                  </a:lnTo>
                  <a:lnTo>
                    <a:pt x="132" y="450"/>
                  </a:lnTo>
                  <a:lnTo>
                    <a:pt x="134" y="446"/>
                  </a:lnTo>
                  <a:lnTo>
                    <a:pt x="138" y="435"/>
                  </a:lnTo>
                  <a:lnTo>
                    <a:pt x="139" y="429"/>
                  </a:lnTo>
                  <a:lnTo>
                    <a:pt x="140" y="424"/>
                  </a:lnTo>
                  <a:lnTo>
                    <a:pt x="141" y="414"/>
                  </a:lnTo>
                  <a:lnTo>
                    <a:pt x="142" y="403"/>
                  </a:lnTo>
                  <a:lnTo>
                    <a:pt x="141" y="392"/>
                  </a:lnTo>
                  <a:lnTo>
                    <a:pt x="139" y="382"/>
                  </a:lnTo>
                  <a:lnTo>
                    <a:pt x="136" y="371"/>
                  </a:lnTo>
                  <a:lnTo>
                    <a:pt x="135" y="366"/>
                  </a:lnTo>
                  <a:lnTo>
                    <a:pt x="133" y="361"/>
                  </a:lnTo>
                  <a:lnTo>
                    <a:pt x="128" y="352"/>
                  </a:lnTo>
                  <a:lnTo>
                    <a:pt x="125" y="348"/>
                  </a:lnTo>
                  <a:lnTo>
                    <a:pt x="122" y="344"/>
                  </a:lnTo>
                  <a:lnTo>
                    <a:pt x="116" y="337"/>
                  </a:lnTo>
                  <a:lnTo>
                    <a:pt x="112" y="334"/>
                  </a:lnTo>
                  <a:lnTo>
                    <a:pt x="108" y="332"/>
                  </a:lnTo>
                  <a:lnTo>
                    <a:pt x="103" y="329"/>
                  </a:lnTo>
                  <a:lnTo>
                    <a:pt x="97" y="327"/>
                  </a:lnTo>
                  <a:lnTo>
                    <a:pt x="92" y="325"/>
                  </a:lnTo>
                  <a:lnTo>
                    <a:pt x="87" y="325"/>
                  </a:lnTo>
                  <a:lnTo>
                    <a:pt x="82" y="325"/>
                  </a:lnTo>
                  <a:lnTo>
                    <a:pt x="77" y="326"/>
                  </a:lnTo>
                  <a:lnTo>
                    <a:pt x="72" y="328"/>
                  </a:lnTo>
                  <a:lnTo>
                    <a:pt x="67" y="330"/>
                  </a:lnTo>
                  <a:lnTo>
                    <a:pt x="58" y="335"/>
                  </a:lnTo>
                  <a:lnTo>
                    <a:pt x="49" y="341"/>
                  </a:lnTo>
                  <a:lnTo>
                    <a:pt x="41" y="347"/>
                  </a:lnTo>
                  <a:lnTo>
                    <a:pt x="33" y="352"/>
                  </a:lnTo>
                  <a:lnTo>
                    <a:pt x="26" y="356"/>
                  </a:lnTo>
                  <a:lnTo>
                    <a:pt x="23" y="357"/>
                  </a:lnTo>
                  <a:lnTo>
                    <a:pt x="18" y="357"/>
                  </a:lnTo>
                  <a:lnTo>
                    <a:pt x="16" y="357"/>
                  </a:lnTo>
                  <a:lnTo>
                    <a:pt x="13" y="356"/>
                  </a:lnTo>
                  <a:lnTo>
                    <a:pt x="11" y="354"/>
                  </a:lnTo>
                  <a:lnTo>
                    <a:pt x="9" y="352"/>
                  </a:lnTo>
                  <a:lnTo>
                    <a:pt x="6" y="349"/>
                  </a:lnTo>
                  <a:lnTo>
                    <a:pt x="4" y="346"/>
                  </a:lnTo>
                  <a:lnTo>
                    <a:pt x="2" y="341"/>
                  </a:lnTo>
                  <a:lnTo>
                    <a:pt x="0" y="336"/>
                  </a:lnTo>
                  <a:lnTo>
                    <a:pt x="0" y="142"/>
                  </a:lnTo>
                  <a:lnTo>
                    <a:pt x="269" y="142"/>
                  </a:lnTo>
                  <a:lnTo>
                    <a:pt x="275" y="140"/>
                  </a:lnTo>
                  <a:lnTo>
                    <a:pt x="280" y="138"/>
                  </a:lnTo>
                  <a:lnTo>
                    <a:pt x="283" y="136"/>
                  </a:lnTo>
                  <a:lnTo>
                    <a:pt x="286" y="134"/>
                  </a:lnTo>
                  <a:lnTo>
                    <a:pt x="288" y="131"/>
                  </a:lnTo>
                  <a:lnTo>
                    <a:pt x="289" y="129"/>
                  </a:lnTo>
                  <a:lnTo>
                    <a:pt x="290" y="126"/>
                  </a:lnTo>
                  <a:lnTo>
                    <a:pt x="290" y="124"/>
                  </a:lnTo>
                  <a:lnTo>
                    <a:pt x="290" y="121"/>
                  </a:lnTo>
                  <a:lnTo>
                    <a:pt x="289" y="118"/>
                  </a:lnTo>
                  <a:lnTo>
                    <a:pt x="286" y="113"/>
                  </a:lnTo>
                  <a:lnTo>
                    <a:pt x="282" y="105"/>
                  </a:lnTo>
                  <a:lnTo>
                    <a:pt x="278" y="99"/>
                  </a:lnTo>
                  <a:lnTo>
                    <a:pt x="267" y="85"/>
                  </a:lnTo>
                  <a:lnTo>
                    <a:pt x="263" y="77"/>
                  </a:lnTo>
                  <a:lnTo>
                    <a:pt x="261" y="73"/>
                  </a:lnTo>
                  <a:lnTo>
                    <a:pt x="259" y="69"/>
                  </a:lnTo>
                  <a:lnTo>
                    <a:pt x="258" y="65"/>
                  </a:lnTo>
                  <a:lnTo>
                    <a:pt x="257" y="61"/>
                  </a:lnTo>
                  <a:lnTo>
                    <a:pt x="257" y="57"/>
                  </a:lnTo>
                  <a:lnTo>
                    <a:pt x="257" y="52"/>
                  </a:lnTo>
                  <a:lnTo>
                    <a:pt x="258" y="48"/>
                  </a:lnTo>
                  <a:lnTo>
                    <a:pt x="259" y="43"/>
                  </a:lnTo>
                  <a:lnTo>
                    <a:pt x="261" y="38"/>
                  </a:lnTo>
                  <a:lnTo>
                    <a:pt x="264" y="33"/>
                  </a:lnTo>
                  <a:lnTo>
                    <a:pt x="266" y="29"/>
                  </a:lnTo>
                  <a:lnTo>
                    <a:pt x="269" y="26"/>
                  </a:lnTo>
                  <a:lnTo>
                    <a:pt x="274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4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6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1" y="9"/>
                  </a:lnTo>
                  <a:lnTo>
                    <a:pt x="386" y="12"/>
                  </a:lnTo>
                  <a:lnTo>
                    <a:pt x="390" y="14"/>
                  </a:lnTo>
                  <a:lnTo>
                    <a:pt x="394" y="17"/>
                  </a:lnTo>
                  <a:lnTo>
                    <a:pt x="398" y="21"/>
                  </a:lnTo>
                  <a:lnTo>
                    <a:pt x="403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2" y="37"/>
                  </a:lnTo>
                  <a:lnTo>
                    <a:pt x="414" y="41"/>
                  </a:lnTo>
                  <a:lnTo>
                    <a:pt x="415" y="46"/>
                  </a:lnTo>
                  <a:lnTo>
                    <a:pt x="416" y="51"/>
                  </a:lnTo>
                  <a:lnTo>
                    <a:pt x="416" y="55"/>
                  </a:lnTo>
                  <a:lnTo>
                    <a:pt x="416" y="59"/>
                  </a:lnTo>
                  <a:lnTo>
                    <a:pt x="413" y="67"/>
                  </a:lnTo>
                  <a:lnTo>
                    <a:pt x="410" y="75"/>
                  </a:lnTo>
                  <a:lnTo>
                    <a:pt x="405" y="83"/>
                  </a:lnTo>
                  <a:lnTo>
                    <a:pt x="393" y="98"/>
                  </a:lnTo>
                  <a:lnTo>
                    <a:pt x="389" y="104"/>
                  </a:lnTo>
                  <a:lnTo>
                    <a:pt x="384" y="112"/>
                  </a:lnTo>
                  <a:lnTo>
                    <a:pt x="382" y="118"/>
                  </a:lnTo>
                  <a:lnTo>
                    <a:pt x="381" y="121"/>
                  </a:lnTo>
                  <a:lnTo>
                    <a:pt x="380" y="124"/>
                  </a:lnTo>
                  <a:lnTo>
                    <a:pt x="380" y="126"/>
                  </a:lnTo>
                  <a:lnTo>
                    <a:pt x="381" y="129"/>
                  </a:lnTo>
                  <a:lnTo>
                    <a:pt x="383" y="132"/>
                  </a:lnTo>
                  <a:lnTo>
                    <a:pt x="385" y="134"/>
                  </a:lnTo>
                  <a:lnTo>
                    <a:pt x="388" y="136"/>
                  </a:lnTo>
                  <a:lnTo>
                    <a:pt x="391" y="138"/>
                  </a:lnTo>
                  <a:lnTo>
                    <a:pt x="396" y="140"/>
                  </a:lnTo>
                  <a:lnTo>
                    <a:pt x="402" y="142"/>
                  </a:lnTo>
                  <a:lnTo>
                    <a:pt x="673" y="142"/>
                  </a:lnTo>
                  <a:lnTo>
                    <a:pt x="673" y="336"/>
                  </a:lnTo>
                  <a:lnTo>
                    <a:pt x="671" y="342"/>
                  </a:lnTo>
                  <a:lnTo>
                    <a:pt x="669" y="346"/>
                  </a:lnTo>
                  <a:lnTo>
                    <a:pt x="667" y="350"/>
                  </a:lnTo>
                  <a:lnTo>
                    <a:pt x="664" y="352"/>
                  </a:lnTo>
                  <a:lnTo>
                    <a:pt x="662" y="355"/>
                  </a:lnTo>
                  <a:lnTo>
                    <a:pt x="660" y="356"/>
                  </a:lnTo>
                  <a:lnTo>
                    <a:pt x="657" y="357"/>
                  </a:lnTo>
                  <a:lnTo>
                    <a:pt x="654" y="357"/>
                  </a:lnTo>
                  <a:lnTo>
                    <a:pt x="651" y="357"/>
                  </a:lnTo>
                  <a:lnTo>
                    <a:pt x="648" y="356"/>
                  </a:lnTo>
                  <a:lnTo>
                    <a:pt x="642" y="353"/>
                  </a:lnTo>
                  <a:lnTo>
                    <a:pt x="636" y="350"/>
                  </a:lnTo>
                  <a:lnTo>
                    <a:pt x="629" y="345"/>
                  </a:lnTo>
                  <a:lnTo>
                    <a:pt x="623" y="340"/>
                  </a:lnTo>
                  <a:lnTo>
                    <a:pt x="615" y="335"/>
                  </a:lnTo>
                  <a:lnTo>
                    <a:pt x="608" y="331"/>
                  </a:lnTo>
                  <a:lnTo>
                    <a:pt x="600" y="328"/>
                  </a:lnTo>
                  <a:lnTo>
                    <a:pt x="596" y="326"/>
                  </a:lnTo>
                  <a:lnTo>
                    <a:pt x="591" y="325"/>
                  </a:lnTo>
                  <a:lnTo>
                    <a:pt x="587" y="325"/>
                  </a:lnTo>
                  <a:lnTo>
                    <a:pt x="583" y="325"/>
                  </a:lnTo>
                  <a:lnTo>
                    <a:pt x="578" y="326"/>
                  </a:lnTo>
                  <a:lnTo>
                    <a:pt x="574" y="327"/>
                  </a:lnTo>
                  <a:lnTo>
                    <a:pt x="569" y="329"/>
                  </a:lnTo>
                  <a:lnTo>
                    <a:pt x="565" y="332"/>
                  </a:lnTo>
                  <a:lnTo>
                    <a:pt x="561" y="334"/>
                  </a:lnTo>
                  <a:lnTo>
                    <a:pt x="557" y="337"/>
                  </a:lnTo>
                  <a:lnTo>
                    <a:pt x="554" y="341"/>
                  </a:lnTo>
                  <a:lnTo>
                    <a:pt x="551" y="344"/>
                  </a:lnTo>
                  <a:lnTo>
                    <a:pt x="545" y="352"/>
                  </a:lnTo>
                  <a:lnTo>
                    <a:pt x="540" y="361"/>
                  </a:lnTo>
                  <a:lnTo>
                    <a:pt x="538" y="366"/>
                  </a:lnTo>
                  <a:lnTo>
                    <a:pt x="537" y="371"/>
                  </a:lnTo>
                  <a:lnTo>
                    <a:pt x="534" y="382"/>
                  </a:lnTo>
                  <a:lnTo>
                    <a:pt x="532" y="392"/>
                  </a:lnTo>
                  <a:lnTo>
                    <a:pt x="531" y="397"/>
                  </a:lnTo>
                  <a:lnTo>
                    <a:pt x="531" y="403"/>
                  </a:lnTo>
                  <a:lnTo>
                    <a:pt x="531" y="414"/>
                  </a:lnTo>
                  <a:lnTo>
                    <a:pt x="533" y="424"/>
                  </a:lnTo>
                  <a:lnTo>
                    <a:pt x="535" y="435"/>
                  </a:lnTo>
                  <a:lnTo>
                    <a:pt x="539" y="446"/>
                  </a:lnTo>
                  <a:lnTo>
                    <a:pt x="541" y="450"/>
                  </a:lnTo>
                  <a:lnTo>
                    <a:pt x="543" y="455"/>
                  </a:lnTo>
                  <a:lnTo>
                    <a:pt x="546" y="459"/>
                  </a:lnTo>
                  <a:lnTo>
                    <a:pt x="549" y="463"/>
                  </a:lnTo>
                  <a:lnTo>
                    <a:pt x="552" y="467"/>
                  </a:lnTo>
                  <a:lnTo>
                    <a:pt x="556" y="471"/>
                  </a:lnTo>
                  <a:lnTo>
                    <a:pt x="560" y="475"/>
                  </a:lnTo>
                  <a:lnTo>
                    <a:pt x="564" y="478"/>
                  </a:lnTo>
                  <a:lnTo>
                    <a:pt x="568" y="480"/>
                  </a:lnTo>
                  <a:lnTo>
                    <a:pt x="572" y="482"/>
                  </a:lnTo>
                  <a:lnTo>
                    <a:pt x="577" y="483"/>
                  </a:lnTo>
                  <a:lnTo>
                    <a:pt x="581" y="484"/>
                  </a:lnTo>
                  <a:lnTo>
                    <a:pt x="585" y="484"/>
                  </a:lnTo>
                  <a:lnTo>
                    <a:pt x="589" y="484"/>
                  </a:lnTo>
                  <a:lnTo>
                    <a:pt x="598" y="481"/>
                  </a:lnTo>
                  <a:lnTo>
                    <a:pt x="602" y="480"/>
                  </a:lnTo>
                  <a:lnTo>
                    <a:pt x="606" y="477"/>
                  </a:lnTo>
                  <a:lnTo>
                    <a:pt x="613" y="473"/>
                  </a:lnTo>
                  <a:lnTo>
                    <a:pt x="628" y="462"/>
                  </a:lnTo>
                  <a:lnTo>
                    <a:pt x="635" y="457"/>
                  </a:lnTo>
                  <a:lnTo>
                    <a:pt x="642" y="453"/>
                  </a:lnTo>
                  <a:lnTo>
                    <a:pt x="645" y="452"/>
                  </a:lnTo>
                  <a:lnTo>
                    <a:pt x="648" y="450"/>
                  </a:lnTo>
                  <a:lnTo>
                    <a:pt x="651" y="450"/>
                  </a:lnTo>
                  <a:lnTo>
                    <a:pt x="654" y="449"/>
                  </a:lnTo>
                  <a:lnTo>
                    <a:pt x="657" y="450"/>
                  </a:lnTo>
                  <a:lnTo>
                    <a:pt x="660" y="450"/>
                  </a:lnTo>
                  <a:lnTo>
                    <a:pt x="662" y="452"/>
                  </a:lnTo>
                  <a:lnTo>
                    <a:pt x="665" y="454"/>
                  </a:lnTo>
                  <a:lnTo>
                    <a:pt x="667" y="457"/>
                  </a:lnTo>
                  <a:lnTo>
                    <a:pt x="669" y="461"/>
                  </a:lnTo>
                  <a:lnTo>
                    <a:pt x="671" y="465"/>
                  </a:lnTo>
                  <a:lnTo>
                    <a:pt x="673" y="471"/>
                  </a:lnTo>
                  <a:lnTo>
                    <a:pt x="673" y="667"/>
                  </a:lnTo>
                  <a:lnTo>
                    <a:pt x="0" y="667"/>
                  </a:lnTo>
                  <a:lnTo>
                    <a:pt x="0" y="47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8" name="Freeform 33"/>
            <p:cNvSpPr>
              <a:spLocks/>
            </p:cNvSpPr>
            <p:nvPr/>
          </p:nvSpPr>
          <p:spPr bwMode="auto">
            <a:xfrm>
              <a:off x="2930525" y="2114550"/>
              <a:ext cx="1001713" cy="885825"/>
            </a:xfrm>
            <a:custGeom>
              <a:avLst/>
              <a:gdLst>
                <a:gd name="T0" fmla="*/ 2147483647 w 818"/>
                <a:gd name="T1" fmla="*/ 2147483647 h 668"/>
                <a:gd name="T2" fmla="*/ 2147483647 w 818"/>
                <a:gd name="T3" fmla="*/ 2147483647 h 668"/>
                <a:gd name="T4" fmla="*/ 2147483647 w 818"/>
                <a:gd name="T5" fmla="*/ 2147483647 h 668"/>
                <a:gd name="T6" fmla="*/ 2147483647 w 818"/>
                <a:gd name="T7" fmla="*/ 2147483647 h 668"/>
                <a:gd name="T8" fmla="*/ 2147483647 w 818"/>
                <a:gd name="T9" fmla="*/ 2147483647 h 668"/>
                <a:gd name="T10" fmla="*/ 2147483647 w 818"/>
                <a:gd name="T11" fmla="*/ 2147483647 h 668"/>
                <a:gd name="T12" fmla="*/ 2147483647 w 818"/>
                <a:gd name="T13" fmla="*/ 2147483647 h 668"/>
                <a:gd name="T14" fmla="*/ 2147483647 w 818"/>
                <a:gd name="T15" fmla="*/ 2147483647 h 668"/>
                <a:gd name="T16" fmla="*/ 2147483647 w 818"/>
                <a:gd name="T17" fmla="*/ 2147483647 h 668"/>
                <a:gd name="T18" fmla="*/ 2147483647 w 818"/>
                <a:gd name="T19" fmla="*/ 2147483647 h 668"/>
                <a:gd name="T20" fmla="*/ 2147483647 w 818"/>
                <a:gd name="T21" fmla="*/ 2147483647 h 668"/>
                <a:gd name="T22" fmla="*/ 2147483647 w 818"/>
                <a:gd name="T23" fmla="*/ 2147483647 h 668"/>
                <a:gd name="T24" fmla="*/ 2147483647 w 818"/>
                <a:gd name="T25" fmla="*/ 2147483647 h 668"/>
                <a:gd name="T26" fmla="*/ 2147483647 w 818"/>
                <a:gd name="T27" fmla="*/ 2147483647 h 668"/>
                <a:gd name="T28" fmla="*/ 2147483647 w 818"/>
                <a:gd name="T29" fmla="*/ 2147483647 h 668"/>
                <a:gd name="T30" fmla="*/ 2147483647 w 818"/>
                <a:gd name="T31" fmla="*/ 2147483647 h 668"/>
                <a:gd name="T32" fmla="*/ 2147483647 w 818"/>
                <a:gd name="T33" fmla="*/ 2147483647 h 668"/>
                <a:gd name="T34" fmla="*/ 2147483647 w 818"/>
                <a:gd name="T35" fmla="*/ 2147483647 h 668"/>
                <a:gd name="T36" fmla="*/ 2147483647 w 818"/>
                <a:gd name="T37" fmla="*/ 2147483647 h 668"/>
                <a:gd name="T38" fmla="*/ 2147483647 w 818"/>
                <a:gd name="T39" fmla="*/ 2147483647 h 668"/>
                <a:gd name="T40" fmla="*/ 2147483647 w 818"/>
                <a:gd name="T41" fmla="*/ 2147483647 h 668"/>
                <a:gd name="T42" fmla="*/ 2147483647 w 818"/>
                <a:gd name="T43" fmla="*/ 2147483647 h 668"/>
                <a:gd name="T44" fmla="*/ 2147483647 w 818"/>
                <a:gd name="T45" fmla="*/ 2147483647 h 668"/>
                <a:gd name="T46" fmla="*/ 2147483647 w 818"/>
                <a:gd name="T47" fmla="*/ 2147483647 h 668"/>
                <a:gd name="T48" fmla="*/ 2147483647 w 818"/>
                <a:gd name="T49" fmla="*/ 2147483647 h 668"/>
                <a:gd name="T50" fmla="*/ 2147483647 w 818"/>
                <a:gd name="T51" fmla="*/ 2147483647 h 668"/>
                <a:gd name="T52" fmla="*/ 2147483647 w 818"/>
                <a:gd name="T53" fmla="*/ 2147483647 h 668"/>
                <a:gd name="T54" fmla="*/ 2147483647 w 818"/>
                <a:gd name="T55" fmla="*/ 2147483647 h 668"/>
                <a:gd name="T56" fmla="*/ 2147483647 w 818"/>
                <a:gd name="T57" fmla="*/ 2147483647 h 668"/>
                <a:gd name="T58" fmla="*/ 2147483647 w 818"/>
                <a:gd name="T59" fmla="*/ 2147483647 h 668"/>
                <a:gd name="T60" fmla="*/ 2147483647 w 818"/>
                <a:gd name="T61" fmla="*/ 2147483647 h 668"/>
                <a:gd name="T62" fmla="*/ 2147483647 w 818"/>
                <a:gd name="T63" fmla="*/ 2147483647 h 668"/>
                <a:gd name="T64" fmla="*/ 2147483647 w 818"/>
                <a:gd name="T65" fmla="*/ 2147483647 h 668"/>
                <a:gd name="T66" fmla="*/ 2147483647 w 818"/>
                <a:gd name="T67" fmla="*/ 2147483647 h 668"/>
                <a:gd name="T68" fmla="*/ 2147483647 w 818"/>
                <a:gd name="T69" fmla="*/ 2147483647 h 668"/>
                <a:gd name="T70" fmla="*/ 2147483647 w 818"/>
                <a:gd name="T71" fmla="*/ 2147483647 h 668"/>
                <a:gd name="T72" fmla="*/ 2147483647 w 818"/>
                <a:gd name="T73" fmla="*/ 2147483647 h 668"/>
                <a:gd name="T74" fmla="*/ 2147483647 w 818"/>
                <a:gd name="T75" fmla="*/ 2147483647 h 668"/>
                <a:gd name="T76" fmla="*/ 2147483647 w 818"/>
                <a:gd name="T77" fmla="*/ 2147483647 h 668"/>
                <a:gd name="T78" fmla="*/ 2147483647 w 818"/>
                <a:gd name="T79" fmla="*/ 2147483647 h 668"/>
                <a:gd name="T80" fmla="*/ 2147483647 w 818"/>
                <a:gd name="T81" fmla="*/ 2147483647 h 668"/>
                <a:gd name="T82" fmla="*/ 2147483647 w 818"/>
                <a:gd name="T83" fmla="*/ 2147483647 h 668"/>
                <a:gd name="T84" fmla="*/ 2147483647 w 818"/>
                <a:gd name="T85" fmla="*/ 2147483647 h 668"/>
                <a:gd name="T86" fmla="*/ 2147483647 w 818"/>
                <a:gd name="T87" fmla="*/ 2147483647 h 668"/>
                <a:gd name="T88" fmla="*/ 2147483647 w 818"/>
                <a:gd name="T89" fmla="*/ 2147483647 h 668"/>
                <a:gd name="T90" fmla="*/ 2147483647 w 818"/>
                <a:gd name="T91" fmla="*/ 2147483647 h 668"/>
                <a:gd name="T92" fmla="*/ 2147483647 w 818"/>
                <a:gd name="T93" fmla="*/ 2147483647 h 668"/>
                <a:gd name="T94" fmla="*/ 2147483647 w 818"/>
                <a:gd name="T95" fmla="*/ 2147483647 h 668"/>
                <a:gd name="T96" fmla="*/ 2147483647 w 818"/>
                <a:gd name="T97" fmla="*/ 2147483647 h 668"/>
                <a:gd name="T98" fmla="*/ 2147483647 w 818"/>
                <a:gd name="T99" fmla="*/ 2147483647 h 668"/>
                <a:gd name="T100" fmla="*/ 0 w 818"/>
                <a:gd name="T101" fmla="*/ 2147483647 h 6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8"/>
                <a:gd name="T154" fmla="*/ 0 h 668"/>
                <a:gd name="T155" fmla="*/ 818 w 818"/>
                <a:gd name="T156" fmla="*/ 668 h 6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8" h="668">
                  <a:moveTo>
                    <a:pt x="0" y="668"/>
                  </a:moveTo>
                  <a:lnTo>
                    <a:pt x="0" y="143"/>
                  </a:lnTo>
                  <a:lnTo>
                    <a:pt x="270" y="143"/>
                  </a:lnTo>
                  <a:lnTo>
                    <a:pt x="275" y="141"/>
                  </a:lnTo>
                  <a:lnTo>
                    <a:pt x="280" y="139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2"/>
                  </a:lnTo>
                  <a:lnTo>
                    <a:pt x="290" y="130"/>
                  </a:lnTo>
                  <a:lnTo>
                    <a:pt x="291" y="127"/>
                  </a:lnTo>
                  <a:lnTo>
                    <a:pt x="291" y="125"/>
                  </a:lnTo>
                  <a:lnTo>
                    <a:pt x="291" y="122"/>
                  </a:lnTo>
                  <a:lnTo>
                    <a:pt x="290" y="119"/>
                  </a:lnTo>
                  <a:lnTo>
                    <a:pt x="289" y="116"/>
                  </a:lnTo>
                  <a:lnTo>
                    <a:pt x="288" y="114"/>
                  </a:lnTo>
                  <a:lnTo>
                    <a:pt x="284" y="106"/>
                  </a:lnTo>
                  <a:lnTo>
                    <a:pt x="279" y="100"/>
                  </a:lnTo>
                  <a:lnTo>
                    <a:pt x="274" y="93"/>
                  </a:lnTo>
                  <a:lnTo>
                    <a:pt x="270" y="86"/>
                  </a:lnTo>
                  <a:lnTo>
                    <a:pt x="265" y="78"/>
                  </a:lnTo>
                  <a:lnTo>
                    <a:pt x="262" y="70"/>
                  </a:lnTo>
                  <a:lnTo>
                    <a:pt x="261" y="66"/>
                  </a:lnTo>
                  <a:lnTo>
                    <a:pt x="260" y="62"/>
                  </a:lnTo>
                  <a:lnTo>
                    <a:pt x="259" y="57"/>
                  </a:lnTo>
                  <a:lnTo>
                    <a:pt x="259" y="53"/>
                  </a:lnTo>
                  <a:lnTo>
                    <a:pt x="260" y="49"/>
                  </a:lnTo>
                  <a:lnTo>
                    <a:pt x="261" y="43"/>
                  </a:lnTo>
                  <a:lnTo>
                    <a:pt x="263" y="39"/>
                  </a:lnTo>
                  <a:lnTo>
                    <a:pt x="266" y="34"/>
                  </a:lnTo>
                  <a:lnTo>
                    <a:pt x="269" y="30"/>
                  </a:lnTo>
                  <a:lnTo>
                    <a:pt x="272" y="26"/>
                  </a:lnTo>
                  <a:lnTo>
                    <a:pt x="275" y="23"/>
                  </a:lnTo>
                  <a:lnTo>
                    <a:pt x="278" y="20"/>
                  </a:lnTo>
                  <a:lnTo>
                    <a:pt x="286" y="14"/>
                  </a:lnTo>
                  <a:lnTo>
                    <a:pt x="295" y="9"/>
                  </a:lnTo>
                  <a:lnTo>
                    <a:pt x="300" y="7"/>
                  </a:lnTo>
                  <a:lnTo>
                    <a:pt x="305" y="6"/>
                  </a:lnTo>
                  <a:lnTo>
                    <a:pt x="315" y="3"/>
                  </a:lnTo>
                  <a:lnTo>
                    <a:pt x="326" y="1"/>
                  </a:lnTo>
                  <a:lnTo>
                    <a:pt x="337" y="0"/>
                  </a:lnTo>
                  <a:lnTo>
                    <a:pt x="348" y="1"/>
                  </a:lnTo>
                  <a:lnTo>
                    <a:pt x="358" y="2"/>
                  </a:lnTo>
                  <a:lnTo>
                    <a:pt x="369" y="4"/>
                  </a:lnTo>
                  <a:lnTo>
                    <a:pt x="379" y="8"/>
                  </a:lnTo>
                  <a:lnTo>
                    <a:pt x="384" y="10"/>
                  </a:lnTo>
                  <a:lnTo>
                    <a:pt x="388" y="12"/>
                  </a:lnTo>
                  <a:lnTo>
                    <a:pt x="392" y="15"/>
                  </a:lnTo>
                  <a:lnTo>
                    <a:pt x="397" y="18"/>
                  </a:lnTo>
                  <a:lnTo>
                    <a:pt x="401" y="21"/>
                  </a:lnTo>
                  <a:lnTo>
                    <a:pt x="404" y="25"/>
                  </a:lnTo>
                  <a:lnTo>
                    <a:pt x="408" y="29"/>
                  </a:lnTo>
                  <a:lnTo>
                    <a:pt x="411" y="33"/>
                  </a:lnTo>
                  <a:lnTo>
                    <a:pt x="414" y="37"/>
                  </a:lnTo>
                  <a:lnTo>
                    <a:pt x="415" y="42"/>
                  </a:lnTo>
                  <a:lnTo>
                    <a:pt x="417" y="47"/>
                  </a:lnTo>
                  <a:lnTo>
                    <a:pt x="417" y="51"/>
                  </a:lnTo>
                  <a:lnTo>
                    <a:pt x="417" y="56"/>
                  </a:lnTo>
                  <a:lnTo>
                    <a:pt x="417" y="60"/>
                  </a:lnTo>
                  <a:lnTo>
                    <a:pt x="414" y="68"/>
                  </a:lnTo>
                  <a:lnTo>
                    <a:pt x="413" y="72"/>
                  </a:lnTo>
                  <a:lnTo>
                    <a:pt x="411" y="76"/>
                  </a:lnTo>
                  <a:lnTo>
                    <a:pt x="406" y="84"/>
                  </a:lnTo>
                  <a:lnTo>
                    <a:pt x="395" y="99"/>
                  </a:lnTo>
                  <a:lnTo>
                    <a:pt x="390" y="105"/>
                  </a:lnTo>
                  <a:lnTo>
                    <a:pt x="386" y="113"/>
                  </a:lnTo>
                  <a:lnTo>
                    <a:pt x="385" y="116"/>
                  </a:lnTo>
                  <a:lnTo>
                    <a:pt x="384" y="119"/>
                  </a:lnTo>
                  <a:lnTo>
                    <a:pt x="383" y="122"/>
                  </a:lnTo>
                  <a:lnTo>
                    <a:pt x="383" y="125"/>
                  </a:lnTo>
                  <a:lnTo>
                    <a:pt x="383" y="128"/>
                  </a:lnTo>
                  <a:lnTo>
                    <a:pt x="384" y="130"/>
                  </a:lnTo>
                  <a:lnTo>
                    <a:pt x="385" y="133"/>
                  </a:lnTo>
                  <a:lnTo>
                    <a:pt x="387" y="135"/>
                  </a:lnTo>
                  <a:lnTo>
                    <a:pt x="390" y="137"/>
                  </a:lnTo>
                  <a:lnTo>
                    <a:pt x="394" y="139"/>
                  </a:lnTo>
                  <a:lnTo>
                    <a:pt x="399" y="141"/>
                  </a:lnTo>
                  <a:lnTo>
                    <a:pt x="405" y="143"/>
                  </a:lnTo>
                  <a:lnTo>
                    <a:pt x="676" y="143"/>
                  </a:lnTo>
                  <a:lnTo>
                    <a:pt x="676" y="338"/>
                  </a:lnTo>
                  <a:lnTo>
                    <a:pt x="678" y="343"/>
                  </a:lnTo>
                  <a:lnTo>
                    <a:pt x="681" y="347"/>
                  </a:lnTo>
                  <a:lnTo>
                    <a:pt x="683" y="351"/>
                  </a:lnTo>
                  <a:lnTo>
                    <a:pt x="685" y="354"/>
                  </a:lnTo>
                  <a:lnTo>
                    <a:pt x="687" y="356"/>
                  </a:lnTo>
                  <a:lnTo>
                    <a:pt x="690" y="357"/>
                  </a:lnTo>
                  <a:lnTo>
                    <a:pt x="692" y="358"/>
                  </a:lnTo>
                  <a:lnTo>
                    <a:pt x="695" y="358"/>
                  </a:lnTo>
                  <a:lnTo>
                    <a:pt x="698" y="358"/>
                  </a:lnTo>
                  <a:lnTo>
                    <a:pt x="701" y="357"/>
                  </a:lnTo>
                  <a:lnTo>
                    <a:pt x="707" y="354"/>
                  </a:lnTo>
                  <a:lnTo>
                    <a:pt x="713" y="350"/>
                  </a:lnTo>
                  <a:lnTo>
                    <a:pt x="720" y="346"/>
                  </a:lnTo>
                  <a:lnTo>
                    <a:pt x="734" y="336"/>
                  </a:lnTo>
                  <a:lnTo>
                    <a:pt x="741" y="332"/>
                  </a:lnTo>
                  <a:lnTo>
                    <a:pt x="749" y="328"/>
                  </a:lnTo>
                  <a:lnTo>
                    <a:pt x="753" y="327"/>
                  </a:lnTo>
                  <a:lnTo>
                    <a:pt x="758" y="326"/>
                  </a:lnTo>
                  <a:lnTo>
                    <a:pt x="762" y="326"/>
                  </a:lnTo>
                  <a:lnTo>
                    <a:pt x="766" y="326"/>
                  </a:lnTo>
                  <a:lnTo>
                    <a:pt x="771" y="327"/>
                  </a:lnTo>
                  <a:lnTo>
                    <a:pt x="775" y="328"/>
                  </a:lnTo>
                  <a:lnTo>
                    <a:pt x="780" y="330"/>
                  </a:lnTo>
                  <a:lnTo>
                    <a:pt x="784" y="333"/>
                  </a:lnTo>
                  <a:lnTo>
                    <a:pt x="788" y="335"/>
                  </a:lnTo>
                  <a:lnTo>
                    <a:pt x="792" y="338"/>
                  </a:lnTo>
                  <a:lnTo>
                    <a:pt x="795" y="342"/>
                  </a:lnTo>
                  <a:lnTo>
                    <a:pt x="798" y="345"/>
                  </a:lnTo>
                  <a:lnTo>
                    <a:pt x="804" y="353"/>
                  </a:lnTo>
                  <a:lnTo>
                    <a:pt x="809" y="362"/>
                  </a:lnTo>
                  <a:lnTo>
                    <a:pt x="811" y="367"/>
                  </a:lnTo>
                  <a:lnTo>
                    <a:pt x="813" y="372"/>
                  </a:lnTo>
                  <a:lnTo>
                    <a:pt x="815" y="383"/>
                  </a:lnTo>
                  <a:lnTo>
                    <a:pt x="817" y="393"/>
                  </a:lnTo>
                  <a:lnTo>
                    <a:pt x="818" y="398"/>
                  </a:lnTo>
                  <a:lnTo>
                    <a:pt x="818" y="404"/>
                  </a:lnTo>
                  <a:lnTo>
                    <a:pt x="818" y="415"/>
                  </a:lnTo>
                  <a:lnTo>
                    <a:pt x="816" y="425"/>
                  </a:lnTo>
                  <a:lnTo>
                    <a:pt x="814" y="436"/>
                  </a:lnTo>
                  <a:lnTo>
                    <a:pt x="810" y="447"/>
                  </a:lnTo>
                  <a:lnTo>
                    <a:pt x="808" y="451"/>
                  </a:lnTo>
                  <a:lnTo>
                    <a:pt x="806" y="456"/>
                  </a:lnTo>
                  <a:lnTo>
                    <a:pt x="803" y="460"/>
                  </a:lnTo>
                  <a:lnTo>
                    <a:pt x="800" y="464"/>
                  </a:lnTo>
                  <a:lnTo>
                    <a:pt x="797" y="468"/>
                  </a:lnTo>
                  <a:lnTo>
                    <a:pt x="793" y="472"/>
                  </a:lnTo>
                  <a:lnTo>
                    <a:pt x="790" y="476"/>
                  </a:lnTo>
                  <a:lnTo>
                    <a:pt x="785" y="479"/>
                  </a:lnTo>
                  <a:lnTo>
                    <a:pt x="781" y="481"/>
                  </a:lnTo>
                  <a:lnTo>
                    <a:pt x="777" y="483"/>
                  </a:lnTo>
                  <a:lnTo>
                    <a:pt x="772" y="484"/>
                  </a:lnTo>
                  <a:lnTo>
                    <a:pt x="768" y="485"/>
                  </a:lnTo>
                  <a:lnTo>
                    <a:pt x="764" y="485"/>
                  </a:lnTo>
                  <a:lnTo>
                    <a:pt x="760" y="485"/>
                  </a:lnTo>
                  <a:lnTo>
                    <a:pt x="751" y="482"/>
                  </a:lnTo>
                  <a:lnTo>
                    <a:pt x="743" y="479"/>
                  </a:lnTo>
                  <a:lnTo>
                    <a:pt x="736" y="474"/>
                  </a:lnTo>
                  <a:lnTo>
                    <a:pt x="721" y="463"/>
                  </a:lnTo>
                  <a:lnTo>
                    <a:pt x="714" y="458"/>
                  </a:lnTo>
                  <a:lnTo>
                    <a:pt x="708" y="454"/>
                  </a:lnTo>
                  <a:lnTo>
                    <a:pt x="705" y="453"/>
                  </a:lnTo>
                  <a:lnTo>
                    <a:pt x="702" y="451"/>
                  </a:lnTo>
                  <a:lnTo>
                    <a:pt x="699" y="451"/>
                  </a:lnTo>
                  <a:lnTo>
                    <a:pt x="695" y="450"/>
                  </a:lnTo>
                  <a:lnTo>
                    <a:pt x="692" y="451"/>
                  </a:lnTo>
                  <a:lnTo>
                    <a:pt x="690" y="451"/>
                  </a:lnTo>
                  <a:lnTo>
                    <a:pt x="687" y="453"/>
                  </a:lnTo>
                  <a:lnTo>
                    <a:pt x="685" y="455"/>
                  </a:lnTo>
                  <a:lnTo>
                    <a:pt x="682" y="458"/>
                  </a:lnTo>
                  <a:lnTo>
                    <a:pt x="680" y="461"/>
                  </a:lnTo>
                  <a:lnTo>
                    <a:pt x="678" y="466"/>
                  </a:lnTo>
                  <a:lnTo>
                    <a:pt x="676" y="471"/>
                  </a:lnTo>
                  <a:lnTo>
                    <a:pt x="676" y="668"/>
                  </a:lnTo>
                  <a:lnTo>
                    <a:pt x="0" y="668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69" name="Freeform 34"/>
            <p:cNvSpPr>
              <a:spLocks/>
            </p:cNvSpPr>
            <p:nvPr/>
          </p:nvSpPr>
          <p:spPr bwMode="auto">
            <a:xfrm>
              <a:off x="2930525" y="1609725"/>
              <a:ext cx="828675" cy="695325"/>
            </a:xfrm>
            <a:custGeom>
              <a:avLst/>
              <a:gdLst>
                <a:gd name="T0" fmla="*/ 2147483647 w 676"/>
                <a:gd name="T1" fmla="*/ 2147483647 h 525"/>
                <a:gd name="T2" fmla="*/ 2147483647 w 676"/>
                <a:gd name="T3" fmla="*/ 2147483647 h 525"/>
                <a:gd name="T4" fmla="*/ 2147483647 w 676"/>
                <a:gd name="T5" fmla="*/ 2147483647 h 525"/>
                <a:gd name="T6" fmla="*/ 2147483647 w 676"/>
                <a:gd name="T7" fmla="*/ 2147483647 h 525"/>
                <a:gd name="T8" fmla="*/ 2147483647 w 676"/>
                <a:gd name="T9" fmla="*/ 2147483647 h 525"/>
                <a:gd name="T10" fmla="*/ 2147483647 w 676"/>
                <a:gd name="T11" fmla="*/ 2147483647 h 525"/>
                <a:gd name="T12" fmla="*/ 2147483647 w 676"/>
                <a:gd name="T13" fmla="*/ 2147483647 h 525"/>
                <a:gd name="T14" fmla="*/ 2147483647 w 676"/>
                <a:gd name="T15" fmla="*/ 2147483647 h 525"/>
                <a:gd name="T16" fmla="*/ 2147483647 w 676"/>
                <a:gd name="T17" fmla="*/ 2147483647 h 525"/>
                <a:gd name="T18" fmla="*/ 2147483647 w 676"/>
                <a:gd name="T19" fmla="*/ 2147483647 h 525"/>
                <a:gd name="T20" fmla="*/ 2147483647 w 676"/>
                <a:gd name="T21" fmla="*/ 2147483647 h 525"/>
                <a:gd name="T22" fmla="*/ 2147483647 w 676"/>
                <a:gd name="T23" fmla="*/ 2147483647 h 525"/>
                <a:gd name="T24" fmla="*/ 2147483647 w 676"/>
                <a:gd name="T25" fmla="*/ 2147483647 h 525"/>
                <a:gd name="T26" fmla="*/ 2147483647 w 676"/>
                <a:gd name="T27" fmla="*/ 2147483647 h 525"/>
                <a:gd name="T28" fmla="*/ 2147483647 w 676"/>
                <a:gd name="T29" fmla="*/ 2147483647 h 525"/>
                <a:gd name="T30" fmla="*/ 2147483647 w 676"/>
                <a:gd name="T31" fmla="*/ 2147483647 h 525"/>
                <a:gd name="T32" fmla="*/ 2147483647 w 676"/>
                <a:gd name="T33" fmla="*/ 2147483647 h 525"/>
                <a:gd name="T34" fmla="*/ 2147483647 w 676"/>
                <a:gd name="T35" fmla="*/ 2147483647 h 525"/>
                <a:gd name="T36" fmla="*/ 2147483647 w 676"/>
                <a:gd name="T37" fmla="*/ 2147483647 h 525"/>
                <a:gd name="T38" fmla="*/ 2147483647 w 676"/>
                <a:gd name="T39" fmla="*/ 2147483647 h 525"/>
                <a:gd name="T40" fmla="*/ 2147483647 w 676"/>
                <a:gd name="T41" fmla="*/ 2147483647 h 525"/>
                <a:gd name="T42" fmla="*/ 2147483647 w 676"/>
                <a:gd name="T43" fmla="*/ 2147483647 h 525"/>
                <a:gd name="T44" fmla="*/ 2147483647 w 676"/>
                <a:gd name="T45" fmla="*/ 2147483647 h 525"/>
                <a:gd name="T46" fmla="*/ 2147483647 w 676"/>
                <a:gd name="T47" fmla="*/ 2147483647 h 525"/>
                <a:gd name="T48" fmla="*/ 2147483647 w 676"/>
                <a:gd name="T49" fmla="*/ 2147483647 h 525"/>
                <a:gd name="T50" fmla="*/ 2147483647 w 676"/>
                <a:gd name="T51" fmla="*/ 2147483647 h 525"/>
                <a:gd name="T52" fmla="*/ 2147483647 w 676"/>
                <a:gd name="T53" fmla="*/ 2147483647 h 525"/>
                <a:gd name="T54" fmla="*/ 2147483647 w 676"/>
                <a:gd name="T55" fmla="*/ 2147483647 h 525"/>
                <a:gd name="T56" fmla="*/ 2147483647 w 676"/>
                <a:gd name="T57" fmla="*/ 2147483647 h 525"/>
                <a:gd name="T58" fmla="*/ 2147483647 w 676"/>
                <a:gd name="T59" fmla="*/ 2147483647 h 525"/>
                <a:gd name="T60" fmla="*/ 2147483647 w 676"/>
                <a:gd name="T61" fmla="*/ 2147483647 h 525"/>
                <a:gd name="T62" fmla="*/ 2147483647 w 676"/>
                <a:gd name="T63" fmla="*/ 2147483647 h 525"/>
                <a:gd name="T64" fmla="*/ 2147483647 w 676"/>
                <a:gd name="T65" fmla="*/ 2147483647 h 525"/>
                <a:gd name="T66" fmla="*/ 2147483647 w 676"/>
                <a:gd name="T67" fmla="*/ 2147483647 h 525"/>
                <a:gd name="T68" fmla="*/ 2147483647 w 676"/>
                <a:gd name="T69" fmla="*/ 2147483647 h 525"/>
                <a:gd name="T70" fmla="*/ 2147483647 w 676"/>
                <a:gd name="T71" fmla="*/ 2147483647 h 525"/>
                <a:gd name="T72" fmla="*/ 2147483647 w 676"/>
                <a:gd name="T73" fmla="*/ 2147483647 h 525"/>
                <a:gd name="T74" fmla="*/ 2147483647 w 676"/>
                <a:gd name="T75" fmla="*/ 2147483647 h 525"/>
                <a:gd name="T76" fmla="*/ 2147483647 w 676"/>
                <a:gd name="T77" fmla="*/ 2147483647 h 525"/>
                <a:gd name="T78" fmla="*/ 2147483647 w 676"/>
                <a:gd name="T79" fmla="*/ 2147483647 h 525"/>
                <a:gd name="T80" fmla="*/ 2147483647 w 676"/>
                <a:gd name="T81" fmla="*/ 2147483647 h 525"/>
                <a:gd name="T82" fmla="*/ 2147483647 w 676"/>
                <a:gd name="T83" fmla="*/ 2147483647 h 525"/>
                <a:gd name="T84" fmla="*/ 2147483647 w 676"/>
                <a:gd name="T85" fmla="*/ 2147483647 h 525"/>
                <a:gd name="T86" fmla="*/ 2147483647 w 676"/>
                <a:gd name="T87" fmla="*/ 2147483647 h 525"/>
                <a:gd name="T88" fmla="*/ 2147483647 w 676"/>
                <a:gd name="T89" fmla="*/ 2147483647 h 525"/>
                <a:gd name="T90" fmla="*/ 2147483647 w 676"/>
                <a:gd name="T91" fmla="*/ 2147483647 h 525"/>
                <a:gd name="T92" fmla="*/ 2147483647 w 676"/>
                <a:gd name="T93" fmla="*/ 2147483647 h 525"/>
                <a:gd name="T94" fmla="*/ 2147483647 w 676"/>
                <a:gd name="T95" fmla="*/ 2147483647 h 525"/>
                <a:gd name="T96" fmla="*/ 2147483647 w 676"/>
                <a:gd name="T97" fmla="*/ 2147483647 h 525"/>
                <a:gd name="T98" fmla="*/ 0 w 676"/>
                <a:gd name="T99" fmla="*/ 2147483647 h 52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6"/>
                <a:gd name="T151" fmla="*/ 0 h 525"/>
                <a:gd name="T152" fmla="*/ 676 w 676"/>
                <a:gd name="T153" fmla="*/ 525 h 52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6" h="525">
                  <a:moveTo>
                    <a:pt x="676" y="0"/>
                  </a:moveTo>
                  <a:lnTo>
                    <a:pt x="676" y="194"/>
                  </a:lnTo>
                  <a:lnTo>
                    <a:pt x="675" y="197"/>
                  </a:lnTo>
                  <a:lnTo>
                    <a:pt x="674" y="201"/>
                  </a:lnTo>
                  <a:lnTo>
                    <a:pt x="671" y="206"/>
                  </a:lnTo>
                  <a:lnTo>
                    <a:pt x="669" y="208"/>
                  </a:lnTo>
                  <a:lnTo>
                    <a:pt x="668" y="210"/>
                  </a:lnTo>
                  <a:lnTo>
                    <a:pt x="664" y="213"/>
                  </a:lnTo>
                  <a:lnTo>
                    <a:pt x="661" y="214"/>
                  </a:lnTo>
                  <a:lnTo>
                    <a:pt x="657" y="215"/>
                  </a:lnTo>
                  <a:lnTo>
                    <a:pt x="654" y="214"/>
                  </a:lnTo>
                  <a:lnTo>
                    <a:pt x="650" y="213"/>
                  </a:lnTo>
                  <a:lnTo>
                    <a:pt x="646" y="211"/>
                  </a:lnTo>
                  <a:lnTo>
                    <a:pt x="642" y="209"/>
                  </a:lnTo>
                  <a:lnTo>
                    <a:pt x="634" y="203"/>
                  </a:lnTo>
                  <a:lnTo>
                    <a:pt x="627" y="198"/>
                  </a:lnTo>
                  <a:lnTo>
                    <a:pt x="620" y="193"/>
                  </a:lnTo>
                  <a:lnTo>
                    <a:pt x="615" y="190"/>
                  </a:lnTo>
                  <a:lnTo>
                    <a:pt x="610" y="188"/>
                  </a:lnTo>
                  <a:lnTo>
                    <a:pt x="605" y="186"/>
                  </a:lnTo>
                  <a:lnTo>
                    <a:pt x="601" y="185"/>
                  </a:lnTo>
                  <a:lnTo>
                    <a:pt x="597" y="184"/>
                  </a:lnTo>
                  <a:lnTo>
                    <a:pt x="593" y="183"/>
                  </a:lnTo>
                  <a:lnTo>
                    <a:pt x="589" y="183"/>
                  </a:lnTo>
                  <a:lnTo>
                    <a:pt x="586" y="184"/>
                  </a:lnTo>
                  <a:lnTo>
                    <a:pt x="582" y="184"/>
                  </a:lnTo>
                  <a:lnTo>
                    <a:pt x="578" y="185"/>
                  </a:lnTo>
                  <a:lnTo>
                    <a:pt x="574" y="187"/>
                  </a:lnTo>
                  <a:lnTo>
                    <a:pt x="570" y="189"/>
                  </a:lnTo>
                  <a:lnTo>
                    <a:pt x="566" y="191"/>
                  </a:lnTo>
                  <a:lnTo>
                    <a:pt x="562" y="193"/>
                  </a:lnTo>
                  <a:lnTo>
                    <a:pt x="559" y="196"/>
                  </a:lnTo>
                  <a:lnTo>
                    <a:pt x="556" y="199"/>
                  </a:lnTo>
                  <a:lnTo>
                    <a:pt x="551" y="206"/>
                  </a:lnTo>
                  <a:lnTo>
                    <a:pt x="546" y="214"/>
                  </a:lnTo>
                  <a:lnTo>
                    <a:pt x="542" y="223"/>
                  </a:lnTo>
                  <a:lnTo>
                    <a:pt x="539" y="233"/>
                  </a:lnTo>
                  <a:lnTo>
                    <a:pt x="538" y="238"/>
                  </a:lnTo>
                  <a:lnTo>
                    <a:pt x="537" y="243"/>
                  </a:lnTo>
                  <a:lnTo>
                    <a:pt x="535" y="254"/>
                  </a:lnTo>
                  <a:lnTo>
                    <a:pt x="535" y="264"/>
                  </a:lnTo>
                  <a:lnTo>
                    <a:pt x="535" y="274"/>
                  </a:lnTo>
                  <a:lnTo>
                    <a:pt x="536" y="280"/>
                  </a:lnTo>
                  <a:lnTo>
                    <a:pt x="537" y="285"/>
                  </a:lnTo>
                  <a:lnTo>
                    <a:pt x="539" y="295"/>
                  </a:lnTo>
                  <a:lnTo>
                    <a:pt x="543" y="305"/>
                  </a:lnTo>
                  <a:lnTo>
                    <a:pt x="545" y="310"/>
                  </a:lnTo>
                  <a:lnTo>
                    <a:pt x="547" y="314"/>
                  </a:lnTo>
                  <a:lnTo>
                    <a:pt x="552" y="321"/>
                  </a:lnTo>
                  <a:lnTo>
                    <a:pt x="556" y="327"/>
                  </a:lnTo>
                  <a:lnTo>
                    <a:pt x="562" y="332"/>
                  </a:lnTo>
                  <a:lnTo>
                    <a:pt x="568" y="336"/>
                  </a:lnTo>
                  <a:lnTo>
                    <a:pt x="573" y="339"/>
                  </a:lnTo>
                  <a:lnTo>
                    <a:pt x="577" y="340"/>
                  </a:lnTo>
                  <a:lnTo>
                    <a:pt x="582" y="342"/>
                  </a:lnTo>
                  <a:lnTo>
                    <a:pt x="586" y="342"/>
                  </a:lnTo>
                  <a:lnTo>
                    <a:pt x="590" y="342"/>
                  </a:lnTo>
                  <a:lnTo>
                    <a:pt x="594" y="342"/>
                  </a:lnTo>
                  <a:lnTo>
                    <a:pt x="598" y="341"/>
                  </a:lnTo>
                  <a:lnTo>
                    <a:pt x="603" y="339"/>
                  </a:lnTo>
                  <a:lnTo>
                    <a:pt x="607" y="338"/>
                  </a:lnTo>
                  <a:lnTo>
                    <a:pt x="611" y="336"/>
                  </a:lnTo>
                  <a:lnTo>
                    <a:pt x="618" y="331"/>
                  </a:lnTo>
                  <a:lnTo>
                    <a:pt x="633" y="320"/>
                  </a:lnTo>
                  <a:lnTo>
                    <a:pt x="646" y="311"/>
                  </a:lnTo>
                  <a:lnTo>
                    <a:pt x="649" y="310"/>
                  </a:lnTo>
                  <a:lnTo>
                    <a:pt x="653" y="309"/>
                  </a:lnTo>
                  <a:lnTo>
                    <a:pt x="655" y="308"/>
                  </a:lnTo>
                  <a:lnTo>
                    <a:pt x="658" y="308"/>
                  </a:lnTo>
                  <a:lnTo>
                    <a:pt x="661" y="308"/>
                  </a:lnTo>
                  <a:lnTo>
                    <a:pt x="663" y="309"/>
                  </a:lnTo>
                  <a:lnTo>
                    <a:pt x="666" y="310"/>
                  </a:lnTo>
                  <a:lnTo>
                    <a:pt x="668" y="312"/>
                  </a:lnTo>
                  <a:lnTo>
                    <a:pt x="670" y="315"/>
                  </a:lnTo>
                  <a:lnTo>
                    <a:pt x="673" y="319"/>
                  </a:lnTo>
                  <a:lnTo>
                    <a:pt x="676" y="330"/>
                  </a:lnTo>
                  <a:lnTo>
                    <a:pt x="676" y="525"/>
                  </a:lnTo>
                  <a:lnTo>
                    <a:pt x="405" y="525"/>
                  </a:lnTo>
                  <a:lnTo>
                    <a:pt x="398" y="522"/>
                  </a:lnTo>
                  <a:lnTo>
                    <a:pt x="392" y="519"/>
                  </a:lnTo>
                  <a:lnTo>
                    <a:pt x="388" y="516"/>
                  </a:lnTo>
                  <a:lnTo>
                    <a:pt x="386" y="514"/>
                  </a:lnTo>
                  <a:lnTo>
                    <a:pt x="385" y="513"/>
                  </a:lnTo>
                  <a:lnTo>
                    <a:pt x="383" y="509"/>
                  </a:lnTo>
                  <a:lnTo>
                    <a:pt x="383" y="505"/>
                  </a:lnTo>
                  <a:lnTo>
                    <a:pt x="383" y="502"/>
                  </a:lnTo>
                  <a:lnTo>
                    <a:pt x="385" y="498"/>
                  </a:lnTo>
                  <a:lnTo>
                    <a:pt x="389" y="488"/>
                  </a:lnTo>
                  <a:lnTo>
                    <a:pt x="396" y="479"/>
                  </a:lnTo>
                  <a:lnTo>
                    <a:pt x="406" y="465"/>
                  </a:lnTo>
                  <a:lnTo>
                    <a:pt x="411" y="458"/>
                  </a:lnTo>
                  <a:lnTo>
                    <a:pt x="414" y="450"/>
                  </a:lnTo>
                  <a:lnTo>
                    <a:pt x="416" y="444"/>
                  </a:lnTo>
                  <a:lnTo>
                    <a:pt x="417" y="441"/>
                  </a:lnTo>
                  <a:lnTo>
                    <a:pt x="417" y="438"/>
                  </a:lnTo>
                  <a:lnTo>
                    <a:pt x="417" y="432"/>
                  </a:lnTo>
                  <a:lnTo>
                    <a:pt x="416" y="424"/>
                  </a:lnTo>
                  <a:lnTo>
                    <a:pt x="415" y="422"/>
                  </a:lnTo>
                  <a:lnTo>
                    <a:pt x="414" y="420"/>
                  </a:lnTo>
                  <a:lnTo>
                    <a:pt x="412" y="416"/>
                  </a:lnTo>
                  <a:lnTo>
                    <a:pt x="410" y="412"/>
                  </a:lnTo>
                  <a:lnTo>
                    <a:pt x="407" y="408"/>
                  </a:lnTo>
                  <a:lnTo>
                    <a:pt x="404" y="404"/>
                  </a:lnTo>
                  <a:lnTo>
                    <a:pt x="400" y="401"/>
                  </a:lnTo>
                  <a:lnTo>
                    <a:pt x="392" y="395"/>
                  </a:lnTo>
                  <a:lnTo>
                    <a:pt x="387" y="393"/>
                  </a:lnTo>
                  <a:lnTo>
                    <a:pt x="382" y="390"/>
                  </a:lnTo>
                  <a:lnTo>
                    <a:pt x="377" y="388"/>
                  </a:lnTo>
                  <a:lnTo>
                    <a:pt x="372" y="387"/>
                  </a:lnTo>
                  <a:lnTo>
                    <a:pt x="361" y="384"/>
                  </a:lnTo>
                  <a:lnTo>
                    <a:pt x="355" y="383"/>
                  </a:lnTo>
                  <a:lnTo>
                    <a:pt x="349" y="382"/>
                  </a:lnTo>
                  <a:lnTo>
                    <a:pt x="337" y="382"/>
                  </a:lnTo>
                  <a:lnTo>
                    <a:pt x="325" y="383"/>
                  </a:lnTo>
                  <a:lnTo>
                    <a:pt x="312" y="385"/>
                  </a:lnTo>
                  <a:lnTo>
                    <a:pt x="301" y="388"/>
                  </a:lnTo>
                  <a:lnTo>
                    <a:pt x="296" y="390"/>
                  </a:lnTo>
                  <a:lnTo>
                    <a:pt x="291" y="393"/>
                  </a:lnTo>
                  <a:lnTo>
                    <a:pt x="286" y="396"/>
                  </a:lnTo>
                  <a:lnTo>
                    <a:pt x="281" y="399"/>
                  </a:lnTo>
                  <a:lnTo>
                    <a:pt x="277" y="402"/>
                  </a:lnTo>
                  <a:lnTo>
                    <a:pt x="273" y="406"/>
                  </a:lnTo>
                  <a:lnTo>
                    <a:pt x="269" y="411"/>
                  </a:lnTo>
                  <a:lnTo>
                    <a:pt x="266" y="415"/>
                  </a:lnTo>
                  <a:lnTo>
                    <a:pt x="263" y="420"/>
                  </a:lnTo>
                  <a:lnTo>
                    <a:pt x="261" y="425"/>
                  </a:lnTo>
                  <a:lnTo>
                    <a:pt x="260" y="430"/>
                  </a:lnTo>
                  <a:lnTo>
                    <a:pt x="259" y="435"/>
                  </a:lnTo>
                  <a:lnTo>
                    <a:pt x="259" y="439"/>
                  </a:lnTo>
                  <a:lnTo>
                    <a:pt x="259" y="443"/>
                  </a:lnTo>
                  <a:lnTo>
                    <a:pt x="260" y="447"/>
                  </a:lnTo>
                  <a:lnTo>
                    <a:pt x="262" y="451"/>
                  </a:lnTo>
                  <a:lnTo>
                    <a:pt x="265" y="459"/>
                  </a:lnTo>
                  <a:lnTo>
                    <a:pt x="269" y="467"/>
                  </a:lnTo>
                  <a:lnTo>
                    <a:pt x="274" y="474"/>
                  </a:lnTo>
                  <a:lnTo>
                    <a:pt x="279" y="481"/>
                  </a:lnTo>
                  <a:lnTo>
                    <a:pt x="284" y="488"/>
                  </a:lnTo>
                  <a:lnTo>
                    <a:pt x="287" y="495"/>
                  </a:lnTo>
                  <a:lnTo>
                    <a:pt x="290" y="501"/>
                  </a:lnTo>
                  <a:lnTo>
                    <a:pt x="291" y="504"/>
                  </a:lnTo>
                  <a:lnTo>
                    <a:pt x="291" y="506"/>
                  </a:lnTo>
                  <a:lnTo>
                    <a:pt x="291" y="509"/>
                  </a:lnTo>
                  <a:lnTo>
                    <a:pt x="290" y="511"/>
                  </a:lnTo>
                  <a:lnTo>
                    <a:pt x="288" y="514"/>
                  </a:lnTo>
                  <a:lnTo>
                    <a:pt x="286" y="516"/>
                  </a:lnTo>
                  <a:lnTo>
                    <a:pt x="283" y="518"/>
                  </a:lnTo>
                  <a:lnTo>
                    <a:pt x="280" y="520"/>
                  </a:lnTo>
                  <a:lnTo>
                    <a:pt x="275" y="522"/>
                  </a:lnTo>
                  <a:lnTo>
                    <a:pt x="270" y="524"/>
                  </a:lnTo>
                  <a:lnTo>
                    <a:pt x="0" y="525"/>
                  </a:lnTo>
                  <a:lnTo>
                    <a:pt x="0" y="0"/>
                  </a:lnTo>
                  <a:lnTo>
                    <a:pt x="676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0" name="Freeform 35"/>
            <p:cNvSpPr>
              <a:spLocks/>
            </p:cNvSpPr>
            <p:nvPr/>
          </p:nvSpPr>
          <p:spPr bwMode="auto">
            <a:xfrm>
              <a:off x="3586163" y="1609725"/>
              <a:ext cx="995362" cy="695325"/>
            </a:xfrm>
            <a:custGeom>
              <a:avLst/>
              <a:gdLst>
                <a:gd name="T0" fmla="*/ 2147483647 w 814"/>
                <a:gd name="T1" fmla="*/ 2147483647 h 525"/>
                <a:gd name="T2" fmla="*/ 2147483647 w 814"/>
                <a:gd name="T3" fmla="*/ 2147483647 h 525"/>
                <a:gd name="T4" fmla="*/ 2147483647 w 814"/>
                <a:gd name="T5" fmla="*/ 2147483647 h 525"/>
                <a:gd name="T6" fmla="*/ 2147483647 w 814"/>
                <a:gd name="T7" fmla="*/ 2147483647 h 525"/>
                <a:gd name="T8" fmla="*/ 2147483647 w 814"/>
                <a:gd name="T9" fmla="*/ 2147483647 h 525"/>
                <a:gd name="T10" fmla="*/ 2147483647 w 814"/>
                <a:gd name="T11" fmla="*/ 2147483647 h 525"/>
                <a:gd name="T12" fmla="*/ 2147483647 w 814"/>
                <a:gd name="T13" fmla="*/ 2147483647 h 525"/>
                <a:gd name="T14" fmla="*/ 2147483647 w 814"/>
                <a:gd name="T15" fmla="*/ 2147483647 h 525"/>
                <a:gd name="T16" fmla="*/ 2147483647 w 814"/>
                <a:gd name="T17" fmla="*/ 2147483647 h 525"/>
                <a:gd name="T18" fmla="*/ 2147483647 w 814"/>
                <a:gd name="T19" fmla="*/ 2147483647 h 525"/>
                <a:gd name="T20" fmla="*/ 2147483647 w 814"/>
                <a:gd name="T21" fmla="*/ 2147483647 h 525"/>
                <a:gd name="T22" fmla="*/ 2147483647 w 814"/>
                <a:gd name="T23" fmla="*/ 2147483647 h 525"/>
                <a:gd name="T24" fmla="*/ 2147483647 w 814"/>
                <a:gd name="T25" fmla="*/ 2147483647 h 525"/>
                <a:gd name="T26" fmla="*/ 2147483647 w 814"/>
                <a:gd name="T27" fmla="*/ 2147483647 h 525"/>
                <a:gd name="T28" fmla="*/ 2147483647 w 814"/>
                <a:gd name="T29" fmla="*/ 2147483647 h 525"/>
                <a:gd name="T30" fmla="*/ 2147483647 w 814"/>
                <a:gd name="T31" fmla="*/ 2147483647 h 525"/>
                <a:gd name="T32" fmla="*/ 2147483647 w 814"/>
                <a:gd name="T33" fmla="*/ 2147483647 h 525"/>
                <a:gd name="T34" fmla="*/ 2147483647 w 814"/>
                <a:gd name="T35" fmla="*/ 0 h 525"/>
                <a:gd name="T36" fmla="*/ 2147483647 w 814"/>
                <a:gd name="T37" fmla="*/ 2147483647 h 525"/>
                <a:gd name="T38" fmla="*/ 2147483647 w 814"/>
                <a:gd name="T39" fmla="*/ 2147483647 h 525"/>
                <a:gd name="T40" fmla="*/ 2147483647 w 814"/>
                <a:gd name="T41" fmla="*/ 2147483647 h 525"/>
                <a:gd name="T42" fmla="*/ 2147483647 w 814"/>
                <a:gd name="T43" fmla="*/ 2147483647 h 525"/>
                <a:gd name="T44" fmla="*/ 2147483647 w 814"/>
                <a:gd name="T45" fmla="*/ 2147483647 h 525"/>
                <a:gd name="T46" fmla="*/ 2147483647 w 814"/>
                <a:gd name="T47" fmla="*/ 2147483647 h 525"/>
                <a:gd name="T48" fmla="*/ 2147483647 w 814"/>
                <a:gd name="T49" fmla="*/ 2147483647 h 525"/>
                <a:gd name="T50" fmla="*/ 2147483647 w 814"/>
                <a:gd name="T51" fmla="*/ 2147483647 h 525"/>
                <a:gd name="T52" fmla="*/ 2147483647 w 814"/>
                <a:gd name="T53" fmla="*/ 2147483647 h 525"/>
                <a:gd name="T54" fmla="*/ 2147483647 w 814"/>
                <a:gd name="T55" fmla="*/ 2147483647 h 525"/>
                <a:gd name="T56" fmla="*/ 2147483647 w 814"/>
                <a:gd name="T57" fmla="*/ 2147483647 h 525"/>
                <a:gd name="T58" fmla="*/ 2147483647 w 814"/>
                <a:gd name="T59" fmla="*/ 2147483647 h 525"/>
                <a:gd name="T60" fmla="*/ 2147483647 w 814"/>
                <a:gd name="T61" fmla="*/ 2147483647 h 525"/>
                <a:gd name="T62" fmla="*/ 2147483647 w 814"/>
                <a:gd name="T63" fmla="*/ 2147483647 h 525"/>
                <a:gd name="T64" fmla="*/ 2147483647 w 814"/>
                <a:gd name="T65" fmla="*/ 2147483647 h 525"/>
                <a:gd name="T66" fmla="*/ 2147483647 w 814"/>
                <a:gd name="T67" fmla="*/ 2147483647 h 525"/>
                <a:gd name="T68" fmla="*/ 2147483647 w 814"/>
                <a:gd name="T69" fmla="*/ 2147483647 h 525"/>
                <a:gd name="T70" fmla="*/ 2147483647 w 814"/>
                <a:gd name="T71" fmla="*/ 2147483647 h 525"/>
                <a:gd name="T72" fmla="*/ 2147483647 w 814"/>
                <a:gd name="T73" fmla="*/ 2147483647 h 525"/>
                <a:gd name="T74" fmla="*/ 2147483647 w 814"/>
                <a:gd name="T75" fmla="*/ 2147483647 h 525"/>
                <a:gd name="T76" fmla="*/ 2147483647 w 814"/>
                <a:gd name="T77" fmla="*/ 2147483647 h 525"/>
                <a:gd name="T78" fmla="*/ 2147483647 w 814"/>
                <a:gd name="T79" fmla="*/ 2147483647 h 525"/>
                <a:gd name="T80" fmla="*/ 2147483647 w 814"/>
                <a:gd name="T81" fmla="*/ 2147483647 h 525"/>
                <a:gd name="T82" fmla="*/ 2147483647 w 814"/>
                <a:gd name="T83" fmla="*/ 2147483647 h 525"/>
                <a:gd name="T84" fmla="*/ 2147483647 w 814"/>
                <a:gd name="T85" fmla="*/ 2147483647 h 525"/>
                <a:gd name="T86" fmla="*/ 2147483647 w 814"/>
                <a:gd name="T87" fmla="*/ 2147483647 h 525"/>
                <a:gd name="T88" fmla="*/ 2147483647 w 814"/>
                <a:gd name="T89" fmla="*/ 2147483647 h 525"/>
                <a:gd name="T90" fmla="*/ 2147483647 w 814"/>
                <a:gd name="T91" fmla="*/ 2147483647 h 525"/>
                <a:gd name="T92" fmla="*/ 2147483647 w 814"/>
                <a:gd name="T93" fmla="*/ 2147483647 h 525"/>
                <a:gd name="T94" fmla="*/ 2147483647 w 814"/>
                <a:gd name="T95" fmla="*/ 2147483647 h 525"/>
                <a:gd name="T96" fmla="*/ 2147483647 w 814"/>
                <a:gd name="T97" fmla="*/ 2147483647 h 525"/>
                <a:gd name="T98" fmla="*/ 2147483647 w 814"/>
                <a:gd name="T99" fmla="*/ 2147483647 h 525"/>
                <a:gd name="T100" fmla="*/ 2147483647 w 814"/>
                <a:gd name="T101" fmla="*/ 2147483647 h 525"/>
                <a:gd name="T102" fmla="*/ 2147483647 w 814"/>
                <a:gd name="T103" fmla="*/ 2147483647 h 525"/>
                <a:gd name="T104" fmla="*/ 2147483647 w 814"/>
                <a:gd name="T105" fmla="*/ 2147483647 h 525"/>
                <a:gd name="T106" fmla="*/ 2147483647 w 814"/>
                <a:gd name="T107" fmla="*/ 2147483647 h 525"/>
                <a:gd name="T108" fmla="*/ 2147483647 w 814"/>
                <a:gd name="T109" fmla="*/ 2147483647 h 5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4"/>
                <a:gd name="T166" fmla="*/ 0 h 525"/>
                <a:gd name="T167" fmla="*/ 814 w 814"/>
                <a:gd name="T168" fmla="*/ 525 h 5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4" h="525">
                  <a:moveTo>
                    <a:pt x="141" y="329"/>
                  </a:moveTo>
                  <a:lnTo>
                    <a:pt x="138" y="319"/>
                  </a:lnTo>
                  <a:lnTo>
                    <a:pt x="136" y="315"/>
                  </a:lnTo>
                  <a:lnTo>
                    <a:pt x="133" y="312"/>
                  </a:lnTo>
                  <a:lnTo>
                    <a:pt x="131" y="310"/>
                  </a:lnTo>
                  <a:lnTo>
                    <a:pt x="128" y="308"/>
                  </a:lnTo>
                  <a:lnTo>
                    <a:pt x="126" y="307"/>
                  </a:lnTo>
                  <a:lnTo>
                    <a:pt x="123" y="307"/>
                  </a:lnTo>
                  <a:lnTo>
                    <a:pt x="120" y="308"/>
                  </a:lnTo>
                  <a:lnTo>
                    <a:pt x="117" y="308"/>
                  </a:lnTo>
                  <a:lnTo>
                    <a:pt x="111" y="311"/>
                  </a:lnTo>
                  <a:lnTo>
                    <a:pt x="105" y="315"/>
                  </a:lnTo>
                  <a:lnTo>
                    <a:pt x="98" y="320"/>
                  </a:lnTo>
                  <a:lnTo>
                    <a:pt x="91" y="326"/>
                  </a:lnTo>
                  <a:lnTo>
                    <a:pt x="83" y="331"/>
                  </a:lnTo>
                  <a:lnTo>
                    <a:pt x="76" y="335"/>
                  </a:lnTo>
                  <a:lnTo>
                    <a:pt x="68" y="339"/>
                  </a:lnTo>
                  <a:lnTo>
                    <a:pt x="59" y="342"/>
                  </a:lnTo>
                  <a:lnTo>
                    <a:pt x="55" y="342"/>
                  </a:lnTo>
                  <a:lnTo>
                    <a:pt x="51" y="342"/>
                  </a:lnTo>
                  <a:lnTo>
                    <a:pt x="47" y="341"/>
                  </a:lnTo>
                  <a:lnTo>
                    <a:pt x="42" y="340"/>
                  </a:lnTo>
                  <a:lnTo>
                    <a:pt x="38" y="338"/>
                  </a:lnTo>
                  <a:lnTo>
                    <a:pt x="33" y="336"/>
                  </a:lnTo>
                  <a:lnTo>
                    <a:pt x="25" y="329"/>
                  </a:lnTo>
                  <a:lnTo>
                    <a:pt x="21" y="325"/>
                  </a:lnTo>
                  <a:lnTo>
                    <a:pt x="18" y="321"/>
                  </a:lnTo>
                  <a:lnTo>
                    <a:pt x="12" y="313"/>
                  </a:lnTo>
                  <a:lnTo>
                    <a:pt x="10" y="308"/>
                  </a:lnTo>
                  <a:lnTo>
                    <a:pt x="7" y="304"/>
                  </a:lnTo>
                  <a:lnTo>
                    <a:pt x="4" y="293"/>
                  </a:lnTo>
                  <a:lnTo>
                    <a:pt x="3" y="287"/>
                  </a:lnTo>
                  <a:lnTo>
                    <a:pt x="2" y="282"/>
                  </a:lnTo>
                  <a:lnTo>
                    <a:pt x="0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3" y="240"/>
                  </a:lnTo>
                  <a:lnTo>
                    <a:pt x="5" y="229"/>
                  </a:lnTo>
                  <a:lnTo>
                    <a:pt x="7" y="224"/>
                  </a:lnTo>
                  <a:lnTo>
                    <a:pt x="9" y="219"/>
                  </a:lnTo>
                  <a:lnTo>
                    <a:pt x="14" y="210"/>
                  </a:lnTo>
                  <a:lnTo>
                    <a:pt x="17" y="206"/>
                  </a:lnTo>
                  <a:lnTo>
                    <a:pt x="20" y="202"/>
                  </a:lnTo>
                  <a:lnTo>
                    <a:pt x="26" y="195"/>
                  </a:lnTo>
                  <a:lnTo>
                    <a:pt x="30" y="192"/>
                  </a:lnTo>
                  <a:lnTo>
                    <a:pt x="35" y="190"/>
                  </a:lnTo>
                  <a:lnTo>
                    <a:pt x="39" y="187"/>
                  </a:lnTo>
                  <a:lnTo>
                    <a:pt x="44" y="185"/>
                  </a:lnTo>
                  <a:lnTo>
                    <a:pt x="48" y="184"/>
                  </a:lnTo>
                  <a:lnTo>
                    <a:pt x="53" y="183"/>
                  </a:lnTo>
                  <a:lnTo>
                    <a:pt x="57" y="183"/>
                  </a:lnTo>
                  <a:lnTo>
                    <a:pt x="61" y="183"/>
                  </a:lnTo>
                  <a:lnTo>
                    <a:pt x="65" y="184"/>
                  </a:lnTo>
                  <a:lnTo>
                    <a:pt x="70" y="185"/>
                  </a:lnTo>
                  <a:lnTo>
                    <a:pt x="77" y="189"/>
                  </a:lnTo>
                  <a:lnTo>
                    <a:pt x="85" y="193"/>
                  </a:lnTo>
                  <a:lnTo>
                    <a:pt x="92" y="198"/>
                  </a:lnTo>
                  <a:lnTo>
                    <a:pt x="99" y="203"/>
                  </a:lnTo>
                  <a:lnTo>
                    <a:pt x="106" y="207"/>
                  </a:lnTo>
                  <a:lnTo>
                    <a:pt x="112" y="211"/>
                  </a:lnTo>
                  <a:lnTo>
                    <a:pt x="118" y="214"/>
                  </a:lnTo>
                  <a:lnTo>
                    <a:pt x="121" y="215"/>
                  </a:lnTo>
                  <a:lnTo>
                    <a:pt x="123" y="215"/>
                  </a:lnTo>
                  <a:lnTo>
                    <a:pt x="126" y="215"/>
                  </a:lnTo>
                  <a:lnTo>
                    <a:pt x="128" y="214"/>
                  </a:lnTo>
                  <a:lnTo>
                    <a:pt x="131" y="213"/>
                  </a:lnTo>
                  <a:lnTo>
                    <a:pt x="133" y="211"/>
                  </a:lnTo>
                  <a:lnTo>
                    <a:pt x="135" y="208"/>
                  </a:lnTo>
                  <a:lnTo>
                    <a:pt x="137" y="204"/>
                  </a:lnTo>
                  <a:lnTo>
                    <a:pt x="140" y="200"/>
                  </a:lnTo>
                  <a:lnTo>
                    <a:pt x="141" y="195"/>
                  </a:lnTo>
                  <a:lnTo>
                    <a:pt x="141" y="0"/>
                  </a:lnTo>
                  <a:lnTo>
                    <a:pt x="814" y="0"/>
                  </a:lnTo>
                  <a:lnTo>
                    <a:pt x="814" y="196"/>
                  </a:lnTo>
                  <a:lnTo>
                    <a:pt x="812" y="201"/>
                  </a:lnTo>
                  <a:lnTo>
                    <a:pt x="810" y="205"/>
                  </a:lnTo>
                  <a:lnTo>
                    <a:pt x="808" y="208"/>
                  </a:lnTo>
                  <a:lnTo>
                    <a:pt x="805" y="211"/>
                  </a:lnTo>
                  <a:lnTo>
                    <a:pt x="803" y="213"/>
                  </a:lnTo>
                  <a:lnTo>
                    <a:pt x="801" y="214"/>
                  </a:lnTo>
                  <a:lnTo>
                    <a:pt x="798" y="215"/>
                  </a:lnTo>
                  <a:lnTo>
                    <a:pt x="795" y="215"/>
                  </a:lnTo>
                  <a:lnTo>
                    <a:pt x="792" y="215"/>
                  </a:lnTo>
                  <a:lnTo>
                    <a:pt x="789" y="214"/>
                  </a:lnTo>
                  <a:lnTo>
                    <a:pt x="783" y="211"/>
                  </a:lnTo>
                  <a:lnTo>
                    <a:pt x="777" y="207"/>
                  </a:lnTo>
                  <a:lnTo>
                    <a:pt x="770" y="203"/>
                  </a:lnTo>
                  <a:lnTo>
                    <a:pt x="756" y="193"/>
                  </a:lnTo>
                  <a:lnTo>
                    <a:pt x="749" y="189"/>
                  </a:lnTo>
                  <a:lnTo>
                    <a:pt x="745" y="187"/>
                  </a:lnTo>
                  <a:lnTo>
                    <a:pt x="741" y="185"/>
                  </a:lnTo>
                  <a:lnTo>
                    <a:pt x="737" y="184"/>
                  </a:lnTo>
                  <a:lnTo>
                    <a:pt x="733" y="183"/>
                  </a:lnTo>
                  <a:lnTo>
                    <a:pt x="728" y="183"/>
                  </a:lnTo>
                  <a:lnTo>
                    <a:pt x="724" y="183"/>
                  </a:lnTo>
                  <a:lnTo>
                    <a:pt x="720" y="184"/>
                  </a:lnTo>
                  <a:lnTo>
                    <a:pt x="715" y="185"/>
                  </a:lnTo>
                  <a:lnTo>
                    <a:pt x="711" y="187"/>
                  </a:lnTo>
                  <a:lnTo>
                    <a:pt x="706" y="190"/>
                  </a:lnTo>
                  <a:lnTo>
                    <a:pt x="702" y="192"/>
                  </a:lnTo>
                  <a:lnTo>
                    <a:pt x="699" y="195"/>
                  </a:lnTo>
                  <a:lnTo>
                    <a:pt x="695" y="199"/>
                  </a:lnTo>
                  <a:lnTo>
                    <a:pt x="692" y="202"/>
                  </a:lnTo>
                  <a:lnTo>
                    <a:pt x="686" y="210"/>
                  </a:lnTo>
                  <a:lnTo>
                    <a:pt x="682" y="219"/>
                  </a:lnTo>
                  <a:lnTo>
                    <a:pt x="680" y="224"/>
                  </a:lnTo>
                  <a:lnTo>
                    <a:pt x="678" y="229"/>
                  </a:lnTo>
                  <a:lnTo>
                    <a:pt x="675" y="240"/>
                  </a:lnTo>
                  <a:lnTo>
                    <a:pt x="673" y="250"/>
                  </a:lnTo>
                  <a:lnTo>
                    <a:pt x="673" y="255"/>
                  </a:lnTo>
                  <a:lnTo>
                    <a:pt x="673" y="261"/>
                  </a:lnTo>
                  <a:lnTo>
                    <a:pt x="673" y="272"/>
                  </a:lnTo>
                  <a:lnTo>
                    <a:pt x="674" y="282"/>
                  </a:lnTo>
                  <a:lnTo>
                    <a:pt x="677" y="293"/>
                  </a:lnTo>
                  <a:lnTo>
                    <a:pt x="680" y="304"/>
                  </a:lnTo>
                  <a:lnTo>
                    <a:pt x="682" y="308"/>
                  </a:lnTo>
                  <a:lnTo>
                    <a:pt x="685" y="313"/>
                  </a:lnTo>
                  <a:lnTo>
                    <a:pt x="687" y="317"/>
                  </a:lnTo>
                  <a:lnTo>
                    <a:pt x="690" y="321"/>
                  </a:lnTo>
                  <a:lnTo>
                    <a:pt x="694" y="325"/>
                  </a:lnTo>
                  <a:lnTo>
                    <a:pt x="697" y="329"/>
                  </a:lnTo>
                  <a:lnTo>
                    <a:pt x="701" y="332"/>
                  </a:lnTo>
                  <a:lnTo>
                    <a:pt x="705" y="336"/>
                  </a:lnTo>
                  <a:lnTo>
                    <a:pt x="709" y="338"/>
                  </a:lnTo>
                  <a:lnTo>
                    <a:pt x="714" y="340"/>
                  </a:lnTo>
                  <a:lnTo>
                    <a:pt x="718" y="341"/>
                  </a:lnTo>
                  <a:lnTo>
                    <a:pt x="722" y="342"/>
                  </a:lnTo>
                  <a:lnTo>
                    <a:pt x="727" y="342"/>
                  </a:lnTo>
                  <a:lnTo>
                    <a:pt x="731" y="342"/>
                  </a:lnTo>
                  <a:lnTo>
                    <a:pt x="739" y="339"/>
                  </a:lnTo>
                  <a:lnTo>
                    <a:pt x="747" y="336"/>
                  </a:lnTo>
                  <a:lnTo>
                    <a:pt x="755" y="331"/>
                  </a:lnTo>
                  <a:lnTo>
                    <a:pt x="762" y="326"/>
                  </a:lnTo>
                  <a:lnTo>
                    <a:pt x="769" y="320"/>
                  </a:lnTo>
                  <a:lnTo>
                    <a:pt x="776" y="316"/>
                  </a:lnTo>
                  <a:lnTo>
                    <a:pt x="783" y="311"/>
                  </a:lnTo>
                  <a:lnTo>
                    <a:pt x="789" y="309"/>
                  </a:lnTo>
                  <a:lnTo>
                    <a:pt x="792" y="308"/>
                  </a:lnTo>
                  <a:lnTo>
                    <a:pt x="795" y="307"/>
                  </a:lnTo>
                  <a:lnTo>
                    <a:pt x="801" y="308"/>
                  </a:lnTo>
                  <a:lnTo>
                    <a:pt x="803" y="309"/>
                  </a:lnTo>
                  <a:lnTo>
                    <a:pt x="806" y="312"/>
                  </a:lnTo>
                  <a:lnTo>
                    <a:pt x="808" y="314"/>
                  </a:lnTo>
                  <a:lnTo>
                    <a:pt x="810" y="318"/>
                  </a:lnTo>
                  <a:lnTo>
                    <a:pt x="812" y="322"/>
                  </a:lnTo>
                  <a:lnTo>
                    <a:pt x="814" y="328"/>
                  </a:lnTo>
                  <a:lnTo>
                    <a:pt x="814" y="525"/>
                  </a:lnTo>
                  <a:lnTo>
                    <a:pt x="544" y="525"/>
                  </a:lnTo>
                  <a:lnTo>
                    <a:pt x="533" y="521"/>
                  </a:lnTo>
                  <a:lnTo>
                    <a:pt x="529" y="519"/>
                  </a:lnTo>
                  <a:lnTo>
                    <a:pt x="526" y="517"/>
                  </a:lnTo>
                  <a:lnTo>
                    <a:pt x="524" y="515"/>
                  </a:lnTo>
                  <a:lnTo>
                    <a:pt x="522" y="512"/>
                  </a:lnTo>
                  <a:lnTo>
                    <a:pt x="522" y="509"/>
                  </a:lnTo>
                  <a:lnTo>
                    <a:pt x="521" y="507"/>
                  </a:lnTo>
                  <a:lnTo>
                    <a:pt x="522" y="504"/>
                  </a:lnTo>
                  <a:lnTo>
                    <a:pt x="522" y="501"/>
                  </a:lnTo>
                  <a:lnTo>
                    <a:pt x="525" y="495"/>
                  </a:lnTo>
                  <a:lnTo>
                    <a:pt x="529" y="487"/>
                  </a:lnTo>
                  <a:lnTo>
                    <a:pt x="534" y="481"/>
                  </a:lnTo>
                  <a:lnTo>
                    <a:pt x="541" y="473"/>
                  </a:lnTo>
                  <a:lnTo>
                    <a:pt x="546" y="466"/>
                  </a:lnTo>
                  <a:lnTo>
                    <a:pt x="551" y="458"/>
                  </a:lnTo>
                  <a:lnTo>
                    <a:pt x="554" y="450"/>
                  </a:lnTo>
                  <a:lnTo>
                    <a:pt x="557" y="442"/>
                  </a:lnTo>
                  <a:lnTo>
                    <a:pt x="557" y="438"/>
                  </a:lnTo>
                  <a:lnTo>
                    <a:pt x="557" y="433"/>
                  </a:lnTo>
                  <a:lnTo>
                    <a:pt x="556" y="429"/>
                  </a:lnTo>
                  <a:lnTo>
                    <a:pt x="555" y="424"/>
                  </a:lnTo>
                  <a:lnTo>
                    <a:pt x="553" y="419"/>
                  </a:lnTo>
                  <a:lnTo>
                    <a:pt x="551" y="415"/>
                  </a:lnTo>
                  <a:lnTo>
                    <a:pt x="544" y="407"/>
                  </a:lnTo>
                  <a:lnTo>
                    <a:pt x="539" y="404"/>
                  </a:lnTo>
                  <a:lnTo>
                    <a:pt x="535" y="400"/>
                  </a:lnTo>
                  <a:lnTo>
                    <a:pt x="527" y="395"/>
                  </a:lnTo>
                  <a:lnTo>
                    <a:pt x="522" y="392"/>
                  </a:lnTo>
                  <a:lnTo>
                    <a:pt x="518" y="390"/>
                  </a:lnTo>
                  <a:lnTo>
                    <a:pt x="508" y="387"/>
                  </a:lnTo>
                  <a:lnTo>
                    <a:pt x="502" y="385"/>
                  </a:lnTo>
                  <a:lnTo>
                    <a:pt x="497" y="384"/>
                  </a:lnTo>
                  <a:lnTo>
                    <a:pt x="487" y="383"/>
                  </a:lnTo>
                  <a:lnTo>
                    <a:pt x="476" y="383"/>
                  </a:lnTo>
                  <a:lnTo>
                    <a:pt x="465" y="383"/>
                  </a:lnTo>
                  <a:lnTo>
                    <a:pt x="455" y="385"/>
                  </a:lnTo>
                  <a:lnTo>
                    <a:pt x="445" y="388"/>
                  </a:lnTo>
                  <a:lnTo>
                    <a:pt x="440" y="390"/>
                  </a:lnTo>
                  <a:lnTo>
                    <a:pt x="435" y="392"/>
                  </a:lnTo>
                  <a:lnTo>
                    <a:pt x="426" y="396"/>
                  </a:lnTo>
                  <a:lnTo>
                    <a:pt x="422" y="399"/>
                  </a:lnTo>
                  <a:lnTo>
                    <a:pt x="418" y="402"/>
                  </a:lnTo>
                  <a:lnTo>
                    <a:pt x="410" y="409"/>
                  </a:lnTo>
                  <a:lnTo>
                    <a:pt x="407" y="412"/>
                  </a:lnTo>
                  <a:lnTo>
                    <a:pt x="405" y="416"/>
                  </a:lnTo>
                  <a:lnTo>
                    <a:pt x="402" y="421"/>
                  </a:lnTo>
                  <a:lnTo>
                    <a:pt x="400" y="425"/>
                  </a:lnTo>
                  <a:lnTo>
                    <a:pt x="399" y="431"/>
                  </a:lnTo>
                  <a:lnTo>
                    <a:pt x="398" y="435"/>
                  </a:lnTo>
                  <a:lnTo>
                    <a:pt x="398" y="440"/>
                  </a:lnTo>
                  <a:lnTo>
                    <a:pt x="398" y="444"/>
                  </a:lnTo>
                  <a:lnTo>
                    <a:pt x="399" y="448"/>
                  </a:lnTo>
                  <a:lnTo>
                    <a:pt x="400" y="452"/>
                  </a:lnTo>
                  <a:lnTo>
                    <a:pt x="404" y="460"/>
                  </a:lnTo>
                  <a:lnTo>
                    <a:pt x="408" y="467"/>
                  </a:lnTo>
                  <a:lnTo>
                    <a:pt x="413" y="475"/>
                  </a:lnTo>
                  <a:lnTo>
                    <a:pt x="419" y="482"/>
                  </a:lnTo>
                  <a:lnTo>
                    <a:pt x="423" y="488"/>
                  </a:lnTo>
                  <a:lnTo>
                    <a:pt x="427" y="495"/>
                  </a:lnTo>
                  <a:lnTo>
                    <a:pt x="430" y="501"/>
                  </a:lnTo>
                  <a:lnTo>
                    <a:pt x="430" y="504"/>
                  </a:lnTo>
                  <a:lnTo>
                    <a:pt x="431" y="507"/>
                  </a:lnTo>
                  <a:lnTo>
                    <a:pt x="431" y="509"/>
                  </a:lnTo>
                  <a:lnTo>
                    <a:pt x="430" y="512"/>
                  </a:lnTo>
                  <a:lnTo>
                    <a:pt x="428" y="514"/>
                  </a:lnTo>
                  <a:lnTo>
                    <a:pt x="426" y="517"/>
                  </a:lnTo>
                  <a:lnTo>
                    <a:pt x="424" y="519"/>
                  </a:lnTo>
                  <a:lnTo>
                    <a:pt x="420" y="521"/>
                  </a:lnTo>
                  <a:lnTo>
                    <a:pt x="416" y="523"/>
                  </a:lnTo>
                  <a:lnTo>
                    <a:pt x="410" y="525"/>
                  </a:lnTo>
                  <a:lnTo>
                    <a:pt x="141" y="525"/>
                  </a:lnTo>
                  <a:lnTo>
                    <a:pt x="141" y="329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1" name="Freeform 36"/>
            <p:cNvSpPr>
              <a:spLocks/>
            </p:cNvSpPr>
            <p:nvPr/>
          </p:nvSpPr>
          <p:spPr bwMode="auto">
            <a:xfrm>
              <a:off x="4406900" y="1609725"/>
              <a:ext cx="1000125" cy="695325"/>
            </a:xfrm>
            <a:custGeom>
              <a:avLst/>
              <a:gdLst>
                <a:gd name="T0" fmla="*/ 2147483647 w 817"/>
                <a:gd name="T1" fmla="*/ 2147483647 h 525"/>
                <a:gd name="T2" fmla="*/ 2147483647 w 817"/>
                <a:gd name="T3" fmla="*/ 2147483647 h 525"/>
                <a:gd name="T4" fmla="*/ 2147483647 w 817"/>
                <a:gd name="T5" fmla="*/ 2147483647 h 525"/>
                <a:gd name="T6" fmla="*/ 2147483647 w 817"/>
                <a:gd name="T7" fmla="*/ 2147483647 h 525"/>
                <a:gd name="T8" fmla="*/ 2147483647 w 817"/>
                <a:gd name="T9" fmla="*/ 2147483647 h 525"/>
                <a:gd name="T10" fmla="*/ 2147483647 w 817"/>
                <a:gd name="T11" fmla="*/ 2147483647 h 525"/>
                <a:gd name="T12" fmla="*/ 2147483647 w 817"/>
                <a:gd name="T13" fmla="*/ 2147483647 h 525"/>
                <a:gd name="T14" fmla="*/ 2147483647 w 817"/>
                <a:gd name="T15" fmla="*/ 2147483647 h 525"/>
                <a:gd name="T16" fmla="*/ 2147483647 w 817"/>
                <a:gd name="T17" fmla="*/ 2147483647 h 525"/>
                <a:gd name="T18" fmla="*/ 2147483647 w 817"/>
                <a:gd name="T19" fmla="*/ 2147483647 h 525"/>
                <a:gd name="T20" fmla="*/ 2147483647 w 817"/>
                <a:gd name="T21" fmla="*/ 2147483647 h 525"/>
                <a:gd name="T22" fmla="*/ 2147483647 w 817"/>
                <a:gd name="T23" fmla="*/ 2147483647 h 525"/>
                <a:gd name="T24" fmla="*/ 2147483647 w 817"/>
                <a:gd name="T25" fmla="*/ 2147483647 h 525"/>
                <a:gd name="T26" fmla="*/ 2147483647 w 817"/>
                <a:gd name="T27" fmla="*/ 2147483647 h 525"/>
                <a:gd name="T28" fmla="*/ 2147483647 w 817"/>
                <a:gd name="T29" fmla="*/ 2147483647 h 525"/>
                <a:gd name="T30" fmla="*/ 2147483647 w 817"/>
                <a:gd name="T31" fmla="*/ 2147483647 h 525"/>
                <a:gd name="T32" fmla="*/ 2147483647 w 817"/>
                <a:gd name="T33" fmla="*/ 2147483647 h 525"/>
                <a:gd name="T34" fmla="*/ 2147483647 w 817"/>
                <a:gd name="T35" fmla="*/ 2147483647 h 525"/>
                <a:gd name="T36" fmla="*/ 2147483647 w 817"/>
                <a:gd name="T37" fmla="*/ 2147483647 h 525"/>
                <a:gd name="T38" fmla="*/ 2147483647 w 817"/>
                <a:gd name="T39" fmla="*/ 2147483647 h 525"/>
                <a:gd name="T40" fmla="*/ 2147483647 w 817"/>
                <a:gd name="T41" fmla="*/ 2147483647 h 525"/>
                <a:gd name="T42" fmla="*/ 2147483647 w 817"/>
                <a:gd name="T43" fmla="*/ 2147483647 h 525"/>
                <a:gd name="T44" fmla="*/ 2147483647 w 817"/>
                <a:gd name="T45" fmla="*/ 2147483647 h 525"/>
                <a:gd name="T46" fmla="*/ 2147483647 w 817"/>
                <a:gd name="T47" fmla="*/ 2147483647 h 525"/>
                <a:gd name="T48" fmla="*/ 2147483647 w 817"/>
                <a:gd name="T49" fmla="*/ 2147483647 h 525"/>
                <a:gd name="T50" fmla="*/ 2147483647 w 817"/>
                <a:gd name="T51" fmla="*/ 2147483647 h 525"/>
                <a:gd name="T52" fmla="*/ 2147483647 w 817"/>
                <a:gd name="T53" fmla="*/ 2147483647 h 525"/>
                <a:gd name="T54" fmla="*/ 2147483647 w 817"/>
                <a:gd name="T55" fmla="*/ 2147483647 h 525"/>
                <a:gd name="T56" fmla="*/ 2147483647 w 817"/>
                <a:gd name="T57" fmla="*/ 2147483647 h 525"/>
                <a:gd name="T58" fmla="*/ 2147483647 w 817"/>
                <a:gd name="T59" fmla="*/ 2147483647 h 525"/>
                <a:gd name="T60" fmla="*/ 2147483647 w 817"/>
                <a:gd name="T61" fmla="*/ 2147483647 h 525"/>
                <a:gd name="T62" fmla="*/ 2147483647 w 817"/>
                <a:gd name="T63" fmla="*/ 2147483647 h 525"/>
                <a:gd name="T64" fmla="*/ 2147483647 w 817"/>
                <a:gd name="T65" fmla="*/ 2147483647 h 525"/>
                <a:gd name="T66" fmla="*/ 2147483647 w 817"/>
                <a:gd name="T67" fmla="*/ 2147483647 h 525"/>
                <a:gd name="T68" fmla="*/ 2147483647 w 817"/>
                <a:gd name="T69" fmla="*/ 2147483647 h 525"/>
                <a:gd name="T70" fmla="*/ 0 w 817"/>
                <a:gd name="T71" fmla="*/ 2147483647 h 525"/>
                <a:gd name="T72" fmla="*/ 2147483647 w 817"/>
                <a:gd name="T73" fmla="*/ 2147483647 h 525"/>
                <a:gd name="T74" fmla="*/ 2147483647 w 817"/>
                <a:gd name="T75" fmla="*/ 2147483647 h 525"/>
                <a:gd name="T76" fmla="*/ 2147483647 w 817"/>
                <a:gd name="T77" fmla="*/ 2147483647 h 525"/>
                <a:gd name="T78" fmla="*/ 2147483647 w 817"/>
                <a:gd name="T79" fmla="*/ 2147483647 h 525"/>
                <a:gd name="T80" fmla="*/ 2147483647 w 817"/>
                <a:gd name="T81" fmla="*/ 2147483647 h 525"/>
                <a:gd name="T82" fmla="*/ 2147483647 w 817"/>
                <a:gd name="T83" fmla="*/ 2147483647 h 525"/>
                <a:gd name="T84" fmla="*/ 2147483647 w 817"/>
                <a:gd name="T85" fmla="*/ 2147483647 h 525"/>
                <a:gd name="T86" fmla="*/ 2147483647 w 817"/>
                <a:gd name="T87" fmla="*/ 2147483647 h 525"/>
                <a:gd name="T88" fmla="*/ 2147483647 w 817"/>
                <a:gd name="T89" fmla="*/ 2147483647 h 525"/>
                <a:gd name="T90" fmla="*/ 2147483647 w 817"/>
                <a:gd name="T91" fmla="*/ 2147483647 h 525"/>
                <a:gd name="T92" fmla="*/ 2147483647 w 817"/>
                <a:gd name="T93" fmla="*/ 2147483647 h 525"/>
                <a:gd name="T94" fmla="*/ 2147483647 w 817"/>
                <a:gd name="T95" fmla="*/ 2147483647 h 525"/>
                <a:gd name="T96" fmla="*/ 2147483647 w 817"/>
                <a:gd name="T97" fmla="*/ 2147483647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7"/>
                <a:gd name="T148" fmla="*/ 0 h 525"/>
                <a:gd name="T149" fmla="*/ 817 w 817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7" h="525">
                  <a:moveTo>
                    <a:pt x="817" y="525"/>
                  </a:moveTo>
                  <a:lnTo>
                    <a:pt x="546" y="525"/>
                  </a:lnTo>
                  <a:lnTo>
                    <a:pt x="538" y="522"/>
                  </a:lnTo>
                  <a:lnTo>
                    <a:pt x="532" y="520"/>
                  </a:lnTo>
                  <a:lnTo>
                    <a:pt x="528" y="516"/>
                  </a:lnTo>
                  <a:lnTo>
                    <a:pt x="527" y="515"/>
                  </a:lnTo>
                  <a:lnTo>
                    <a:pt x="525" y="513"/>
                  </a:lnTo>
                  <a:lnTo>
                    <a:pt x="524" y="510"/>
                  </a:lnTo>
                  <a:lnTo>
                    <a:pt x="523" y="506"/>
                  </a:lnTo>
                  <a:lnTo>
                    <a:pt x="524" y="502"/>
                  </a:lnTo>
                  <a:lnTo>
                    <a:pt x="525" y="498"/>
                  </a:lnTo>
                  <a:lnTo>
                    <a:pt x="530" y="489"/>
                  </a:lnTo>
                  <a:lnTo>
                    <a:pt x="537" y="479"/>
                  </a:lnTo>
                  <a:lnTo>
                    <a:pt x="547" y="466"/>
                  </a:lnTo>
                  <a:lnTo>
                    <a:pt x="551" y="458"/>
                  </a:lnTo>
                  <a:lnTo>
                    <a:pt x="554" y="451"/>
                  </a:lnTo>
                  <a:lnTo>
                    <a:pt x="556" y="445"/>
                  </a:lnTo>
                  <a:lnTo>
                    <a:pt x="557" y="442"/>
                  </a:lnTo>
                  <a:lnTo>
                    <a:pt x="558" y="438"/>
                  </a:lnTo>
                  <a:lnTo>
                    <a:pt x="558" y="432"/>
                  </a:lnTo>
                  <a:lnTo>
                    <a:pt x="556" y="425"/>
                  </a:lnTo>
                  <a:lnTo>
                    <a:pt x="556" y="422"/>
                  </a:lnTo>
                  <a:lnTo>
                    <a:pt x="555" y="420"/>
                  </a:lnTo>
                  <a:lnTo>
                    <a:pt x="553" y="416"/>
                  </a:lnTo>
                  <a:lnTo>
                    <a:pt x="550" y="412"/>
                  </a:lnTo>
                  <a:lnTo>
                    <a:pt x="548" y="408"/>
                  </a:lnTo>
                  <a:lnTo>
                    <a:pt x="544" y="405"/>
                  </a:lnTo>
                  <a:lnTo>
                    <a:pt x="541" y="402"/>
                  </a:lnTo>
                  <a:lnTo>
                    <a:pt x="532" y="396"/>
                  </a:lnTo>
                  <a:lnTo>
                    <a:pt x="528" y="393"/>
                  </a:lnTo>
                  <a:lnTo>
                    <a:pt x="523" y="391"/>
                  </a:lnTo>
                  <a:lnTo>
                    <a:pt x="518" y="389"/>
                  </a:lnTo>
                  <a:lnTo>
                    <a:pt x="512" y="387"/>
                  </a:lnTo>
                  <a:lnTo>
                    <a:pt x="501" y="384"/>
                  </a:lnTo>
                  <a:lnTo>
                    <a:pt x="494" y="383"/>
                  </a:lnTo>
                  <a:lnTo>
                    <a:pt x="489" y="383"/>
                  </a:lnTo>
                  <a:lnTo>
                    <a:pt x="477" y="382"/>
                  </a:lnTo>
                  <a:lnTo>
                    <a:pt x="465" y="383"/>
                  </a:lnTo>
                  <a:lnTo>
                    <a:pt x="453" y="385"/>
                  </a:lnTo>
                  <a:lnTo>
                    <a:pt x="442" y="388"/>
                  </a:lnTo>
                  <a:lnTo>
                    <a:pt x="436" y="391"/>
                  </a:lnTo>
                  <a:lnTo>
                    <a:pt x="431" y="393"/>
                  </a:lnTo>
                  <a:lnTo>
                    <a:pt x="426" y="396"/>
                  </a:lnTo>
                  <a:lnTo>
                    <a:pt x="422" y="399"/>
                  </a:lnTo>
                  <a:lnTo>
                    <a:pt x="417" y="403"/>
                  </a:lnTo>
                  <a:lnTo>
                    <a:pt x="413" y="407"/>
                  </a:lnTo>
                  <a:lnTo>
                    <a:pt x="410" y="411"/>
                  </a:lnTo>
                  <a:lnTo>
                    <a:pt x="406" y="416"/>
                  </a:lnTo>
                  <a:lnTo>
                    <a:pt x="404" y="420"/>
                  </a:lnTo>
                  <a:lnTo>
                    <a:pt x="402" y="425"/>
                  </a:lnTo>
                  <a:lnTo>
                    <a:pt x="400" y="431"/>
                  </a:lnTo>
                  <a:lnTo>
                    <a:pt x="400" y="435"/>
                  </a:lnTo>
                  <a:lnTo>
                    <a:pt x="400" y="439"/>
                  </a:lnTo>
                  <a:lnTo>
                    <a:pt x="400" y="444"/>
                  </a:lnTo>
                  <a:lnTo>
                    <a:pt x="401" y="448"/>
                  </a:lnTo>
                  <a:lnTo>
                    <a:pt x="402" y="452"/>
                  </a:lnTo>
                  <a:lnTo>
                    <a:pt x="406" y="460"/>
                  </a:lnTo>
                  <a:lnTo>
                    <a:pt x="410" y="468"/>
                  </a:lnTo>
                  <a:lnTo>
                    <a:pt x="415" y="475"/>
                  </a:lnTo>
                  <a:lnTo>
                    <a:pt x="420" y="482"/>
                  </a:lnTo>
                  <a:lnTo>
                    <a:pt x="424" y="488"/>
                  </a:lnTo>
                  <a:lnTo>
                    <a:pt x="428" y="495"/>
                  </a:lnTo>
                  <a:lnTo>
                    <a:pt x="431" y="501"/>
                  </a:lnTo>
                  <a:lnTo>
                    <a:pt x="431" y="504"/>
                  </a:lnTo>
                  <a:lnTo>
                    <a:pt x="432" y="507"/>
                  </a:lnTo>
                  <a:lnTo>
                    <a:pt x="431" y="509"/>
                  </a:lnTo>
                  <a:lnTo>
                    <a:pt x="430" y="512"/>
                  </a:lnTo>
                  <a:lnTo>
                    <a:pt x="429" y="514"/>
                  </a:lnTo>
                  <a:lnTo>
                    <a:pt x="427" y="517"/>
                  </a:lnTo>
                  <a:lnTo>
                    <a:pt x="424" y="519"/>
                  </a:lnTo>
                  <a:lnTo>
                    <a:pt x="420" y="521"/>
                  </a:lnTo>
                  <a:lnTo>
                    <a:pt x="416" y="523"/>
                  </a:lnTo>
                  <a:lnTo>
                    <a:pt x="411" y="525"/>
                  </a:lnTo>
                  <a:lnTo>
                    <a:pt x="141" y="525"/>
                  </a:lnTo>
                  <a:lnTo>
                    <a:pt x="141" y="327"/>
                  </a:lnTo>
                  <a:lnTo>
                    <a:pt x="137" y="317"/>
                  </a:lnTo>
                  <a:lnTo>
                    <a:pt x="132" y="311"/>
                  </a:lnTo>
                  <a:lnTo>
                    <a:pt x="130" y="309"/>
                  </a:lnTo>
                  <a:lnTo>
                    <a:pt x="128" y="308"/>
                  </a:lnTo>
                  <a:lnTo>
                    <a:pt x="125" y="307"/>
                  </a:lnTo>
                  <a:lnTo>
                    <a:pt x="122" y="307"/>
                  </a:lnTo>
                  <a:lnTo>
                    <a:pt x="119" y="308"/>
                  </a:lnTo>
                  <a:lnTo>
                    <a:pt x="116" y="309"/>
                  </a:lnTo>
                  <a:lnTo>
                    <a:pt x="110" y="312"/>
                  </a:lnTo>
                  <a:lnTo>
                    <a:pt x="103" y="316"/>
                  </a:lnTo>
                  <a:lnTo>
                    <a:pt x="96" y="321"/>
                  </a:lnTo>
                  <a:lnTo>
                    <a:pt x="82" y="331"/>
                  </a:lnTo>
                  <a:lnTo>
                    <a:pt x="78" y="333"/>
                  </a:lnTo>
                  <a:lnTo>
                    <a:pt x="74" y="336"/>
                  </a:lnTo>
                  <a:lnTo>
                    <a:pt x="70" y="338"/>
                  </a:lnTo>
                  <a:lnTo>
                    <a:pt x="66" y="339"/>
                  </a:lnTo>
                  <a:lnTo>
                    <a:pt x="58" y="342"/>
                  </a:lnTo>
                  <a:lnTo>
                    <a:pt x="54" y="342"/>
                  </a:lnTo>
                  <a:lnTo>
                    <a:pt x="49" y="342"/>
                  </a:lnTo>
                  <a:lnTo>
                    <a:pt x="45" y="341"/>
                  </a:lnTo>
                  <a:lnTo>
                    <a:pt x="41" y="340"/>
                  </a:lnTo>
                  <a:lnTo>
                    <a:pt x="37" y="338"/>
                  </a:lnTo>
                  <a:lnTo>
                    <a:pt x="32" y="336"/>
                  </a:lnTo>
                  <a:lnTo>
                    <a:pt x="24" y="329"/>
                  </a:lnTo>
                  <a:lnTo>
                    <a:pt x="21" y="325"/>
                  </a:lnTo>
                  <a:lnTo>
                    <a:pt x="17" y="321"/>
                  </a:lnTo>
                  <a:lnTo>
                    <a:pt x="12" y="313"/>
                  </a:lnTo>
                  <a:lnTo>
                    <a:pt x="9" y="308"/>
                  </a:lnTo>
                  <a:lnTo>
                    <a:pt x="7" y="304"/>
                  </a:lnTo>
                  <a:lnTo>
                    <a:pt x="4" y="293"/>
                  </a:lnTo>
                  <a:lnTo>
                    <a:pt x="2" y="287"/>
                  </a:lnTo>
                  <a:lnTo>
                    <a:pt x="1" y="282"/>
                  </a:lnTo>
                  <a:lnTo>
                    <a:pt x="0" y="272"/>
                  </a:lnTo>
                  <a:lnTo>
                    <a:pt x="0" y="261"/>
                  </a:lnTo>
                  <a:lnTo>
                    <a:pt x="1" y="250"/>
                  </a:lnTo>
                  <a:lnTo>
                    <a:pt x="2" y="240"/>
                  </a:lnTo>
                  <a:lnTo>
                    <a:pt x="5" y="229"/>
                  </a:lnTo>
                  <a:lnTo>
                    <a:pt x="7" y="224"/>
                  </a:lnTo>
                  <a:lnTo>
                    <a:pt x="9" y="219"/>
                  </a:lnTo>
                  <a:lnTo>
                    <a:pt x="14" y="210"/>
                  </a:lnTo>
                  <a:lnTo>
                    <a:pt x="16" y="206"/>
                  </a:lnTo>
                  <a:lnTo>
                    <a:pt x="19" y="202"/>
                  </a:lnTo>
                  <a:lnTo>
                    <a:pt x="26" y="195"/>
                  </a:lnTo>
                  <a:lnTo>
                    <a:pt x="29" y="192"/>
                  </a:lnTo>
                  <a:lnTo>
                    <a:pt x="33" y="190"/>
                  </a:lnTo>
                  <a:lnTo>
                    <a:pt x="38" y="187"/>
                  </a:lnTo>
                  <a:lnTo>
                    <a:pt x="42" y="185"/>
                  </a:lnTo>
                  <a:lnTo>
                    <a:pt x="47" y="184"/>
                  </a:lnTo>
                  <a:lnTo>
                    <a:pt x="51" y="183"/>
                  </a:lnTo>
                  <a:lnTo>
                    <a:pt x="56" y="183"/>
                  </a:lnTo>
                  <a:lnTo>
                    <a:pt x="60" y="183"/>
                  </a:lnTo>
                  <a:lnTo>
                    <a:pt x="64" y="184"/>
                  </a:lnTo>
                  <a:lnTo>
                    <a:pt x="68" y="185"/>
                  </a:lnTo>
                  <a:lnTo>
                    <a:pt x="76" y="189"/>
                  </a:lnTo>
                  <a:lnTo>
                    <a:pt x="83" y="193"/>
                  </a:lnTo>
                  <a:lnTo>
                    <a:pt x="91" y="198"/>
                  </a:lnTo>
                  <a:lnTo>
                    <a:pt x="97" y="203"/>
                  </a:lnTo>
                  <a:lnTo>
                    <a:pt x="104" y="207"/>
                  </a:lnTo>
                  <a:lnTo>
                    <a:pt x="110" y="211"/>
                  </a:lnTo>
                  <a:lnTo>
                    <a:pt x="116" y="214"/>
                  </a:lnTo>
                  <a:lnTo>
                    <a:pt x="119" y="215"/>
                  </a:lnTo>
                  <a:lnTo>
                    <a:pt x="122" y="215"/>
                  </a:lnTo>
                  <a:lnTo>
                    <a:pt x="125" y="215"/>
                  </a:lnTo>
                  <a:lnTo>
                    <a:pt x="128" y="214"/>
                  </a:lnTo>
                  <a:lnTo>
                    <a:pt x="130" y="213"/>
                  </a:lnTo>
                  <a:lnTo>
                    <a:pt x="132" y="211"/>
                  </a:lnTo>
                  <a:lnTo>
                    <a:pt x="137" y="205"/>
                  </a:lnTo>
                  <a:lnTo>
                    <a:pt x="139" y="201"/>
                  </a:lnTo>
                  <a:lnTo>
                    <a:pt x="141" y="196"/>
                  </a:lnTo>
                  <a:lnTo>
                    <a:pt x="141" y="0"/>
                  </a:lnTo>
                  <a:lnTo>
                    <a:pt x="817" y="0"/>
                  </a:lnTo>
                  <a:lnTo>
                    <a:pt x="817" y="525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2063552" y="3828659"/>
            <a:ext cx="1827212" cy="1830387"/>
            <a:chOff x="6119813" y="3960813"/>
            <a:chExt cx="1827212" cy="1830387"/>
          </a:xfrm>
        </p:grpSpPr>
        <p:sp>
          <p:nvSpPr>
            <p:cNvPr id="72" name="Freeform 2"/>
            <p:cNvSpPr>
              <a:spLocks/>
            </p:cNvSpPr>
            <p:nvPr/>
          </p:nvSpPr>
          <p:spPr bwMode="auto">
            <a:xfrm>
              <a:off x="6121400" y="4437063"/>
              <a:ext cx="739775" cy="746125"/>
            </a:xfrm>
            <a:custGeom>
              <a:avLst/>
              <a:gdLst>
                <a:gd name="T0" fmla="*/ 0 w 837"/>
                <a:gd name="T1" fmla="*/ 2147483647 h 842"/>
                <a:gd name="T2" fmla="*/ 2147483647 w 837"/>
                <a:gd name="T3" fmla="*/ 2147483647 h 842"/>
                <a:gd name="T4" fmla="*/ 2147483647 w 837"/>
                <a:gd name="T5" fmla="*/ 2147483647 h 842"/>
                <a:gd name="T6" fmla="*/ 2147483647 w 837"/>
                <a:gd name="T7" fmla="*/ 0 h 842"/>
                <a:gd name="T8" fmla="*/ 2147483647 w 837"/>
                <a:gd name="T9" fmla="*/ 2147483647 h 842"/>
                <a:gd name="T10" fmla="*/ 2147483647 w 837"/>
                <a:gd name="T11" fmla="*/ 2147483647 h 842"/>
                <a:gd name="T12" fmla="*/ 2147483647 w 837"/>
                <a:gd name="T13" fmla="*/ 2147483647 h 842"/>
                <a:gd name="T14" fmla="*/ 2147483647 w 837"/>
                <a:gd name="T15" fmla="*/ 2147483647 h 842"/>
                <a:gd name="T16" fmla="*/ 2147483647 w 837"/>
                <a:gd name="T17" fmla="*/ 2147483647 h 842"/>
                <a:gd name="T18" fmla="*/ 2147483647 w 837"/>
                <a:gd name="T19" fmla="*/ 2147483647 h 842"/>
                <a:gd name="T20" fmla="*/ 2147483647 w 837"/>
                <a:gd name="T21" fmla="*/ 2147483647 h 842"/>
                <a:gd name="T22" fmla="*/ 2147483647 w 837"/>
                <a:gd name="T23" fmla="*/ 2147483647 h 842"/>
                <a:gd name="T24" fmla="*/ 2147483647 w 837"/>
                <a:gd name="T25" fmla="*/ 2147483647 h 842"/>
                <a:gd name="T26" fmla="*/ 2147483647 w 837"/>
                <a:gd name="T27" fmla="*/ 2147483647 h 842"/>
                <a:gd name="T28" fmla="*/ 2147483647 w 837"/>
                <a:gd name="T29" fmla="*/ 2147483647 h 842"/>
                <a:gd name="T30" fmla="*/ 2147483647 w 837"/>
                <a:gd name="T31" fmla="*/ 2147483647 h 842"/>
                <a:gd name="T32" fmla="*/ 2147483647 w 837"/>
                <a:gd name="T33" fmla="*/ 2147483647 h 842"/>
                <a:gd name="T34" fmla="*/ 2147483647 w 837"/>
                <a:gd name="T35" fmla="*/ 2147483647 h 842"/>
                <a:gd name="T36" fmla="*/ 0 w 837"/>
                <a:gd name="T37" fmla="*/ 2147483647 h 842"/>
                <a:gd name="T38" fmla="*/ 0 w 837"/>
                <a:gd name="T39" fmla="*/ 2147483647 h 8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37"/>
                <a:gd name="T61" fmla="*/ 0 h 842"/>
                <a:gd name="T62" fmla="*/ 837 w 837"/>
                <a:gd name="T63" fmla="*/ 842 h 84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37" h="842">
                  <a:moveTo>
                    <a:pt x="0" y="151"/>
                  </a:moveTo>
                  <a:cubicBezTo>
                    <a:pt x="77" y="151"/>
                    <a:pt x="164" y="151"/>
                    <a:pt x="278" y="151"/>
                  </a:cubicBezTo>
                  <a:cubicBezTo>
                    <a:pt x="330" y="129"/>
                    <a:pt x="264" y="129"/>
                    <a:pt x="260" y="73"/>
                  </a:cubicBezTo>
                  <a:cubicBezTo>
                    <a:pt x="256" y="17"/>
                    <a:pt x="285" y="0"/>
                    <a:pt x="337" y="0"/>
                  </a:cubicBezTo>
                  <a:cubicBezTo>
                    <a:pt x="389" y="0"/>
                    <a:pt x="426" y="2"/>
                    <a:pt x="424" y="61"/>
                  </a:cubicBezTo>
                  <a:cubicBezTo>
                    <a:pt x="422" y="120"/>
                    <a:pt x="370" y="115"/>
                    <a:pt x="400" y="151"/>
                  </a:cubicBezTo>
                  <a:cubicBezTo>
                    <a:pt x="440" y="151"/>
                    <a:pt x="597" y="153"/>
                    <a:pt x="687" y="151"/>
                  </a:cubicBezTo>
                  <a:cubicBezTo>
                    <a:pt x="687" y="151"/>
                    <a:pt x="685" y="387"/>
                    <a:pt x="685" y="436"/>
                  </a:cubicBezTo>
                  <a:cubicBezTo>
                    <a:pt x="717" y="471"/>
                    <a:pt x="726" y="413"/>
                    <a:pt x="770" y="410"/>
                  </a:cubicBezTo>
                  <a:cubicBezTo>
                    <a:pt x="814" y="407"/>
                    <a:pt x="837" y="446"/>
                    <a:pt x="837" y="497"/>
                  </a:cubicBezTo>
                  <a:cubicBezTo>
                    <a:pt x="837" y="548"/>
                    <a:pt x="815" y="579"/>
                    <a:pt x="772" y="579"/>
                  </a:cubicBezTo>
                  <a:cubicBezTo>
                    <a:pt x="729" y="579"/>
                    <a:pt x="727" y="526"/>
                    <a:pt x="685" y="548"/>
                  </a:cubicBezTo>
                  <a:cubicBezTo>
                    <a:pt x="685" y="689"/>
                    <a:pt x="685" y="783"/>
                    <a:pt x="685" y="842"/>
                  </a:cubicBezTo>
                  <a:cubicBezTo>
                    <a:pt x="619" y="842"/>
                    <a:pt x="439" y="842"/>
                    <a:pt x="397" y="842"/>
                  </a:cubicBezTo>
                  <a:cubicBezTo>
                    <a:pt x="359" y="804"/>
                    <a:pt x="422" y="795"/>
                    <a:pt x="422" y="760"/>
                  </a:cubicBezTo>
                  <a:cubicBezTo>
                    <a:pt x="422" y="725"/>
                    <a:pt x="405" y="689"/>
                    <a:pt x="343" y="690"/>
                  </a:cubicBezTo>
                  <a:cubicBezTo>
                    <a:pt x="281" y="691"/>
                    <a:pt x="269" y="718"/>
                    <a:pt x="267" y="752"/>
                  </a:cubicBezTo>
                  <a:cubicBezTo>
                    <a:pt x="265" y="786"/>
                    <a:pt x="341" y="816"/>
                    <a:pt x="286" y="840"/>
                  </a:cubicBezTo>
                  <a:cubicBezTo>
                    <a:pt x="142" y="840"/>
                    <a:pt x="14" y="839"/>
                    <a:pt x="0" y="840"/>
                  </a:cubicBezTo>
                  <a:cubicBezTo>
                    <a:pt x="1" y="726"/>
                    <a:pt x="1" y="287"/>
                    <a:pt x="0" y="151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3" name="Freeform 37"/>
            <p:cNvSpPr>
              <a:spLocks/>
            </p:cNvSpPr>
            <p:nvPr/>
          </p:nvSpPr>
          <p:spPr bwMode="auto">
            <a:xfrm>
              <a:off x="6726238" y="4568825"/>
              <a:ext cx="609600" cy="744538"/>
            </a:xfrm>
            <a:custGeom>
              <a:avLst/>
              <a:gdLst>
                <a:gd name="T0" fmla="*/ 2147483647 w 689"/>
                <a:gd name="T1" fmla="*/ 0 h 840"/>
                <a:gd name="T2" fmla="*/ 2147483647 w 689"/>
                <a:gd name="T3" fmla="*/ 2147483647 h 840"/>
                <a:gd name="T4" fmla="*/ 2147483647 w 689"/>
                <a:gd name="T5" fmla="*/ 2147483647 h 840"/>
                <a:gd name="T6" fmla="*/ 2147483647 w 689"/>
                <a:gd name="T7" fmla="*/ 2147483647 h 840"/>
                <a:gd name="T8" fmla="*/ 2147483647 w 689"/>
                <a:gd name="T9" fmla="*/ 2147483647 h 840"/>
                <a:gd name="T10" fmla="*/ 2147483647 w 689"/>
                <a:gd name="T11" fmla="*/ 2147483647 h 840"/>
                <a:gd name="T12" fmla="*/ 2147483647 w 689"/>
                <a:gd name="T13" fmla="*/ 2147483647 h 840"/>
                <a:gd name="T14" fmla="*/ 2147483647 w 689"/>
                <a:gd name="T15" fmla="*/ 2147483647 h 840"/>
                <a:gd name="T16" fmla="*/ 2147483647 w 689"/>
                <a:gd name="T17" fmla="*/ 2147483647 h 840"/>
                <a:gd name="T18" fmla="*/ 2147483647 w 689"/>
                <a:gd name="T19" fmla="*/ 2147483647 h 840"/>
                <a:gd name="T20" fmla="*/ 2147483647 w 689"/>
                <a:gd name="T21" fmla="*/ 2147483647 h 840"/>
                <a:gd name="T22" fmla="*/ 2147483647 w 689"/>
                <a:gd name="T23" fmla="*/ 2147483647 h 840"/>
                <a:gd name="T24" fmla="*/ 2147483647 w 689"/>
                <a:gd name="T25" fmla="*/ 2147483647 h 840"/>
                <a:gd name="T26" fmla="*/ 2147483647 w 689"/>
                <a:gd name="T27" fmla="*/ 2147483647 h 840"/>
                <a:gd name="T28" fmla="*/ 2147483647 w 689"/>
                <a:gd name="T29" fmla="*/ 2147483647 h 840"/>
                <a:gd name="T30" fmla="*/ 2147483647 w 689"/>
                <a:gd name="T31" fmla="*/ 0 h 840"/>
                <a:gd name="T32" fmla="*/ 2147483647 w 689"/>
                <a:gd name="T33" fmla="*/ 2147483647 h 840"/>
                <a:gd name="T34" fmla="*/ 2147483647 w 689"/>
                <a:gd name="T35" fmla="*/ 2147483647 h 840"/>
                <a:gd name="T36" fmla="*/ 2147483647 w 689"/>
                <a:gd name="T37" fmla="*/ 2147483647 h 840"/>
                <a:gd name="T38" fmla="*/ 2147483647 w 689"/>
                <a:gd name="T39" fmla="*/ 2147483647 h 840"/>
                <a:gd name="T40" fmla="*/ 2147483647 w 689"/>
                <a:gd name="T41" fmla="*/ 2147483647 h 840"/>
                <a:gd name="T42" fmla="*/ 2147483647 w 689"/>
                <a:gd name="T43" fmla="*/ 2147483647 h 840"/>
                <a:gd name="T44" fmla="*/ 2147483647 w 689"/>
                <a:gd name="T45" fmla="*/ 2147483647 h 840"/>
                <a:gd name="T46" fmla="*/ 2147483647 w 689"/>
                <a:gd name="T47" fmla="*/ 2147483647 h 840"/>
                <a:gd name="T48" fmla="*/ 2147483647 w 689"/>
                <a:gd name="T49" fmla="*/ 2147483647 h 840"/>
                <a:gd name="T50" fmla="*/ 2147483647 w 689"/>
                <a:gd name="T51" fmla="*/ 2147483647 h 840"/>
                <a:gd name="T52" fmla="*/ 2147483647 w 689"/>
                <a:gd name="T53" fmla="*/ 2147483647 h 840"/>
                <a:gd name="T54" fmla="*/ 2147483647 w 689"/>
                <a:gd name="T55" fmla="*/ 2147483647 h 840"/>
                <a:gd name="T56" fmla="*/ 2147483647 w 689"/>
                <a:gd name="T57" fmla="*/ 2147483647 h 840"/>
                <a:gd name="T58" fmla="*/ 2147483647 w 689"/>
                <a:gd name="T59" fmla="*/ 2147483647 h 840"/>
                <a:gd name="T60" fmla="*/ 2147483647 w 689"/>
                <a:gd name="T61" fmla="*/ 2147483647 h 840"/>
                <a:gd name="T62" fmla="*/ 2147483647 w 689"/>
                <a:gd name="T63" fmla="*/ 2147483647 h 840"/>
                <a:gd name="T64" fmla="*/ 2147483647 w 689"/>
                <a:gd name="T65" fmla="*/ 2147483647 h 840"/>
                <a:gd name="T66" fmla="*/ 2147483647 w 689"/>
                <a:gd name="T67" fmla="*/ 2147483647 h 840"/>
                <a:gd name="T68" fmla="*/ 2147483647 w 689"/>
                <a:gd name="T69" fmla="*/ 2147483647 h 840"/>
                <a:gd name="T70" fmla="*/ 2147483647 w 689"/>
                <a:gd name="T71" fmla="*/ 2147483647 h 840"/>
                <a:gd name="T72" fmla="*/ 2147483647 w 689"/>
                <a:gd name="T73" fmla="*/ 2147483647 h 840"/>
                <a:gd name="T74" fmla="*/ 2147483647 w 689"/>
                <a:gd name="T75" fmla="*/ 2147483647 h 840"/>
                <a:gd name="T76" fmla="*/ 2147483647 w 689"/>
                <a:gd name="T77" fmla="*/ 2147483647 h 840"/>
                <a:gd name="T78" fmla="*/ 2147483647 w 689"/>
                <a:gd name="T79" fmla="*/ 2147483647 h 840"/>
                <a:gd name="T80" fmla="*/ 2147483647 w 689"/>
                <a:gd name="T81" fmla="*/ 2147483647 h 840"/>
                <a:gd name="T82" fmla="*/ 2147483647 w 689"/>
                <a:gd name="T83" fmla="*/ 2147483647 h 840"/>
                <a:gd name="T84" fmla="*/ 2147483647 w 689"/>
                <a:gd name="T85" fmla="*/ 2147483647 h 840"/>
                <a:gd name="T86" fmla="*/ 2147483647 w 689"/>
                <a:gd name="T87" fmla="*/ 2147483647 h 840"/>
                <a:gd name="T88" fmla="*/ 2147483647 w 689"/>
                <a:gd name="T89" fmla="*/ 2147483647 h 840"/>
                <a:gd name="T90" fmla="*/ 0 w 689"/>
                <a:gd name="T91" fmla="*/ 2147483647 h 840"/>
                <a:gd name="T92" fmla="*/ 2147483647 w 689"/>
                <a:gd name="T93" fmla="*/ 2147483647 h 840"/>
                <a:gd name="T94" fmla="*/ 2147483647 w 689"/>
                <a:gd name="T95" fmla="*/ 2147483647 h 840"/>
                <a:gd name="T96" fmla="*/ 2147483647 w 689"/>
                <a:gd name="T97" fmla="*/ 2147483647 h 840"/>
                <a:gd name="T98" fmla="*/ 2147483647 w 689"/>
                <a:gd name="T99" fmla="*/ 2147483647 h 840"/>
                <a:gd name="T100" fmla="*/ 2147483647 w 689"/>
                <a:gd name="T101" fmla="*/ 2147483647 h 840"/>
                <a:gd name="T102" fmla="*/ 2147483647 w 689"/>
                <a:gd name="T103" fmla="*/ 2147483647 h 840"/>
                <a:gd name="T104" fmla="*/ 2147483647 w 689"/>
                <a:gd name="T105" fmla="*/ 2147483647 h 840"/>
                <a:gd name="T106" fmla="*/ 2147483647 w 689"/>
                <a:gd name="T107" fmla="*/ 2147483647 h 840"/>
                <a:gd name="T108" fmla="*/ 2147483647 w 689"/>
                <a:gd name="T109" fmla="*/ 2147483647 h 840"/>
                <a:gd name="T110" fmla="*/ 2147483647 w 689"/>
                <a:gd name="T111" fmla="*/ 2147483647 h 840"/>
                <a:gd name="T112" fmla="*/ 2147483647 w 689"/>
                <a:gd name="T113" fmla="*/ 2147483647 h 840"/>
                <a:gd name="T114" fmla="*/ 2147483647 w 689"/>
                <a:gd name="T115" fmla="*/ 2147483647 h 840"/>
                <a:gd name="T116" fmla="*/ 2147483647 w 689"/>
                <a:gd name="T117" fmla="*/ 2147483647 h 840"/>
                <a:gd name="T118" fmla="*/ 2147483647 w 689"/>
                <a:gd name="T119" fmla="*/ 2147483647 h 840"/>
                <a:gd name="T120" fmla="*/ 0 w 689"/>
                <a:gd name="T121" fmla="*/ 2147483647 h 84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89"/>
                <a:gd name="T184" fmla="*/ 0 h 840"/>
                <a:gd name="T185" fmla="*/ 689 w 689"/>
                <a:gd name="T186" fmla="*/ 840 h 84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89" h="840">
                  <a:moveTo>
                    <a:pt x="0" y="0"/>
                  </a:moveTo>
                  <a:lnTo>
                    <a:pt x="293" y="0"/>
                  </a:lnTo>
                  <a:lnTo>
                    <a:pt x="299" y="10"/>
                  </a:lnTo>
                  <a:lnTo>
                    <a:pt x="297" y="21"/>
                  </a:lnTo>
                  <a:lnTo>
                    <a:pt x="293" y="34"/>
                  </a:lnTo>
                  <a:lnTo>
                    <a:pt x="285" y="46"/>
                  </a:lnTo>
                  <a:lnTo>
                    <a:pt x="267" y="60"/>
                  </a:lnTo>
                  <a:lnTo>
                    <a:pt x="266" y="73"/>
                  </a:lnTo>
                  <a:lnTo>
                    <a:pt x="263" y="93"/>
                  </a:lnTo>
                  <a:lnTo>
                    <a:pt x="264" y="105"/>
                  </a:lnTo>
                  <a:lnTo>
                    <a:pt x="267" y="115"/>
                  </a:lnTo>
                  <a:lnTo>
                    <a:pt x="276" y="132"/>
                  </a:lnTo>
                  <a:lnTo>
                    <a:pt x="291" y="141"/>
                  </a:lnTo>
                  <a:lnTo>
                    <a:pt x="306" y="147"/>
                  </a:lnTo>
                  <a:lnTo>
                    <a:pt x="330" y="153"/>
                  </a:lnTo>
                  <a:lnTo>
                    <a:pt x="347" y="151"/>
                  </a:lnTo>
                  <a:lnTo>
                    <a:pt x="366" y="154"/>
                  </a:lnTo>
                  <a:lnTo>
                    <a:pt x="384" y="147"/>
                  </a:lnTo>
                  <a:lnTo>
                    <a:pt x="398" y="139"/>
                  </a:lnTo>
                  <a:lnTo>
                    <a:pt x="417" y="130"/>
                  </a:lnTo>
                  <a:lnTo>
                    <a:pt x="422" y="120"/>
                  </a:lnTo>
                  <a:lnTo>
                    <a:pt x="426" y="111"/>
                  </a:lnTo>
                  <a:lnTo>
                    <a:pt x="431" y="99"/>
                  </a:lnTo>
                  <a:lnTo>
                    <a:pt x="432" y="84"/>
                  </a:lnTo>
                  <a:lnTo>
                    <a:pt x="426" y="69"/>
                  </a:lnTo>
                  <a:lnTo>
                    <a:pt x="417" y="55"/>
                  </a:lnTo>
                  <a:lnTo>
                    <a:pt x="404" y="42"/>
                  </a:lnTo>
                  <a:lnTo>
                    <a:pt x="399" y="33"/>
                  </a:lnTo>
                  <a:lnTo>
                    <a:pt x="393" y="24"/>
                  </a:lnTo>
                  <a:lnTo>
                    <a:pt x="393" y="12"/>
                  </a:lnTo>
                  <a:lnTo>
                    <a:pt x="399" y="3"/>
                  </a:lnTo>
                  <a:lnTo>
                    <a:pt x="411" y="0"/>
                  </a:lnTo>
                  <a:lnTo>
                    <a:pt x="689" y="0"/>
                  </a:lnTo>
                  <a:lnTo>
                    <a:pt x="689" y="292"/>
                  </a:lnTo>
                  <a:lnTo>
                    <a:pt x="680" y="298"/>
                  </a:lnTo>
                  <a:lnTo>
                    <a:pt x="665" y="297"/>
                  </a:lnTo>
                  <a:lnTo>
                    <a:pt x="651" y="292"/>
                  </a:lnTo>
                  <a:lnTo>
                    <a:pt x="636" y="274"/>
                  </a:lnTo>
                  <a:lnTo>
                    <a:pt x="621" y="268"/>
                  </a:lnTo>
                  <a:lnTo>
                    <a:pt x="608" y="264"/>
                  </a:lnTo>
                  <a:lnTo>
                    <a:pt x="597" y="264"/>
                  </a:lnTo>
                  <a:lnTo>
                    <a:pt x="584" y="265"/>
                  </a:lnTo>
                  <a:lnTo>
                    <a:pt x="563" y="276"/>
                  </a:lnTo>
                  <a:lnTo>
                    <a:pt x="549" y="288"/>
                  </a:lnTo>
                  <a:lnTo>
                    <a:pt x="542" y="306"/>
                  </a:lnTo>
                  <a:lnTo>
                    <a:pt x="539" y="324"/>
                  </a:lnTo>
                  <a:lnTo>
                    <a:pt x="539" y="346"/>
                  </a:lnTo>
                  <a:lnTo>
                    <a:pt x="539" y="360"/>
                  </a:lnTo>
                  <a:lnTo>
                    <a:pt x="540" y="372"/>
                  </a:lnTo>
                  <a:lnTo>
                    <a:pt x="543" y="384"/>
                  </a:lnTo>
                  <a:lnTo>
                    <a:pt x="554" y="406"/>
                  </a:lnTo>
                  <a:lnTo>
                    <a:pt x="567" y="423"/>
                  </a:lnTo>
                  <a:lnTo>
                    <a:pt x="588" y="430"/>
                  </a:lnTo>
                  <a:lnTo>
                    <a:pt x="606" y="430"/>
                  </a:lnTo>
                  <a:lnTo>
                    <a:pt x="627" y="426"/>
                  </a:lnTo>
                  <a:lnTo>
                    <a:pt x="635" y="418"/>
                  </a:lnTo>
                  <a:lnTo>
                    <a:pt x="648" y="406"/>
                  </a:lnTo>
                  <a:lnTo>
                    <a:pt x="663" y="399"/>
                  </a:lnTo>
                  <a:lnTo>
                    <a:pt x="678" y="397"/>
                  </a:lnTo>
                  <a:lnTo>
                    <a:pt x="689" y="406"/>
                  </a:lnTo>
                  <a:lnTo>
                    <a:pt x="689" y="688"/>
                  </a:lnTo>
                  <a:lnTo>
                    <a:pt x="407" y="688"/>
                  </a:lnTo>
                  <a:lnTo>
                    <a:pt x="398" y="694"/>
                  </a:lnTo>
                  <a:lnTo>
                    <a:pt x="392" y="714"/>
                  </a:lnTo>
                  <a:lnTo>
                    <a:pt x="398" y="729"/>
                  </a:lnTo>
                  <a:lnTo>
                    <a:pt x="411" y="741"/>
                  </a:lnTo>
                  <a:lnTo>
                    <a:pt x="417" y="750"/>
                  </a:lnTo>
                  <a:lnTo>
                    <a:pt x="425" y="759"/>
                  </a:lnTo>
                  <a:lnTo>
                    <a:pt x="431" y="778"/>
                  </a:lnTo>
                  <a:lnTo>
                    <a:pt x="428" y="793"/>
                  </a:lnTo>
                  <a:lnTo>
                    <a:pt x="417" y="817"/>
                  </a:lnTo>
                  <a:lnTo>
                    <a:pt x="408" y="825"/>
                  </a:lnTo>
                  <a:lnTo>
                    <a:pt x="393" y="832"/>
                  </a:lnTo>
                  <a:lnTo>
                    <a:pt x="381" y="835"/>
                  </a:lnTo>
                  <a:lnTo>
                    <a:pt x="365" y="838"/>
                  </a:lnTo>
                  <a:lnTo>
                    <a:pt x="345" y="840"/>
                  </a:lnTo>
                  <a:lnTo>
                    <a:pt x="333" y="838"/>
                  </a:lnTo>
                  <a:lnTo>
                    <a:pt x="314" y="835"/>
                  </a:lnTo>
                  <a:lnTo>
                    <a:pt x="297" y="831"/>
                  </a:lnTo>
                  <a:lnTo>
                    <a:pt x="288" y="822"/>
                  </a:lnTo>
                  <a:lnTo>
                    <a:pt x="276" y="813"/>
                  </a:lnTo>
                  <a:lnTo>
                    <a:pt x="272" y="799"/>
                  </a:lnTo>
                  <a:lnTo>
                    <a:pt x="264" y="787"/>
                  </a:lnTo>
                  <a:lnTo>
                    <a:pt x="267" y="768"/>
                  </a:lnTo>
                  <a:lnTo>
                    <a:pt x="272" y="750"/>
                  </a:lnTo>
                  <a:lnTo>
                    <a:pt x="278" y="742"/>
                  </a:lnTo>
                  <a:lnTo>
                    <a:pt x="291" y="735"/>
                  </a:lnTo>
                  <a:lnTo>
                    <a:pt x="296" y="726"/>
                  </a:lnTo>
                  <a:lnTo>
                    <a:pt x="300" y="717"/>
                  </a:lnTo>
                  <a:lnTo>
                    <a:pt x="302" y="702"/>
                  </a:lnTo>
                  <a:lnTo>
                    <a:pt x="290" y="688"/>
                  </a:lnTo>
                  <a:lnTo>
                    <a:pt x="0" y="688"/>
                  </a:lnTo>
                  <a:lnTo>
                    <a:pt x="0" y="403"/>
                  </a:lnTo>
                  <a:lnTo>
                    <a:pt x="9" y="391"/>
                  </a:lnTo>
                  <a:lnTo>
                    <a:pt x="23" y="393"/>
                  </a:lnTo>
                  <a:lnTo>
                    <a:pt x="35" y="400"/>
                  </a:lnTo>
                  <a:lnTo>
                    <a:pt x="48" y="411"/>
                  </a:lnTo>
                  <a:lnTo>
                    <a:pt x="63" y="424"/>
                  </a:lnTo>
                  <a:lnTo>
                    <a:pt x="77" y="426"/>
                  </a:lnTo>
                  <a:lnTo>
                    <a:pt x="90" y="429"/>
                  </a:lnTo>
                  <a:lnTo>
                    <a:pt x="102" y="427"/>
                  </a:lnTo>
                  <a:lnTo>
                    <a:pt x="111" y="423"/>
                  </a:lnTo>
                  <a:lnTo>
                    <a:pt x="123" y="417"/>
                  </a:lnTo>
                  <a:lnTo>
                    <a:pt x="131" y="409"/>
                  </a:lnTo>
                  <a:lnTo>
                    <a:pt x="143" y="399"/>
                  </a:lnTo>
                  <a:lnTo>
                    <a:pt x="149" y="375"/>
                  </a:lnTo>
                  <a:lnTo>
                    <a:pt x="152" y="355"/>
                  </a:lnTo>
                  <a:lnTo>
                    <a:pt x="150" y="334"/>
                  </a:lnTo>
                  <a:lnTo>
                    <a:pt x="147" y="321"/>
                  </a:lnTo>
                  <a:lnTo>
                    <a:pt x="144" y="303"/>
                  </a:lnTo>
                  <a:lnTo>
                    <a:pt x="134" y="289"/>
                  </a:lnTo>
                  <a:lnTo>
                    <a:pt x="128" y="280"/>
                  </a:lnTo>
                  <a:lnTo>
                    <a:pt x="120" y="270"/>
                  </a:lnTo>
                  <a:lnTo>
                    <a:pt x="98" y="259"/>
                  </a:lnTo>
                  <a:lnTo>
                    <a:pt x="83" y="261"/>
                  </a:lnTo>
                  <a:lnTo>
                    <a:pt x="69" y="264"/>
                  </a:lnTo>
                  <a:lnTo>
                    <a:pt x="57" y="271"/>
                  </a:lnTo>
                  <a:lnTo>
                    <a:pt x="48" y="277"/>
                  </a:lnTo>
                  <a:lnTo>
                    <a:pt x="39" y="283"/>
                  </a:lnTo>
                  <a:lnTo>
                    <a:pt x="27" y="292"/>
                  </a:lnTo>
                  <a:lnTo>
                    <a:pt x="12" y="297"/>
                  </a:lnTo>
                  <a:lnTo>
                    <a:pt x="0" y="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C0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4" name="Freeform 38"/>
            <p:cNvSpPr>
              <a:spLocks/>
            </p:cNvSpPr>
            <p:nvPr/>
          </p:nvSpPr>
          <p:spPr bwMode="auto">
            <a:xfrm>
              <a:off x="6726238" y="3960813"/>
              <a:ext cx="744537" cy="742950"/>
            </a:xfrm>
            <a:custGeom>
              <a:avLst/>
              <a:gdLst>
                <a:gd name="T0" fmla="*/ 2147483647 w 840"/>
                <a:gd name="T1" fmla="*/ 0 h 840"/>
                <a:gd name="T2" fmla="*/ 2147483647 w 840"/>
                <a:gd name="T3" fmla="*/ 2147483647 h 840"/>
                <a:gd name="T4" fmla="*/ 2147483647 w 840"/>
                <a:gd name="T5" fmla="*/ 2147483647 h 840"/>
                <a:gd name="T6" fmla="*/ 2147483647 w 840"/>
                <a:gd name="T7" fmla="*/ 2147483647 h 840"/>
                <a:gd name="T8" fmla="*/ 2147483647 w 840"/>
                <a:gd name="T9" fmla="*/ 2147483647 h 840"/>
                <a:gd name="T10" fmla="*/ 2147483647 w 840"/>
                <a:gd name="T11" fmla="*/ 2147483647 h 840"/>
                <a:gd name="T12" fmla="*/ 2147483647 w 840"/>
                <a:gd name="T13" fmla="*/ 2147483647 h 840"/>
                <a:gd name="T14" fmla="*/ 2147483647 w 840"/>
                <a:gd name="T15" fmla="*/ 2147483647 h 840"/>
                <a:gd name="T16" fmla="*/ 2147483647 w 840"/>
                <a:gd name="T17" fmla="*/ 2147483647 h 840"/>
                <a:gd name="T18" fmla="*/ 2147483647 w 840"/>
                <a:gd name="T19" fmla="*/ 2147483647 h 840"/>
                <a:gd name="T20" fmla="*/ 2147483647 w 840"/>
                <a:gd name="T21" fmla="*/ 2147483647 h 840"/>
                <a:gd name="T22" fmla="*/ 2147483647 w 840"/>
                <a:gd name="T23" fmla="*/ 2147483647 h 840"/>
                <a:gd name="T24" fmla="*/ 0 w 840"/>
                <a:gd name="T25" fmla="*/ 2147483647 h 840"/>
                <a:gd name="T26" fmla="*/ 0 w 840"/>
                <a:gd name="T27" fmla="*/ 2147483647 h 840"/>
                <a:gd name="T28" fmla="*/ 2147483647 w 840"/>
                <a:gd name="T29" fmla="*/ 2147483647 h 840"/>
                <a:gd name="T30" fmla="*/ 2147483647 w 840"/>
                <a:gd name="T31" fmla="*/ 2147483647 h 840"/>
                <a:gd name="T32" fmla="*/ 2147483647 w 840"/>
                <a:gd name="T33" fmla="*/ 2147483647 h 840"/>
                <a:gd name="T34" fmla="*/ 2147483647 w 840"/>
                <a:gd name="T35" fmla="*/ 2147483647 h 840"/>
                <a:gd name="T36" fmla="*/ 2147483647 w 840"/>
                <a:gd name="T37" fmla="*/ 2147483647 h 840"/>
                <a:gd name="T38" fmla="*/ 2147483647 w 840"/>
                <a:gd name="T39" fmla="*/ 0 h 8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0"/>
                <a:gd name="T61" fmla="*/ 0 h 840"/>
                <a:gd name="T62" fmla="*/ 840 w 840"/>
                <a:gd name="T63" fmla="*/ 840 h 8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0" h="840">
                  <a:moveTo>
                    <a:pt x="690" y="0"/>
                  </a:moveTo>
                  <a:cubicBezTo>
                    <a:pt x="690" y="77"/>
                    <a:pt x="690" y="172"/>
                    <a:pt x="690" y="286"/>
                  </a:cubicBezTo>
                  <a:cubicBezTo>
                    <a:pt x="712" y="338"/>
                    <a:pt x="712" y="276"/>
                    <a:pt x="768" y="272"/>
                  </a:cubicBezTo>
                  <a:cubicBezTo>
                    <a:pt x="824" y="268"/>
                    <a:pt x="840" y="290"/>
                    <a:pt x="840" y="342"/>
                  </a:cubicBezTo>
                  <a:cubicBezTo>
                    <a:pt x="840" y="394"/>
                    <a:pt x="832" y="422"/>
                    <a:pt x="774" y="424"/>
                  </a:cubicBezTo>
                  <a:cubicBezTo>
                    <a:pt x="716" y="426"/>
                    <a:pt x="726" y="364"/>
                    <a:pt x="690" y="394"/>
                  </a:cubicBezTo>
                  <a:cubicBezTo>
                    <a:pt x="690" y="434"/>
                    <a:pt x="688" y="598"/>
                    <a:pt x="690" y="688"/>
                  </a:cubicBezTo>
                  <a:cubicBezTo>
                    <a:pt x="690" y="688"/>
                    <a:pt x="455" y="688"/>
                    <a:pt x="406" y="688"/>
                  </a:cubicBezTo>
                  <a:cubicBezTo>
                    <a:pt x="371" y="720"/>
                    <a:pt x="429" y="729"/>
                    <a:pt x="432" y="773"/>
                  </a:cubicBezTo>
                  <a:cubicBezTo>
                    <a:pt x="435" y="817"/>
                    <a:pt x="396" y="840"/>
                    <a:pt x="345" y="840"/>
                  </a:cubicBezTo>
                  <a:cubicBezTo>
                    <a:pt x="294" y="840"/>
                    <a:pt x="263" y="818"/>
                    <a:pt x="263" y="775"/>
                  </a:cubicBezTo>
                  <a:cubicBezTo>
                    <a:pt x="263" y="732"/>
                    <a:pt x="316" y="730"/>
                    <a:pt x="294" y="688"/>
                  </a:cubicBezTo>
                  <a:cubicBezTo>
                    <a:pt x="153" y="688"/>
                    <a:pt x="59" y="688"/>
                    <a:pt x="0" y="688"/>
                  </a:cubicBezTo>
                  <a:cubicBezTo>
                    <a:pt x="0" y="622"/>
                    <a:pt x="0" y="442"/>
                    <a:pt x="0" y="400"/>
                  </a:cubicBezTo>
                  <a:cubicBezTo>
                    <a:pt x="38" y="362"/>
                    <a:pt x="47" y="425"/>
                    <a:pt x="82" y="425"/>
                  </a:cubicBezTo>
                  <a:cubicBezTo>
                    <a:pt x="117" y="425"/>
                    <a:pt x="153" y="408"/>
                    <a:pt x="152" y="346"/>
                  </a:cubicBezTo>
                  <a:cubicBezTo>
                    <a:pt x="151" y="284"/>
                    <a:pt x="124" y="272"/>
                    <a:pt x="90" y="270"/>
                  </a:cubicBezTo>
                  <a:cubicBezTo>
                    <a:pt x="56" y="268"/>
                    <a:pt x="26" y="344"/>
                    <a:pt x="2" y="289"/>
                  </a:cubicBezTo>
                  <a:cubicBezTo>
                    <a:pt x="2" y="145"/>
                    <a:pt x="2" y="1"/>
                    <a:pt x="2" y="1"/>
                  </a:cubicBezTo>
                  <a:cubicBezTo>
                    <a:pt x="116" y="2"/>
                    <a:pt x="554" y="1"/>
                    <a:pt x="690" y="0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5" name="Freeform 39"/>
            <p:cNvSpPr>
              <a:spLocks/>
            </p:cNvSpPr>
            <p:nvPr/>
          </p:nvSpPr>
          <p:spPr bwMode="auto">
            <a:xfrm>
              <a:off x="6119813" y="3962400"/>
              <a:ext cx="741362" cy="609600"/>
            </a:xfrm>
            <a:custGeom>
              <a:avLst/>
              <a:gdLst>
                <a:gd name="T0" fmla="*/ 0 w 838"/>
                <a:gd name="T1" fmla="*/ 0 h 692"/>
                <a:gd name="T2" fmla="*/ 2147483647 w 838"/>
                <a:gd name="T3" fmla="*/ 0 h 692"/>
                <a:gd name="T4" fmla="*/ 2147483647 w 838"/>
                <a:gd name="T5" fmla="*/ 2147483647 h 692"/>
                <a:gd name="T6" fmla="*/ 2147483647 w 838"/>
                <a:gd name="T7" fmla="*/ 2147483647 h 692"/>
                <a:gd name="T8" fmla="*/ 2147483647 w 838"/>
                <a:gd name="T9" fmla="*/ 2147483647 h 692"/>
                <a:gd name="T10" fmla="*/ 2147483647 w 838"/>
                <a:gd name="T11" fmla="*/ 2147483647 h 692"/>
                <a:gd name="T12" fmla="*/ 2147483647 w 838"/>
                <a:gd name="T13" fmla="*/ 2147483647 h 692"/>
                <a:gd name="T14" fmla="*/ 2147483647 w 838"/>
                <a:gd name="T15" fmla="*/ 2147483647 h 692"/>
                <a:gd name="T16" fmla="*/ 2147483647 w 838"/>
                <a:gd name="T17" fmla="*/ 2147483647 h 692"/>
                <a:gd name="T18" fmla="*/ 2147483647 w 838"/>
                <a:gd name="T19" fmla="*/ 2147483647 h 692"/>
                <a:gd name="T20" fmla="*/ 2147483647 w 838"/>
                <a:gd name="T21" fmla="*/ 2147483647 h 692"/>
                <a:gd name="T22" fmla="*/ 2147483647 w 838"/>
                <a:gd name="T23" fmla="*/ 2147483647 h 692"/>
                <a:gd name="T24" fmla="*/ 2147483647 w 838"/>
                <a:gd name="T25" fmla="*/ 2147483647 h 692"/>
                <a:gd name="T26" fmla="*/ 0 w 838"/>
                <a:gd name="T27" fmla="*/ 2147483647 h 692"/>
                <a:gd name="T28" fmla="*/ 0 w 838"/>
                <a:gd name="T29" fmla="*/ 0 h 69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38"/>
                <a:gd name="T46" fmla="*/ 0 h 692"/>
                <a:gd name="T47" fmla="*/ 838 w 838"/>
                <a:gd name="T48" fmla="*/ 692 h 69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38" h="692">
                  <a:moveTo>
                    <a:pt x="0" y="0"/>
                  </a:moveTo>
                  <a:lnTo>
                    <a:pt x="689" y="0"/>
                  </a:lnTo>
                  <a:cubicBezTo>
                    <a:pt x="689" y="0"/>
                    <a:pt x="690" y="248"/>
                    <a:pt x="689" y="294"/>
                  </a:cubicBezTo>
                  <a:cubicBezTo>
                    <a:pt x="718" y="340"/>
                    <a:pt x="724" y="277"/>
                    <a:pt x="771" y="271"/>
                  </a:cubicBezTo>
                  <a:cubicBezTo>
                    <a:pt x="818" y="265"/>
                    <a:pt x="838" y="302"/>
                    <a:pt x="838" y="353"/>
                  </a:cubicBezTo>
                  <a:cubicBezTo>
                    <a:pt x="838" y="404"/>
                    <a:pt x="823" y="431"/>
                    <a:pt x="778" y="433"/>
                  </a:cubicBezTo>
                  <a:cubicBezTo>
                    <a:pt x="733" y="435"/>
                    <a:pt x="715" y="370"/>
                    <a:pt x="689" y="405"/>
                  </a:cubicBezTo>
                  <a:cubicBezTo>
                    <a:pt x="689" y="547"/>
                    <a:pt x="689" y="690"/>
                    <a:pt x="689" y="690"/>
                  </a:cubicBezTo>
                  <a:cubicBezTo>
                    <a:pt x="689" y="690"/>
                    <a:pt x="438" y="692"/>
                    <a:pt x="397" y="690"/>
                  </a:cubicBezTo>
                  <a:cubicBezTo>
                    <a:pt x="367" y="651"/>
                    <a:pt x="426" y="640"/>
                    <a:pt x="426" y="605"/>
                  </a:cubicBezTo>
                  <a:cubicBezTo>
                    <a:pt x="426" y="570"/>
                    <a:pt x="408" y="539"/>
                    <a:pt x="346" y="540"/>
                  </a:cubicBezTo>
                  <a:cubicBezTo>
                    <a:pt x="284" y="541"/>
                    <a:pt x="261" y="567"/>
                    <a:pt x="261" y="606"/>
                  </a:cubicBezTo>
                  <a:cubicBezTo>
                    <a:pt x="261" y="645"/>
                    <a:pt x="322" y="648"/>
                    <a:pt x="289" y="690"/>
                  </a:cubicBezTo>
                  <a:cubicBezTo>
                    <a:pt x="145" y="690"/>
                    <a:pt x="0" y="690"/>
                    <a:pt x="0" y="69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6" name="Freeform 40"/>
            <p:cNvSpPr>
              <a:spLocks/>
            </p:cNvSpPr>
            <p:nvPr/>
          </p:nvSpPr>
          <p:spPr bwMode="auto">
            <a:xfrm>
              <a:off x="6121400" y="5046663"/>
              <a:ext cx="606425" cy="742950"/>
            </a:xfrm>
            <a:custGeom>
              <a:avLst/>
              <a:gdLst>
                <a:gd name="T0" fmla="*/ 0 w 694"/>
                <a:gd name="T1" fmla="*/ 2147483647 h 839"/>
                <a:gd name="T2" fmla="*/ 0 w 694"/>
                <a:gd name="T3" fmla="*/ 2147483647 h 839"/>
                <a:gd name="T4" fmla="*/ 2147483647 w 694"/>
                <a:gd name="T5" fmla="*/ 2147483647 h 839"/>
                <a:gd name="T6" fmla="*/ 2147483647 w 694"/>
                <a:gd name="T7" fmla="*/ 2147483647 h 839"/>
                <a:gd name="T8" fmla="*/ 2147483647 w 694"/>
                <a:gd name="T9" fmla="*/ 0 h 839"/>
                <a:gd name="T10" fmla="*/ 2147483647 w 694"/>
                <a:gd name="T11" fmla="*/ 2147483647 h 839"/>
                <a:gd name="T12" fmla="*/ 2147483647 w 694"/>
                <a:gd name="T13" fmla="*/ 2147483647 h 839"/>
                <a:gd name="T14" fmla="*/ 2147483647 w 694"/>
                <a:gd name="T15" fmla="*/ 2147483647 h 839"/>
                <a:gd name="T16" fmla="*/ 2147483647 w 694"/>
                <a:gd name="T17" fmla="*/ 2147483647 h 839"/>
                <a:gd name="T18" fmla="*/ 2147483647 w 694"/>
                <a:gd name="T19" fmla="*/ 2147483647 h 839"/>
                <a:gd name="T20" fmla="*/ 2147483647 w 694"/>
                <a:gd name="T21" fmla="*/ 2147483647 h 839"/>
                <a:gd name="T22" fmla="*/ 2147483647 w 694"/>
                <a:gd name="T23" fmla="*/ 2147483647 h 839"/>
                <a:gd name="T24" fmla="*/ 2147483647 w 694"/>
                <a:gd name="T25" fmla="*/ 2147483647 h 839"/>
                <a:gd name="T26" fmla="*/ 2147483647 w 694"/>
                <a:gd name="T27" fmla="*/ 2147483647 h 839"/>
                <a:gd name="T28" fmla="*/ 0 w 694"/>
                <a:gd name="T29" fmla="*/ 2147483647 h 8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94"/>
                <a:gd name="T46" fmla="*/ 0 h 839"/>
                <a:gd name="T47" fmla="*/ 694 w 694"/>
                <a:gd name="T48" fmla="*/ 839 h 83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94" h="839">
                  <a:moveTo>
                    <a:pt x="0" y="839"/>
                  </a:moveTo>
                  <a:cubicBezTo>
                    <a:pt x="0" y="839"/>
                    <a:pt x="1" y="282"/>
                    <a:pt x="0" y="152"/>
                  </a:cubicBezTo>
                  <a:cubicBezTo>
                    <a:pt x="0" y="152"/>
                    <a:pt x="237" y="152"/>
                    <a:pt x="286" y="152"/>
                  </a:cubicBezTo>
                  <a:cubicBezTo>
                    <a:pt x="321" y="120"/>
                    <a:pt x="264" y="111"/>
                    <a:pt x="261" y="69"/>
                  </a:cubicBezTo>
                  <a:cubicBezTo>
                    <a:pt x="258" y="27"/>
                    <a:pt x="296" y="0"/>
                    <a:pt x="347" y="0"/>
                  </a:cubicBezTo>
                  <a:cubicBezTo>
                    <a:pt x="398" y="0"/>
                    <a:pt x="429" y="22"/>
                    <a:pt x="429" y="65"/>
                  </a:cubicBezTo>
                  <a:cubicBezTo>
                    <a:pt x="429" y="108"/>
                    <a:pt x="376" y="110"/>
                    <a:pt x="398" y="152"/>
                  </a:cubicBezTo>
                  <a:cubicBezTo>
                    <a:pt x="541" y="152"/>
                    <a:pt x="635" y="153"/>
                    <a:pt x="694" y="153"/>
                  </a:cubicBezTo>
                  <a:cubicBezTo>
                    <a:pt x="691" y="221"/>
                    <a:pt x="694" y="403"/>
                    <a:pt x="692" y="443"/>
                  </a:cubicBezTo>
                  <a:cubicBezTo>
                    <a:pt x="653" y="473"/>
                    <a:pt x="642" y="415"/>
                    <a:pt x="607" y="415"/>
                  </a:cubicBezTo>
                  <a:cubicBezTo>
                    <a:pt x="572" y="415"/>
                    <a:pt x="541" y="432"/>
                    <a:pt x="542" y="494"/>
                  </a:cubicBezTo>
                  <a:cubicBezTo>
                    <a:pt x="543" y="556"/>
                    <a:pt x="569" y="579"/>
                    <a:pt x="608" y="579"/>
                  </a:cubicBezTo>
                  <a:cubicBezTo>
                    <a:pt x="647" y="579"/>
                    <a:pt x="650" y="518"/>
                    <a:pt x="692" y="551"/>
                  </a:cubicBezTo>
                  <a:cubicBezTo>
                    <a:pt x="692" y="695"/>
                    <a:pt x="692" y="839"/>
                    <a:pt x="692" y="839"/>
                  </a:cubicBezTo>
                  <a:lnTo>
                    <a:pt x="0" y="839"/>
                  </a:ln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7" name="Freeform 41"/>
            <p:cNvSpPr>
              <a:spLocks/>
            </p:cNvSpPr>
            <p:nvPr/>
          </p:nvSpPr>
          <p:spPr bwMode="auto">
            <a:xfrm>
              <a:off x="6592888" y="5180013"/>
              <a:ext cx="742950" cy="611187"/>
            </a:xfrm>
            <a:custGeom>
              <a:avLst/>
              <a:gdLst>
                <a:gd name="T0" fmla="*/ 2147483647 w 839"/>
                <a:gd name="T1" fmla="*/ 2147483647 h 689"/>
                <a:gd name="T2" fmla="*/ 2147483647 w 839"/>
                <a:gd name="T3" fmla="*/ 2147483647 h 689"/>
                <a:gd name="T4" fmla="*/ 2147483647 w 839"/>
                <a:gd name="T5" fmla="*/ 2147483647 h 689"/>
                <a:gd name="T6" fmla="*/ 2147483647 w 839"/>
                <a:gd name="T7" fmla="*/ 2147483647 h 689"/>
                <a:gd name="T8" fmla="*/ 0 w 839"/>
                <a:gd name="T9" fmla="*/ 2147483647 h 689"/>
                <a:gd name="T10" fmla="*/ 2147483647 w 839"/>
                <a:gd name="T11" fmla="*/ 2147483647 h 689"/>
                <a:gd name="T12" fmla="*/ 2147483647 w 839"/>
                <a:gd name="T13" fmla="*/ 2147483647 h 689"/>
                <a:gd name="T14" fmla="*/ 2147483647 w 839"/>
                <a:gd name="T15" fmla="*/ 2147483647 h 689"/>
                <a:gd name="T16" fmla="*/ 2147483647 w 839"/>
                <a:gd name="T17" fmla="*/ 2147483647 h 689"/>
                <a:gd name="T18" fmla="*/ 2147483647 w 839"/>
                <a:gd name="T19" fmla="*/ 2147483647 h 689"/>
                <a:gd name="T20" fmla="*/ 2147483647 w 839"/>
                <a:gd name="T21" fmla="*/ 2147483647 h 689"/>
                <a:gd name="T22" fmla="*/ 2147483647 w 839"/>
                <a:gd name="T23" fmla="*/ 2147483647 h 689"/>
                <a:gd name="T24" fmla="*/ 2147483647 w 839"/>
                <a:gd name="T25" fmla="*/ 0 h 689"/>
                <a:gd name="T26" fmla="*/ 2147483647 w 839"/>
                <a:gd name="T27" fmla="*/ 2147483647 h 689"/>
                <a:gd name="T28" fmla="*/ 2147483647 w 839"/>
                <a:gd name="T29" fmla="*/ 2147483647 h 689"/>
                <a:gd name="T30" fmla="*/ 2147483647 w 839"/>
                <a:gd name="T31" fmla="*/ 2147483647 h 689"/>
                <a:gd name="T32" fmla="*/ 2147483647 w 839"/>
                <a:gd name="T33" fmla="*/ 2147483647 h 689"/>
                <a:gd name="T34" fmla="*/ 2147483647 w 839"/>
                <a:gd name="T35" fmla="*/ 2147483647 h 689"/>
                <a:gd name="T36" fmla="*/ 2147483647 w 839"/>
                <a:gd name="T37" fmla="*/ 2147483647 h 689"/>
                <a:gd name="T38" fmla="*/ 2147483647 w 839"/>
                <a:gd name="T39" fmla="*/ 2147483647 h 68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39"/>
                <a:gd name="T61" fmla="*/ 0 h 689"/>
                <a:gd name="T62" fmla="*/ 839 w 839"/>
                <a:gd name="T63" fmla="*/ 689 h 68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39" h="689">
                  <a:moveTo>
                    <a:pt x="839" y="689"/>
                  </a:moveTo>
                  <a:cubicBezTo>
                    <a:pt x="711" y="689"/>
                    <a:pt x="280" y="686"/>
                    <a:pt x="150" y="687"/>
                  </a:cubicBezTo>
                  <a:cubicBezTo>
                    <a:pt x="150" y="687"/>
                    <a:pt x="152" y="454"/>
                    <a:pt x="152" y="405"/>
                  </a:cubicBezTo>
                  <a:cubicBezTo>
                    <a:pt x="120" y="370"/>
                    <a:pt x="111" y="428"/>
                    <a:pt x="67" y="431"/>
                  </a:cubicBezTo>
                  <a:cubicBezTo>
                    <a:pt x="23" y="434"/>
                    <a:pt x="0" y="395"/>
                    <a:pt x="0" y="344"/>
                  </a:cubicBezTo>
                  <a:cubicBezTo>
                    <a:pt x="0" y="293"/>
                    <a:pt x="22" y="262"/>
                    <a:pt x="65" y="262"/>
                  </a:cubicBezTo>
                  <a:cubicBezTo>
                    <a:pt x="108" y="262"/>
                    <a:pt x="110" y="315"/>
                    <a:pt x="152" y="293"/>
                  </a:cubicBezTo>
                  <a:cubicBezTo>
                    <a:pt x="152" y="152"/>
                    <a:pt x="151" y="62"/>
                    <a:pt x="151" y="3"/>
                  </a:cubicBezTo>
                  <a:cubicBezTo>
                    <a:pt x="215" y="1"/>
                    <a:pt x="400" y="2"/>
                    <a:pt x="442" y="2"/>
                  </a:cubicBezTo>
                  <a:cubicBezTo>
                    <a:pt x="480" y="40"/>
                    <a:pt x="415" y="46"/>
                    <a:pt x="415" y="81"/>
                  </a:cubicBezTo>
                  <a:cubicBezTo>
                    <a:pt x="415" y="116"/>
                    <a:pt x="432" y="152"/>
                    <a:pt x="494" y="151"/>
                  </a:cubicBezTo>
                  <a:cubicBezTo>
                    <a:pt x="556" y="150"/>
                    <a:pt x="579" y="124"/>
                    <a:pt x="579" y="85"/>
                  </a:cubicBezTo>
                  <a:cubicBezTo>
                    <a:pt x="579" y="46"/>
                    <a:pt x="523" y="42"/>
                    <a:pt x="556" y="0"/>
                  </a:cubicBezTo>
                  <a:cubicBezTo>
                    <a:pt x="700" y="0"/>
                    <a:pt x="839" y="2"/>
                    <a:pt x="839" y="2"/>
                  </a:cubicBezTo>
                  <a:cubicBezTo>
                    <a:pt x="837" y="80"/>
                    <a:pt x="839" y="161"/>
                    <a:pt x="839" y="293"/>
                  </a:cubicBezTo>
                  <a:cubicBezTo>
                    <a:pt x="809" y="333"/>
                    <a:pt x="811" y="263"/>
                    <a:pt x="765" y="263"/>
                  </a:cubicBezTo>
                  <a:cubicBezTo>
                    <a:pt x="719" y="263"/>
                    <a:pt x="689" y="291"/>
                    <a:pt x="687" y="351"/>
                  </a:cubicBezTo>
                  <a:cubicBezTo>
                    <a:pt x="685" y="411"/>
                    <a:pt x="725" y="435"/>
                    <a:pt x="763" y="433"/>
                  </a:cubicBezTo>
                  <a:cubicBezTo>
                    <a:pt x="801" y="431"/>
                    <a:pt x="807" y="369"/>
                    <a:pt x="839" y="401"/>
                  </a:cubicBezTo>
                  <a:cubicBezTo>
                    <a:pt x="839" y="445"/>
                    <a:pt x="839" y="636"/>
                    <a:pt x="839" y="689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8" name="Freeform 42"/>
            <p:cNvSpPr>
              <a:spLocks/>
            </p:cNvSpPr>
            <p:nvPr/>
          </p:nvSpPr>
          <p:spPr bwMode="auto">
            <a:xfrm>
              <a:off x="7200900" y="5178425"/>
              <a:ext cx="746125" cy="611188"/>
            </a:xfrm>
            <a:custGeom>
              <a:avLst/>
              <a:gdLst>
                <a:gd name="T0" fmla="*/ 2147483647 w 842"/>
                <a:gd name="T1" fmla="*/ 2147483647 h 690"/>
                <a:gd name="T2" fmla="*/ 2147483647 w 842"/>
                <a:gd name="T3" fmla="*/ 2147483647 h 690"/>
                <a:gd name="T4" fmla="*/ 2147483647 w 842"/>
                <a:gd name="T5" fmla="*/ 2147483647 h 690"/>
                <a:gd name="T6" fmla="*/ 2147483647 w 842"/>
                <a:gd name="T7" fmla="*/ 2147483647 h 690"/>
                <a:gd name="T8" fmla="*/ 2147483647 w 842"/>
                <a:gd name="T9" fmla="*/ 2147483647 h 690"/>
                <a:gd name="T10" fmla="*/ 2147483647 w 842"/>
                <a:gd name="T11" fmla="*/ 2147483647 h 690"/>
                <a:gd name="T12" fmla="*/ 2147483647 w 842"/>
                <a:gd name="T13" fmla="*/ 2147483647 h 690"/>
                <a:gd name="T14" fmla="*/ 2147483647 w 842"/>
                <a:gd name="T15" fmla="*/ 2147483647 h 690"/>
                <a:gd name="T16" fmla="*/ 2147483647 w 842"/>
                <a:gd name="T17" fmla="*/ 2147483647 h 690"/>
                <a:gd name="T18" fmla="*/ 2147483647 w 842"/>
                <a:gd name="T19" fmla="*/ 2147483647 h 690"/>
                <a:gd name="T20" fmla="*/ 2147483647 w 842"/>
                <a:gd name="T21" fmla="*/ 2147483647 h 690"/>
                <a:gd name="T22" fmla="*/ 2147483647 w 842"/>
                <a:gd name="T23" fmla="*/ 2147483647 h 690"/>
                <a:gd name="T24" fmla="*/ 2147483647 w 842"/>
                <a:gd name="T25" fmla="*/ 2147483647 h 690"/>
                <a:gd name="T26" fmla="*/ 2147483647 w 842"/>
                <a:gd name="T27" fmla="*/ 2147483647 h 690"/>
                <a:gd name="T28" fmla="*/ 2147483647 w 842"/>
                <a:gd name="T29" fmla="*/ 2147483647 h 69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42"/>
                <a:gd name="T46" fmla="*/ 0 h 690"/>
                <a:gd name="T47" fmla="*/ 842 w 842"/>
                <a:gd name="T48" fmla="*/ 690 h 69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42" h="690">
                  <a:moveTo>
                    <a:pt x="842" y="690"/>
                  </a:moveTo>
                  <a:cubicBezTo>
                    <a:pt x="714" y="690"/>
                    <a:pt x="285" y="689"/>
                    <a:pt x="155" y="690"/>
                  </a:cubicBezTo>
                  <a:cubicBezTo>
                    <a:pt x="155" y="690"/>
                    <a:pt x="155" y="455"/>
                    <a:pt x="155" y="406"/>
                  </a:cubicBezTo>
                  <a:cubicBezTo>
                    <a:pt x="120" y="376"/>
                    <a:pt x="126" y="436"/>
                    <a:pt x="70" y="434"/>
                  </a:cubicBezTo>
                  <a:cubicBezTo>
                    <a:pt x="14" y="432"/>
                    <a:pt x="0" y="394"/>
                    <a:pt x="3" y="345"/>
                  </a:cubicBezTo>
                  <a:cubicBezTo>
                    <a:pt x="6" y="296"/>
                    <a:pt x="12" y="268"/>
                    <a:pt x="68" y="263"/>
                  </a:cubicBezTo>
                  <a:cubicBezTo>
                    <a:pt x="124" y="258"/>
                    <a:pt x="122" y="326"/>
                    <a:pt x="155" y="294"/>
                  </a:cubicBezTo>
                  <a:cubicBezTo>
                    <a:pt x="155" y="153"/>
                    <a:pt x="154" y="61"/>
                    <a:pt x="154" y="2"/>
                  </a:cubicBezTo>
                  <a:cubicBezTo>
                    <a:pt x="218" y="0"/>
                    <a:pt x="402" y="2"/>
                    <a:pt x="444" y="2"/>
                  </a:cubicBezTo>
                  <a:cubicBezTo>
                    <a:pt x="482" y="40"/>
                    <a:pt x="418" y="47"/>
                    <a:pt x="418" y="82"/>
                  </a:cubicBezTo>
                  <a:cubicBezTo>
                    <a:pt x="418" y="117"/>
                    <a:pt x="435" y="153"/>
                    <a:pt x="497" y="152"/>
                  </a:cubicBezTo>
                  <a:cubicBezTo>
                    <a:pt x="559" y="151"/>
                    <a:pt x="582" y="125"/>
                    <a:pt x="582" y="86"/>
                  </a:cubicBezTo>
                  <a:cubicBezTo>
                    <a:pt x="582" y="47"/>
                    <a:pt x="521" y="44"/>
                    <a:pt x="554" y="2"/>
                  </a:cubicBezTo>
                  <a:cubicBezTo>
                    <a:pt x="698" y="2"/>
                    <a:pt x="842" y="2"/>
                    <a:pt x="842" y="2"/>
                  </a:cubicBezTo>
                  <a:cubicBezTo>
                    <a:pt x="840" y="130"/>
                    <a:pt x="842" y="548"/>
                    <a:pt x="842" y="690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79" name="Freeform 43"/>
            <p:cNvSpPr>
              <a:spLocks/>
            </p:cNvSpPr>
            <p:nvPr/>
          </p:nvSpPr>
          <p:spPr bwMode="auto">
            <a:xfrm>
              <a:off x="7337425" y="3960813"/>
              <a:ext cx="609600" cy="742950"/>
            </a:xfrm>
            <a:custGeom>
              <a:avLst/>
              <a:gdLst>
                <a:gd name="T0" fmla="*/ 2147483647 w 688"/>
                <a:gd name="T1" fmla="*/ 2147483647 h 840"/>
                <a:gd name="T2" fmla="*/ 2147483647 w 688"/>
                <a:gd name="T3" fmla="*/ 2147483647 h 840"/>
                <a:gd name="T4" fmla="*/ 2147483647 w 688"/>
                <a:gd name="T5" fmla="*/ 2147483647 h 840"/>
                <a:gd name="T6" fmla="*/ 2147483647 w 688"/>
                <a:gd name="T7" fmla="*/ 2147483647 h 840"/>
                <a:gd name="T8" fmla="*/ 2147483647 w 688"/>
                <a:gd name="T9" fmla="*/ 2147483647 h 840"/>
                <a:gd name="T10" fmla="*/ 2147483647 w 688"/>
                <a:gd name="T11" fmla="*/ 2147483647 h 840"/>
                <a:gd name="T12" fmla="*/ 2147483647 w 688"/>
                <a:gd name="T13" fmla="*/ 2147483647 h 840"/>
                <a:gd name="T14" fmla="*/ 0 w 688"/>
                <a:gd name="T15" fmla="*/ 2147483647 h 840"/>
                <a:gd name="T16" fmla="*/ 0 w 688"/>
                <a:gd name="T17" fmla="*/ 2147483647 h 840"/>
                <a:gd name="T18" fmla="*/ 2147483647 w 688"/>
                <a:gd name="T19" fmla="*/ 2147483647 h 840"/>
                <a:gd name="T20" fmla="*/ 2147483647 w 688"/>
                <a:gd name="T21" fmla="*/ 2147483647 h 840"/>
                <a:gd name="T22" fmla="*/ 2147483647 w 688"/>
                <a:gd name="T23" fmla="*/ 2147483647 h 840"/>
                <a:gd name="T24" fmla="*/ 0 w 688"/>
                <a:gd name="T25" fmla="*/ 2147483647 h 840"/>
                <a:gd name="T26" fmla="*/ 0 w 688"/>
                <a:gd name="T27" fmla="*/ 2147483647 h 840"/>
                <a:gd name="T28" fmla="*/ 2147483647 w 688"/>
                <a:gd name="T29" fmla="*/ 2147483647 h 8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88"/>
                <a:gd name="T46" fmla="*/ 0 h 840"/>
                <a:gd name="T47" fmla="*/ 688 w 688"/>
                <a:gd name="T48" fmla="*/ 840 h 8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88" h="840">
                  <a:moveTo>
                    <a:pt x="688" y="1"/>
                  </a:moveTo>
                  <a:cubicBezTo>
                    <a:pt x="688" y="129"/>
                    <a:pt x="687" y="558"/>
                    <a:pt x="688" y="688"/>
                  </a:cubicBezTo>
                  <a:cubicBezTo>
                    <a:pt x="688" y="688"/>
                    <a:pt x="453" y="688"/>
                    <a:pt x="404" y="688"/>
                  </a:cubicBezTo>
                  <a:cubicBezTo>
                    <a:pt x="369" y="720"/>
                    <a:pt x="427" y="729"/>
                    <a:pt x="430" y="773"/>
                  </a:cubicBezTo>
                  <a:cubicBezTo>
                    <a:pt x="433" y="817"/>
                    <a:pt x="394" y="840"/>
                    <a:pt x="343" y="840"/>
                  </a:cubicBezTo>
                  <a:cubicBezTo>
                    <a:pt x="292" y="840"/>
                    <a:pt x="261" y="818"/>
                    <a:pt x="261" y="775"/>
                  </a:cubicBezTo>
                  <a:cubicBezTo>
                    <a:pt x="261" y="732"/>
                    <a:pt x="316" y="728"/>
                    <a:pt x="294" y="686"/>
                  </a:cubicBezTo>
                  <a:cubicBezTo>
                    <a:pt x="153" y="686"/>
                    <a:pt x="59" y="686"/>
                    <a:pt x="0" y="686"/>
                  </a:cubicBezTo>
                  <a:cubicBezTo>
                    <a:pt x="0" y="620"/>
                    <a:pt x="0" y="438"/>
                    <a:pt x="0" y="396"/>
                  </a:cubicBezTo>
                  <a:cubicBezTo>
                    <a:pt x="30" y="356"/>
                    <a:pt x="47" y="424"/>
                    <a:pt x="82" y="424"/>
                  </a:cubicBezTo>
                  <a:cubicBezTo>
                    <a:pt x="117" y="424"/>
                    <a:pt x="150" y="396"/>
                    <a:pt x="150" y="346"/>
                  </a:cubicBezTo>
                  <a:cubicBezTo>
                    <a:pt x="150" y="296"/>
                    <a:pt x="126" y="272"/>
                    <a:pt x="86" y="272"/>
                  </a:cubicBezTo>
                  <a:cubicBezTo>
                    <a:pt x="46" y="272"/>
                    <a:pt x="14" y="348"/>
                    <a:pt x="0" y="278"/>
                  </a:cubicBezTo>
                  <a:cubicBezTo>
                    <a:pt x="0" y="134"/>
                    <a:pt x="0" y="1"/>
                    <a:pt x="0" y="1"/>
                  </a:cubicBezTo>
                  <a:cubicBezTo>
                    <a:pt x="114" y="2"/>
                    <a:pt x="550" y="0"/>
                    <a:pt x="688" y="1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80" name="Freeform 44"/>
            <p:cNvSpPr>
              <a:spLocks/>
            </p:cNvSpPr>
            <p:nvPr/>
          </p:nvSpPr>
          <p:spPr bwMode="auto">
            <a:xfrm rot="10800000">
              <a:off x="7202488" y="4568825"/>
              <a:ext cx="744537" cy="744538"/>
            </a:xfrm>
            <a:custGeom>
              <a:avLst/>
              <a:gdLst>
                <a:gd name="T0" fmla="*/ 0 w 840"/>
                <a:gd name="T1" fmla="*/ 2147483647 h 840"/>
                <a:gd name="T2" fmla="*/ 2147483647 w 840"/>
                <a:gd name="T3" fmla="*/ 2147483647 h 840"/>
                <a:gd name="T4" fmla="*/ 2147483647 w 840"/>
                <a:gd name="T5" fmla="*/ 2147483647 h 840"/>
                <a:gd name="T6" fmla="*/ 2147483647 w 840"/>
                <a:gd name="T7" fmla="*/ 0 h 840"/>
                <a:gd name="T8" fmla="*/ 2147483647 w 840"/>
                <a:gd name="T9" fmla="*/ 2147483647 h 840"/>
                <a:gd name="T10" fmla="*/ 2147483647 w 840"/>
                <a:gd name="T11" fmla="*/ 2147483647 h 840"/>
                <a:gd name="T12" fmla="*/ 2147483647 w 840"/>
                <a:gd name="T13" fmla="*/ 2147483647 h 840"/>
                <a:gd name="T14" fmla="*/ 2147483647 w 840"/>
                <a:gd name="T15" fmla="*/ 2147483647 h 840"/>
                <a:gd name="T16" fmla="*/ 2147483647 w 840"/>
                <a:gd name="T17" fmla="*/ 2147483647 h 840"/>
                <a:gd name="T18" fmla="*/ 2147483647 w 840"/>
                <a:gd name="T19" fmla="*/ 2147483647 h 840"/>
                <a:gd name="T20" fmla="*/ 2147483647 w 840"/>
                <a:gd name="T21" fmla="*/ 2147483647 h 840"/>
                <a:gd name="T22" fmla="*/ 2147483647 w 840"/>
                <a:gd name="T23" fmla="*/ 2147483647 h 840"/>
                <a:gd name="T24" fmla="*/ 2147483647 w 840"/>
                <a:gd name="T25" fmla="*/ 2147483647 h 840"/>
                <a:gd name="T26" fmla="*/ 2147483647 w 840"/>
                <a:gd name="T27" fmla="*/ 2147483647 h 840"/>
                <a:gd name="T28" fmla="*/ 2147483647 w 840"/>
                <a:gd name="T29" fmla="*/ 2147483647 h 840"/>
                <a:gd name="T30" fmla="*/ 2147483647 w 840"/>
                <a:gd name="T31" fmla="*/ 2147483647 h 840"/>
                <a:gd name="T32" fmla="*/ 2147483647 w 840"/>
                <a:gd name="T33" fmla="*/ 2147483647 h 840"/>
                <a:gd name="T34" fmla="*/ 2147483647 w 840"/>
                <a:gd name="T35" fmla="*/ 2147483647 h 840"/>
                <a:gd name="T36" fmla="*/ 2147483647 w 840"/>
                <a:gd name="T37" fmla="*/ 2147483647 h 840"/>
                <a:gd name="T38" fmla="*/ 0 w 840"/>
                <a:gd name="T39" fmla="*/ 2147483647 h 8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0"/>
                <a:gd name="T61" fmla="*/ 0 h 840"/>
                <a:gd name="T62" fmla="*/ 840 w 840"/>
                <a:gd name="T63" fmla="*/ 840 h 8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0" h="840">
                  <a:moveTo>
                    <a:pt x="0" y="150"/>
                  </a:moveTo>
                  <a:cubicBezTo>
                    <a:pt x="77" y="150"/>
                    <a:pt x="167" y="149"/>
                    <a:pt x="281" y="149"/>
                  </a:cubicBezTo>
                  <a:cubicBezTo>
                    <a:pt x="333" y="127"/>
                    <a:pt x="267" y="127"/>
                    <a:pt x="263" y="71"/>
                  </a:cubicBezTo>
                  <a:cubicBezTo>
                    <a:pt x="259" y="15"/>
                    <a:pt x="290" y="0"/>
                    <a:pt x="342" y="0"/>
                  </a:cubicBezTo>
                  <a:cubicBezTo>
                    <a:pt x="394" y="0"/>
                    <a:pt x="423" y="5"/>
                    <a:pt x="425" y="63"/>
                  </a:cubicBezTo>
                  <a:cubicBezTo>
                    <a:pt x="427" y="121"/>
                    <a:pt x="371" y="115"/>
                    <a:pt x="401" y="151"/>
                  </a:cubicBezTo>
                  <a:cubicBezTo>
                    <a:pt x="441" y="151"/>
                    <a:pt x="598" y="152"/>
                    <a:pt x="688" y="150"/>
                  </a:cubicBezTo>
                  <a:cubicBezTo>
                    <a:pt x="688" y="150"/>
                    <a:pt x="688" y="385"/>
                    <a:pt x="688" y="434"/>
                  </a:cubicBezTo>
                  <a:cubicBezTo>
                    <a:pt x="720" y="469"/>
                    <a:pt x="729" y="411"/>
                    <a:pt x="773" y="408"/>
                  </a:cubicBezTo>
                  <a:cubicBezTo>
                    <a:pt x="817" y="405"/>
                    <a:pt x="840" y="444"/>
                    <a:pt x="840" y="495"/>
                  </a:cubicBezTo>
                  <a:cubicBezTo>
                    <a:pt x="840" y="546"/>
                    <a:pt x="818" y="577"/>
                    <a:pt x="775" y="577"/>
                  </a:cubicBezTo>
                  <a:cubicBezTo>
                    <a:pt x="732" y="577"/>
                    <a:pt x="730" y="524"/>
                    <a:pt x="688" y="546"/>
                  </a:cubicBezTo>
                  <a:cubicBezTo>
                    <a:pt x="688" y="687"/>
                    <a:pt x="688" y="781"/>
                    <a:pt x="688" y="840"/>
                  </a:cubicBezTo>
                  <a:cubicBezTo>
                    <a:pt x="622" y="840"/>
                    <a:pt x="442" y="840"/>
                    <a:pt x="400" y="840"/>
                  </a:cubicBezTo>
                  <a:cubicBezTo>
                    <a:pt x="362" y="802"/>
                    <a:pt x="425" y="793"/>
                    <a:pt x="425" y="758"/>
                  </a:cubicBezTo>
                  <a:cubicBezTo>
                    <a:pt x="425" y="723"/>
                    <a:pt x="408" y="687"/>
                    <a:pt x="346" y="688"/>
                  </a:cubicBezTo>
                  <a:cubicBezTo>
                    <a:pt x="284" y="689"/>
                    <a:pt x="272" y="716"/>
                    <a:pt x="270" y="750"/>
                  </a:cubicBezTo>
                  <a:cubicBezTo>
                    <a:pt x="268" y="784"/>
                    <a:pt x="344" y="814"/>
                    <a:pt x="289" y="838"/>
                  </a:cubicBezTo>
                  <a:cubicBezTo>
                    <a:pt x="145" y="838"/>
                    <a:pt x="1" y="838"/>
                    <a:pt x="1" y="838"/>
                  </a:cubicBezTo>
                  <a:cubicBezTo>
                    <a:pt x="2" y="724"/>
                    <a:pt x="1" y="286"/>
                    <a:pt x="0" y="150"/>
                  </a:cubicBezTo>
                  <a:close/>
                </a:path>
              </a:pathLst>
            </a:cu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sp>
        <p:nvSpPr>
          <p:cNvPr id="8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765231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3D-Kubus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ditierbare Module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uppieren 35"/>
          <p:cNvGrpSpPr>
            <a:grpSpLocks/>
          </p:cNvGrpSpPr>
          <p:nvPr/>
        </p:nvGrpSpPr>
        <p:grpSpPr bwMode="auto">
          <a:xfrm>
            <a:off x="4175885" y="2245949"/>
            <a:ext cx="3821178" cy="3415076"/>
            <a:chOff x="2466766" y="2018626"/>
            <a:chExt cx="3793666" cy="3391746"/>
          </a:xfrm>
        </p:grpSpPr>
        <p:sp>
          <p:nvSpPr>
            <p:cNvPr id="22" name="AutoShape 29"/>
            <p:cNvSpPr>
              <a:spLocks noChangeArrowheads="1"/>
            </p:cNvSpPr>
            <p:nvPr/>
          </p:nvSpPr>
          <p:spPr bwMode="ltGray">
            <a:xfrm>
              <a:off x="3320422" y="3709640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25" name="AutoShape 30"/>
            <p:cNvSpPr>
              <a:spLocks noChangeArrowheads="1"/>
            </p:cNvSpPr>
            <p:nvPr/>
          </p:nvSpPr>
          <p:spPr bwMode="ltGray">
            <a:xfrm>
              <a:off x="4136822" y="3709640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26" name="AutoShape 31"/>
            <p:cNvSpPr>
              <a:spLocks noChangeArrowheads="1"/>
            </p:cNvSpPr>
            <p:nvPr/>
          </p:nvSpPr>
          <p:spPr bwMode="ltGray">
            <a:xfrm>
              <a:off x="4972660" y="3709640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27" name="AutoShape 32"/>
            <p:cNvSpPr>
              <a:spLocks noChangeArrowheads="1"/>
            </p:cNvSpPr>
            <p:nvPr/>
          </p:nvSpPr>
          <p:spPr bwMode="ltGray">
            <a:xfrm>
              <a:off x="3320422" y="2854415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28" name="AutoShape 33"/>
            <p:cNvSpPr>
              <a:spLocks noChangeArrowheads="1"/>
            </p:cNvSpPr>
            <p:nvPr/>
          </p:nvSpPr>
          <p:spPr bwMode="ltGray">
            <a:xfrm>
              <a:off x="4136822" y="2854415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29" name="AutoShape 34"/>
            <p:cNvSpPr>
              <a:spLocks noChangeArrowheads="1"/>
            </p:cNvSpPr>
            <p:nvPr/>
          </p:nvSpPr>
          <p:spPr bwMode="ltGray">
            <a:xfrm>
              <a:off x="4972660" y="2854415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30" name="AutoShape 35"/>
            <p:cNvSpPr>
              <a:spLocks noChangeArrowheads="1"/>
            </p:cNvSpPr>
            <p:nvPr/>
          </p:nvSpPr>
          <p:spPr bwMode="ltGray">
            <a:xfrm>
              <a:off x="3320422" y="201862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r>
                <a:rPr lang="de-DE" altLang="zh-CN" sz="1400" dirty="0">
                  <a:latin typeface="Georgia" panose="02040502050405020303" pitchFamily="18" charset="0"/>
                  <a:ea typeface="SimSun" panose="02010600030101010101" pitchFamily="2" charset="-122"/>
                </a:rPr>
                <a:t>a</a:t>
              </a:r>
              <a:endParaRPr lang="zh-CN" altLang="en-US" sz="1400" dirty="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36" name="AutoShape 36"/>
            <p:cNvSpPr>
              <a:spLocks noChangeArrowheads="1"/>
            </p:cNvSpPr>
            <p:nvPr/>
          </p:nvSpPr>
          <p:spPr bwMode="ltGray">
            <a:xfrm>
              <a:off x="4136822" y="201862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r>
                <a:rPr lang="de-DE" altLang="zh-CN" sz="1400" dirty="0">
                  <a:latin typeface="Georgia" panose="02040502050405020303" pitchFamily="18" charset="0"/>
                  <a:ea typeface="SimSun" panose="02010600030101010101" pitchFamily="2" charset="-122"/>
                </a:rPr>
                <a:t>a</a:t>
              </a:r>
              <a:endParaRPr lang="zh-CN" altLang="en-US" sz="1400" dirty="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37" name="AutoShape 37"/>
            <p:cNvSpPr>
              <a:spLocks noChangeArrowheads="1"/>
            </p:cNvSpPr>
            <p:nvPr/>
          </p:nvSpPr>
          <p:spPr bwMode="ltGray">
            <a:xfrm>
              <a:off x="4972660" y="201862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39" name="AutoShape 38"/>
            <p:cNvSpPr>
              <a:spLocks noChangeArrowheads="1"/>
            </p:cNvSpPr>
            <p:nvPr/>
          </p:nvSpPr>
          <p:spPr bwMode="ltGray">
            <a:xfrm>
              <a:off x="3038570" y="4001194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41" name="AutoShape 39"/>
            <p:cNvSpPr>
              <a:spLocks noChangeArrowheads="1"/>
            </p:cNvSpPr>
            <p:nvPr/>
          </p:nvSpPr>
          <p:spPr bwMode="ltGray">
            <a:xfrm>
              <a:off x="3854970" y="4001194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44" name="AutoShape 40"/>
            <p:cNvSpPr>
              <a:spLocks noChangeArrowheads="1"/>
            </p:cNvSpPr>
            <p:nvPr/>
          </p:nvSpPr>
          <p:spPr bwMode="ltGray">
            <a:xfrm>
              <a:off x="4690807" y="4001194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49" name="AutoShape 41"/>
            <p:cNvSpPr>
              <a:spLocks noChangeArrowheads="1"/>
            </p:cNvSpPr>
            <p:nvPr/>
          </p:nvSpPr>
          <p:spPr bwMode="ltGray">
            <a:xfrm>
              <a:off x="3038570" y="314596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0" name="AutoShape 42"/>
            <p:cNvSpPr>
              <a:spLocks noChangeArrowheads="1"/>
            </p:cNvSpPr>
            <p:nvPr/>
          </p:nvSpPr>
          <p:spPr bwMode="ltGray">
            <a:xfrm>
              <a:off x="3854970" y="314596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C6D2E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1" name="AutoShape 43"/>
            <p:cNvSpPr>
              <a:spLocks noChangeArrowheads="1"/>
            </p:cNvSpPr>
            <p:nvPr/>
          </p:nvSpPr>
          <p:spPr bwMode="ltGray">
            <a:xfrm>
              <a:off x="5133023" y="314596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00AAFF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2" name="AutoShape 44"/>
            <p:cNvSpPr>
              <a:spLocks noChangeArrowheads="1"/>
            </p:cNvSpPr>
            <p:nvPr/>
          </p:nvSpPr>
          <p:spPr bwMode="ltGray">
            <a:xfrm>
              <a:off x="3038570" y="2300462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3" name="AutoShape 45"/>
            <p:cNvSpPr>
              <a:spLocks noChangeArrowheads="1"/>
            </p:cNvSpPr>
            <p:nvPr/>
          </p:nvSpPr>
          <p:spPr bwMode="ltGray">
            <a:xfrm>
              <a:off x="3854970" y="2300462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4" name="AutoShape 46"/>
            <p:cNvSpPr>
              <a:spLocks noChangeArrowheads="1"/>
            </p:cNvSpPr>
            <p:nvPr/>
          </p:nvSpPr>
          <p:spPr bwMode="ltGray">
            <a:xfrm>
              <a:off x="4690807" y="2300462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5" name="AutoShape 47"/>
            <p:cNvSpPr>
              <a:spLocks noChangeArrowheads="1"/>
            </p:cNvSpPr>
            <p:nvPr/>
          </p:nvSpPr>
          <p:spPr bwMode="ltGray">
            <a:xfrm>
              <a:off x="2756718" y="4273311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6" name="AutoShape 48"/>
            <p:cNvSpPr>
              <a:spLocks noChangeArrowheads="1"/>
            </p:cNvSpPr>
            <p:nvPr/>
          </p:nvSpPr>
          <p:spPr bwMode="ltGray">
            <a:xfrm>
              <a:off x="3573117" y="4273311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7" name="AutoShape 49"/>
            <p:cNvSpPr>
              <a:spLocks noChangeArrowheads="1"/>
            </p:cNvSpPr>
            <p:nvPr/>
          </p:nvSpPr>
          <p:spPr bwMode="ltGray">
            <a:xfrm>
              <a:off x="4408955" y="4273311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8" name="AutoShape 50"/>
            <p:cNvSpPr>
              <a:spLocks noChangeArrowheads="1"/>
            </p:cNvSpPr>
            <p:nvPr/>
          </p:nvSpPr>
          <p:spPr bwMode="ltGray">
            <a:xfrm>
              <a:off x="2466766" y="341808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FFBC04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59" name="AutoShape 51"/>
            <p:cNvSpPr>
              <a:spLocks noChangeArrowheads="1"/>
            </p:cNvSpPr>
            <p:nvPr/>
          </p:nvSpPr>
          <p:spPr bwMode="ltGray">
            <a:xfrm>
              <a:off x="3573117" y="341808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60" name="AutoShape 52"/>
            <p:cNvSpPr>
              <a:spLocks noChangeArrowheads="1"/>
            </p:cNvSpPr>
            <p:nvPr/>
          </p:nvSpPr>
          <p:spPr bwMode="ltGray">
            <a:xfrm>
              <a:off x="4408955" y="3418086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61" name="AutoShape 53"/>
            <p:cNvSpPr>
              <a:spLocks noChangeArrowheads="1"/>
            </p:cNvSpPr>
            <p:nvPr/>
          </p:nvSpPr>
          <p:spPr bwMode="ltGray">
            <a:xfrm>
              <a:off x="2756718" y="257257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 dirty="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62" name="AutoShape 54"/>
            <p:cNvSpPr>
              <a:spLocks noChangeArrowheads="1"/>
            </p:cNvSpPr>
            <p:nvPr/>
          </p:nvSpPr>
          <p:spPr bwMode="ltGray">
            <a:xfrm>
              <a:off x="3573117" y="257257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  <p:sp>
          <p:nvSpPr>
            <p:cNvPr id="63" name="AutoShape 55"/>
            <p:cNvSpPr>
              <a:spLocks noChangeArrowheads="1"/>
            </p:cNvSpPr>
            <p:nvPr/>
          </p:nvSpPr>
          <p:spPr bwMode="ltGray">
            <a:xfrm>
              <a:off x="4408955" y="2572579"/>
              <a:ext cx="1127409" cy="1137061"/>
            </a:xfrm>
            <a:prstGeom prst="cube">
              <a:avLst>
                <a:gd name="adj" fmla="val 25000"/>
              </a:avLst>
            </a:prstGeom>
            <a:solidFill>
              <a:srgbClr val="2F52A0"/>
            </a:solidFill>
            <a:ln w="19050" algn="ctr">
              <a:solidFill>
                <a:srgbClr val="1D2262"/>
              </a:solidFill>
              <a:miter lim="800000"/>
              <a:headEnd/>
              <a:tailEnd/>
            </a:ln>
          </p:spPr>
          <p:txBody>
            <a:bodyPr lIns="72000" tIns="72000" rIns="36000" bIns="36000" anchor="ctr" anchorCtr="1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zh-CN" altLang="en-US" sz="1400">
                <a:latin typeface="Georgia" panose="02040502050405020303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3" name="Gruppierung 2"/>
          <p:cNvGrpSpPr/>
          <p:nvPr/>
        </p:nvGrpSpPr>
        <p:grpSpPr>
          <a:xfrm>
            <a:off x="8789392" y="2127584"/>
            <a:ext cx="1307435" cy="1307431"/>
            <a:chOff x="5903397" y="306351"/>
            <a:chExt cx="1307435" cy="1307431"/>
          </a:xfrm>
        </p:grpSpPr>
        <p:sp>
          <p:nvSpPr>
            <p:cNvPr id="65" name="Träne 64"/>
            <p:cNvSpPr/>
            <p:nvPr/>
          </p:nvSpPr>
          <p:spPr>
            <a:xfrm rot="13412457">
              <a:off x="5903397" y="306351"/>
              <a:ext cx="1307435" cy="1307431"/>
            </a:xfrm>
            <a:prstGeom prst="teardrop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6" name="Textfeld 65"/>
            <p:cNvSpPr txBox="1"/>
            <p:nvPr/>
          </p:nvSpPr>
          <p:spPr>
            <a:xfrm>
              <a:off x="6076855" y="620688"/>
              <a:ext cx="960519" cy="7848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900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Die einzelnen </a:t>
              </a:r>
            </a:p>
            <a:p>
              <a:pPr algn="ctr"/>
              <a:r>
                <a:rPr lang="de-DE" sz="900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Kuben können </a:t>
              </a:r>
            </a:p>
            <a:p>
              <a:pPr algn="ctr"/>
              <a:r>
                <a:rPr lang="de-DE" sz="900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heraus-</a:t>
              </a:r>
            </a:p>
            <a:p>
              <a:pPr algn="ctr"/>
              <a:r>
                <a:rPr lang="de-DE" sz="900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genommen </a:t>
              </a:r>
            </a:p>
            <a:p>
              <a:pPr algn="ctr"/>
              <a:r>
                <a:rPr lang="de-DE" sz="900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werden</a:t>
              </a:r>
            </a:p>
          </p:txBody>
        </p:sp>
      </p:grpSp>
      <p:sp>
        <p:nvSpPr>
          <p:cNvPr id="4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66131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5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ktion und Reaktio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ahnräde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ung 5"/>
          <p:cNvGrpSpPr/>
          <p:nvPr/>
        </p:nvGrpSpPr>
        <p:grpSpPr>
          <a:xfrm>
            <a:off x="2351584" y="1423455"/>
            <a:ext cx="6684261" cy="4262897"/>
            <a:chOff x="2351584" y="1423455"/>
            <a:chExt cx="6684261" cy="4262897"/>
          </a:xfrm>
        </p:grpSpPr>
        <p:grpSp>
          <p:nvGrpSpPr>
            <p:cNvPr id="2" name="Gruppierung 1"/>
            <p:cNvGrpSpPr/>
            <p:nvPr/>
          </p:nvGrpSpPr>
          <p:grpSpPr>
            <a:xfrm>
              <a:off x="2351584" y="1510353"/>
              <a:ext cx="4177713" cy="4175999"/>
              <a:chOff x="2351584" y="1510353"/>
              <a:chExt cx="4177713" cy="4175999"/>
            </a:xfrm>
          </p:grpSpPr>
          <p:sp>
            <p:nvSpPr>
              <p:cNvPr id="45" name="Freeform 4"/>
              <p:cNvSpPr>
                <a:spLocks noEditPoints="1"/>
              </p:cNvSpPr>
              <p:nvPr/>
            </p:nvSpPr>
            <p:spPr bwMode="auto">
              <a:xfrm>
                <a:off x="2351584" y="1510353"/>
                <a:ext cx="4177713" cy="4175999"/>
              </a:xfrm>
              <a:custGeom>
                <a:avLst/>
                <a:gdLst>
                  <a:gd name="T0" fmla="*/ 2147483647 w 1052"/>
                  <a:gd name="T1" fmla="*/ 2147483647 h 1057"/>
                  <a:gd name="T2" fmla="*/ 2147483647 w 1052"/>
                  <a:gd name="T3" fmla="*/ 2147483647 h 1057"/>
                  <a:gd name="T4" fmla="*/ 2147483647 w 1052"/>
                  <a:gd name="T5" fmla="*/ 2147483647 h 1057"/>
                  <a:gd name="T6" fmla="*/ 2147483647 w 1052"/>
                  <a:gd name="T7" fmla="*/ 2147483647 h 1057"/>
                  <a:gd name="T8" fmla="*/ 2147483647 w 1052"/>
                  <a:gd name="T9" fmla="*/ 2147483647 h 1057"/>
                  <a:gd name="T10" fmla="*/ 2147483647 w 1052"/>
                  <a:gd name="T11" fmla="*/ 2147483647 h 1057"/>
                  <a:gd name="T12" fmla="*/ 2147483647 w 1052"/>
                  <a:gd name="T13" fmla="*/ 2147483647 h 1057"/>
                  <a:gd name="T14" fmla="*/ 2147483647 w 1052"/>
                  <a:gd name="T15" fmla="*/ 2147483647 h 1057"/>
                  <a:gd name="T16" fmla="*/ 2147483647 w 1052"/>
                  <a:gd name="T17" fmla="*/ 2147483647 h 1057"/>
                  <a:gd name="T18" fmla="*/ 2147483647 w 1052"/>
                  <a:gd name="T19" fmla="*/ 2147483647 h 1057"/>
                  <a:gd name="T20" fmla="*/ 2147483647 w 1052"/>
                  <a:gd name="T21" fmla="*/ 2147483647 h 1057"/>
                  <a:gd name="T22" fmla="*/ 2147483647 w 1052"/>
                  <a:gd name="T23" fmla="*/ 2147483647 h 1057"/>
                  <a:gd name="T24" fmla="*/ 2147483647 w 1052"/>
                  <a:gd name="T25" fmla="*/ 2147483647 h 1057"/>
                  <a:gd name="T26" fmla="*/ 2147483647 w 1052"/>
                  <a:gd name="T27" fmla="*/ 2147483647 h 1057"/>
                  <a:gd name="T28" fmla="*/ 2147483647 w 1052"/>
                  <a:gd name="T29" fmla="*/ 2147483647 h 1057"/>
                  <a:gd name="T30" fmla="*/ 2147483647 w 1052"/>
                  <a:gd name="T31" fmla="*/ 2147483647 h 1057"/>
                  <a:gd name="T32" fmla="*/ 2147483647 w 1052"/>
                  <a:gd name="T33" fmla="*/ 2147483647 h 1057"/>
                  <a:gd name="T34" fmla="*/ 2147483647 w 1052"/>
                  <a:gd name="T35" fmla="*/ 2147483647 h 1057"/>
                  <a:gd name="T36" fmla="*/ 2147483647 w 1052"/>
                  <a:gd name="T37" fmla="*/ 2147483647 h 1057"/>
                  <a:gd name="T38" fmla="*/ 2147483647 w 1052"/>
                  <a:gd name="T39" fmla="*/ 2147483647 h 1057"/>
                  <a:gd name="T40" fmla="*/ 2147483647 w 1052"/>
                  <a:gd name="T41" fmla="*/ 2147483647 h 1057"/>
                  <a:gd name="T42" fmla="*/ 2147483647 w 1052"/>
                  <a:gd name="T43" fmla="*/ 2147483647 h 1057"/>
                  <a:gd name="T44" fmla="*/ 2147483647 w 1052"/>
                  <a:gd name="T45" fmla="*/ 2147483647 h 1057"/>
                  <a:gd name="T46" fmla="*/ 2147483647 w 1052"/>
                  <a:gd name="T47" fmla="*/ 2147483647 h 1057"/>
                  <a:gd name="T48" fmla="*/ 2147483647 w 1052"/>
                  <a:gd name="T49" fmla="*/ 2147483647 h 1057"/>
                  <a:gd name="T50" fmla="*/ 2147483647 w 1052"/>
                  <a:gd name="T51" fmla="*/ 2147483647 h 1057"/>
                  <a:gd name="T52" fmla="*/ 2147483647 w 1052"/>
                  <a:gd name="T53" fmla="*/ 2147483647 h 1057"/>
                  <a:gd name="T54" fmla="*/ 2147483647 w 1052"/>
                  <a:gd name="T55" fmla="*/ 2147483647 h 1057"/>
                  <a:gd name="T56" fmla="*/ 2147483647 w 1052"/>
                  <a:gd name="T57" fmla="*/ 2147483647 h 1057"/>
                  <a:gd name="T58" fmla="*/ 2147483647 w 1052"/>
                  <a:gd name="T59" fmla="*/ 2147483647 h 1057"/>
                  <a:gd name="T60" fmla="*/ 2147483647 w 1052"/>
                  <a:gd name="T61" fmla="*/ 2147483647 h 1057"/>
                  <a:gd name="T62" fmla="*/ 2147483647 w 1052"/>
                  <a:gd name="T63" fmla="*/ 2147483647 h 1057"/>
                  <a:gd name="T64" fmla="*/ 2147483647 w 1052"/>
                  <a:gd name="T65" fmla="*/ 2147483647 h 1057"/>
                  <a:gd name="T66" fmla="*/ 2147483647 w 1052"/>
                  <a:gd name="T67" fmla="*/ 2147483647 h 1057"/>
                  <a:gd name="T68" fmla="*/ 2147483647 w 1052"/>
                  <a:gd name="T69" fmla="*/ 2147483647 h 1057"/>
                  <a:gd name="T70" fmla="*/ 2147483647 w 1052"/>
                  <a:gd name="T71" fmla="*/ 2147483647 h 1057"/>
                  <a:gd name="T72" fmla="*/ 2147483647 w 1052"/>
                  <a:gd name="T73" fmla="*/ 2147483647 h 1057"/>
                  <a:gd name="T74" fmla="*/ 2147483647 w 1052"/>
                  <a:gd name="T75" fmla="*/ 2147483647 h 1057"/>
                  <a:gd name="T76" fmla="*/ 2147483647 w 1052"/>
                  <a:gd name="T77" fmla="*/ 2147483647 h 1057"/>
                  <a:gd name="T78" fmla="*/ 2147483647 w 1052"/>
                  <a:gd name="T79" fmla="*/ 2147483647 h 1057"/>
                  <a:gd name="T80" fmla="*/ 2147483647 w 1052"/>
                  <a:gd name="T81" fmla="*/ 2147483647 h 1057"/>
                  <a:gd name="T82" fmla="*/ 0 w 1052"/>
                  <a:gd name="T83" fmla="*/ 2147483647 h 1057"/>
                  <a:gd name="T84" fmla="*/ 2147483647 w 1052"/>
                  <a:gd name="T85" fmla="*/ 2147483647 h 1057"/>
                  <a:gd name="T86" fmla="*/ 2147483647 w 1052"/>
                  <a:gd name="T87" fmla="*/ 2147483647 h 1057"/>
                  <a:gd name="T88" fmla="*/ 2147483647 w 1052"/>
                  <a:gd name="T89" fmla="*/ 2147483647 h 1057"/>
                  <a:gd name="T90" fmla="*/ 2147483647 w 1052"/>
                  <a:gd name="T91" fmla="*/ 2147483647 h 1057"/>
                  <a:gd name="T92" fmla="*/ 2147483647 w 1052"/>
                  <a:gd name="T93" fmla="*/ 2147483647 h 1057"/>
                  <a:gd name="T94" fmla="*/ 2147483647 w 1052"/>
                  <a:gd name="T95" fmla="*/ 2147483647 h 1057"/>
                  <a:gd name="T96" fmla="*/ 2147483647 w 1052"/>
                  <a:gd name="T97" fmla="*/ 2147483647 h 1057"/>
                  <a:gd name="T98" fmla="*/ 2147483647 w 1052"/>
                  <a:gd name="T99" fmla="*/ 2147483647 h 1057"/>
                  <a:gd name="T100" fmla="*/ 2147483647 w 1052"/>
                  <a:gd name="T101" fmla="*/ 2147483647 h 1057"/>
                  <a:gd name="T102" fmla="*/ 2147483647 w 1052"/>
                  <a:gd name="T103" fmla="*/ 2147483647 h 1057"/>
                  <a:gd name="T104" fmla="*/ 2147483647 w 1052"/>
                  <a:gd name="T105" fmla="*/ 2147483647 h 1057"/>
                  <a:gd name="T106" fmla="*/ 2147483647 w 1052"/>
                  <a:gd name="T107" fmla="*/ 2147483647 h 1057"/>
                  <a:gd name="T108" fmla="*/ 2147483647 w 1052"/>
                  <a:gd name="T109" fmla="*/ 2147483647 h 1057"/>
                  <a:gd name="T110" fmla="*/ 2147483647 w 1052"/>
                  <a:gd name="T111" fmla="*/ 2147483647 h 1057"/>
                  <a:gd name="T112" fmla="*/ 2147483647 w 1052"/>
                  <a:gd name="T113" fmla="*/ 2147483647 h 1057"/>
                  <a:gd name="T114" fmla="*/ 2147483647 w 1052"/>
                  <a:gd name="T115" fmla="*/ 2147483647 h 105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52"/>
                  <a:gd name="T175" fmla="*/ 0 h 1057"/>
                  <a:gd name="T176" fmla="*/ 1052 w 1052"/>
                  <a:gd name="T177" fmla="*/ 1057 h 105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52" h="1057">
                    <a:moveTo>
                      <a:pt x="187" y="528"/>
                    </a:moveTo>
                    <a:lnTo>
                      <a:pt x="188" y="545"/>
                    </a:lnTo>
                    <a:lnTo>
                      <a:pt x="189" y="563"/>
                    </a:lnTo>
                    <a:lnTo>
                      <a:pt x="190" y="572"/>
                    </a:lnTo>
                    <a:lnTo>
                      <a:pt x="191" y="580"/>
                    </a:lnTo>
                    <a:lnTo>
                      <a:pt x="194" y="597"/>
                    </a:lnTo>
                    <a:lnTo>
                      <a:pt x="196" y="605"/>
                    </a:lnTo>
                    <a:lnTo>
                      <a:pt x="198" y="613"/>
                    </a:lnTo>
                    <a:lnTo>
                      <a:pt x="202" y="629"/>
                    </a:lnTo>
                    <a:lnTo>
                      <a:pt x="208" y="646"/>
                    </a:lnTo>
                    <a:lnTo>
                      <a:pt x="214" y="661"/>
                    </a:lnTo>
                    <a:lnTo>
                      <a:pt x="217" y="668"/>
                    </a:lnTo>
                    <a:lnTo>
                      <a:pt x="220" y="676"/>
                    </a:lnTo>
                    <a:lnTo>
                      <a:pt x="224" y="683"/>
                    </a:lnTo>
                    <a:lnTo>
                      <a:pt x="228" y="690"/>
                    </a:lnTo>
                    <a:lnTo>
                      <a:pt x="236" y="704"/>
                    </a:lnTo>
                    <a:lnTo>
                      <a:pt x="245" y="718"/>
                    </a:lnTo>
                    <a:lnTo>
                      <a:pt x="254" y="732"/>
                    </a:lnTo>
                    <a:lnTo>
                      <a:pt x="264" y="745"/>
                    </a:lnTo>
                    <a:lnTo>
                      <a:pt x="274" y="757"/>
                    </a:lnTo>
                    <a:lnTo>
                      <a:pt x="286" y="768"/>
                    </a:lnTo>
                    <a:lnTo>
                      <a:pt x="298" y="780"/>
                    </a:lnTo>
                    <a:lnTo>
                      <a:pt x="304" y="785"/>
                    </a:lnTo>
                    <a:lnTo>
                      <a:pt x="310" y="790"/>
                    </a:lnTo>
                    <a:lnTo>
                      <a:pt x="323" y="800"/>
                    </a:lnTo>
                    <a:lnTo>
                      <a:pt x="336" y="809"/>
                    </a:lnTo>
                    <a:lnTo>
                      <a:pt x="350" y="819"/>
                    </a:lnTo>
                    <a:lnTo>
                      <a:pt x="364" y="827"/>
                    </a:lnTo>
                    <a:lnTo>
                      <a:pt x="378" y="835"/>
                    </a:lnTo>
                    <a:lnTo>
                      <a:pt x="393" y="841"/>
                    </a:lnTo>
                    <a:lnTo>
                      <a:pt x="401" y="845"/>
                    </a:lnTo>
                    <a:lnTo>
                      <a:pt x="409" y="847"/>
                    </a:lnTo>
                    <a:lnTo>
                      <a:pt x="424" y="853"/>
                    </a:lnTo>
                    <a:lnTo>
                      <a:pt x="432" y="855"/>
                    </a:lnTo>
                    <a:lnTo>
                      <a:pt x="440" y="857"/>
                    </a:lnTo>
                    <a:lnTo>
                      <a:pt x="449" y="859"/>
                    </a:lnTo>
                    <a:lnTo>
                      <a:pt x="457" y="861"/>
                    </a:lnTo>
                    <a:lnTo>
                      <a:pt x="474" y="864"/>
                    </a:lnTo>
                    <a:lnTo>
                      <a:pt x="491" y="866"/>
                    </a:lnTo>
                    <a:lnTo>
                      <a:pt x="508" y="867"/>
                    </a:lnTo>
                    <a:lnTo>
                      <a:pt x="525" y="868"/>
                    </a:lnTo>
                    <a:lnTo>
                      <a:pt x="542" y="867"/>
                    </a:lnTo>
                    <a:lnTo>
                      <a:pt x="559" y="866"/>
                    </a:lnTo>
                    <a:lnTo>
                      <a:pt x="568" y="865"/>
                    </a:lnTo>
                    <a:lnTo>
                      <a:pt x="576" y="864"/>
                    </a:lnTo>
                    <a:lnTo>
                      <a:pt x="593" y="861"/>
                    </a:lnTo>
                    <a:lnTo>
                      <a:pt x="602" y="859"/>
                    </a:lnTo>
                    <a:lnTo>
                      <a:pt x="610" y="857"/>
                    </a:lnTo>
                    <a:lnTo>
                      <a:pt x="626" y="853"/>
                    </a:lnTo>
                    <a:lnTo>
                      <a:pt x="641" y="847"/>
                    </a:lnTo>
                    <a:lnTo>
                      <a:pt x="657" y="841"/>
                    </a:lnTo>
                    <a:lnTo>
                      <a:pt x="664" y="838"/>
                    </a:lnTo>
                    <a:lnTo>
                      <a:pt x="672" y="835"/>
                    </a:lnTo>
                    <a:lnTo>
                      <a:pt x="679" y="831"/>
                    </a:lnTo>
                    <a:lnTo>
                      <a:pt x="686" y="827"/>
                    </a:lnTo>
                    <a:lnTo>
                      <a:pt x="700" y="819"/>
                    </a:lnTo>
                    <a:lnTo>
                      <a:pt x="714" y="809"/>
                    </a:lnTo>
                    <a:lnTo>
                      <a:pt x="727" y="800"/>
                    </a:lnTo>
                    <a:lnTo>
                      <a:pt x="740" y="790"/>
                    </a:lnTo>
                    <a:lnTo>
                      <a:pt x="753" y="780"/>
                    </a:lnTo>
                    <a:lnTo>
                      <a:pt x="764" y="768"/>
                    </a:lnTo>
                    <a:lnTo>
                      <a:pt x="776" y="757"/>
                    </a:lnTo>
                    <a:lnTo>
                      <a:pt x="781" y="751"/>
                    </a:lnTo>
                    <a:lnTo>
                      <a:pt x="786" y="745"/>
                    </a:lnTo>
                    <a:lnTo>
                      <a:pt x="796" y="732"/>
                    </a:lnTo>
                    <a:lnTo>
                      <a:pt x="805" y="718"/>
                    </a:lnTo>
                    <a:lnTo>
                      <a:pt x="814" y="704"/>
                    </a:lnTo>
                    <a:lnTo>
                      <a:pt x="822" y="690"/>
                    </a:lnTo>
                    <a:lnTo>
                      <a:pt x="830" y="676"/>
                    </a:lnTo>
                    <a:lnTo>
                      <a:pt x="836" y="661"/>
                    </a:lnTo>
                    <a:lnTo>
                      <a:pt x="840" y="653"/>
                    </a:lnTo>
                    <a:lnTo>
                      <a:pt x="842" y="646"/>
                    </a:lnTo>
                    <a:lnTo>
                      <a:pt x="848" y="629"/>
                    </a:lnTo>
                    <a:lnTo>
                      <a:pt x="850" y="621"/>
                    </a:lnTo>
                    <a:lnTo>
                      <a:pt x="852" y="613"/>
                    </a:lnTo>
                    <a:lnTo>
                      <a:pt x="854" y="605"/>
                    </a:lnTo>
                    <a:lnTo>
                      <a:pt x="856" y="597"/>
                    </a:lnTo>
                    <a:lnTo>
                      <a:pt x="859" y="580"/>
                    </a:lnTo>
                    <a:lnTo>
                      <a:pt x="861" y="563"/>
                    </a:lnTo>
                    <a:lnTo>
                      <a:pt x="862" y="545"/>
                    </a:lnTo>
                    <a:lnTo>
                      <a:pt x="863" y="528"/>
                    </a:lnTo>
                    <a:lnTo>
                      <a:pt x="862" y="511"/>
                    </a:lnTo>
                    <a:lnTo>
                      <a:pt x="861" y="494"/>
                    </a:lnTo>
                    <a:lnTo>
                      <a:pt x="860" y="485"/>
                    </a:lnTo>
                    <a:lnTo>
                      <a:pt x="859" y="477"/>
                    </a:lnTo>
                    <a:lnTo>
                      <a:pt x="856" y="459"/>
                    </a:lnTo>
                    <a:lnTo>
                      <a:pt x="854" y="451"/>
                    </a:lnTo>
                    <a:lnTo>
                      <a:pt x="852" y="443"/>
                    </a:lnTo>
                    <a:lnTo>
                      <a:pt x="848" y="427"/>
                    </a:lnTo>
                    <a:lnTo>
                      <a:pt x="842" y="412"/>
                    </a:lnTo>
                    <a:lnTo>
                      <a:pt x="836" y="396"/>
                    </a:lnTo>
                    <a:lnTo>
                      <a:pt x="833" y="389"/>
                    </a:lnTo>
                    <a:lnTo>
                      <a:pt x="830" y="380"/>
                    </a:lnTo>
                    <a:lnTo>
                      <a:pt x="826" y="373"/>
                    </a:lnTo>
                    <a:lnTo>
                      <a:pt x="822" y="366"/>
                    </a:lnTo>
                    <a:lnTo>
                      <a:pt x="814" y="352"/>
                    </a:lnTo>
                    <a:lnTo>
                      <a:pt x="805" y="338"/>
                    </a:lnTo>
                    <a:lnTo>
                      <a:pt x="796" y="325"/>
                    </a:lnTo>
                    <a:lnTo>
                      <a:pt x="786" y="312"/>
                    </a:lnTo>
                    <a:lnTo>
                      <a:pt x="776" y="300"/>
                    </a:lnTo>
                    <a:lnTo>
                      <a:pt x="764" y="288"/>
                    </a:lnTo>
                    <a:lnTo>
                      <a:pt x="753" y="276"/>
                    </a:lnTo>
                    <a:lnTo>
                      <a:pt x="747" y="271"/>
                    </a:lnTo>
                    <a:lnTo>
                      <a:pt x="740" y="266"/>
                    </a:lnTo>
                    <a:lnTo>
                      <a:pt x="727" y="256"/>
                    </a:lnTo>
                    <a:lnTo>
                      <a:pt x="714" y="247"/>
                    </a:lnTo>
                    <a:lnTo>
                      <a:pt x="700" y="238"/>
                    </a:lnTo>
                    <a:lnTo>
                      <a:pt x="686" y="230"/>
                    </a:lnTo>
                    <a:lnTo>
                      <a:pt x="672" y="222"/>
                    </a:lnTo>
                    <a:lnTo>
                      <a:pt x="657" y="216"/>
                    </a:lnTo>
                    <a:lnTo>
                      <a:pt x="649" y="212"/>
                    </a:lnTo>
                    <a:lnTo>
                      <a:pt x="641" y="209"/>
                    </a:lnTo>
                    <a:lnTo>
                      <a:pt x="626" y="203"/>
                    </a:lnTo>
                    <a:lnTo>
                      <a:pt x="618" y="201"/>
                    </a:lnTo>
                    <a:lnTo>
                      <a:pt x="610" y="199"/>
                    </a:lnTo>
                    <a:lnTo>
                      <a:pt x="602" y="197"/>
                    </a:lnTo>
                    <a:lnTo>
                      <a:pt x="593" y="195"/>
                    </a:lnTo>
                    <a:lnTo>
                      <a:pt x="576" y="192"/>
                    </a:lnTo>
                    <a:lnTo>
                      <a:pt x="559" y="190"/>
                    </a:lnTo>
                    <a:lnTo>
                      <a:pt x="542" y="189"/>
                    </a:lnTo>
                    <a:lnTo>
                      <a:pt x="525" y="188"/>
                    </a:lnTo>
                    <a:lnTo>
                      <a:pt x="508" y="189"/>
                    </a:lnTo>
                    <a:lnTo>
                      <a:pt x="491" y="190"/>
                    </a:lnTo>
                    <a:lnTo>
                      <a:pt x="482" y="191"/>
                    </a:lnTo>
                    <a:lnTo>
                      <a:pt x="474" y="192"/>
                    </a:lnTo>
                    <a:lnTo>
                      <a:pt x="457" y="195"/>
                    </a:lnTo>
                    <a:lnTo>
                      <a:pt x="449" y="197"/>
                    </a:lnTo>
                    <a:lnTo>
                      <a:pt x="440" y="199"/>
                    </a:lnTo>
                    <a:lnTo>
                      <a:pt x="424" y="203"/>
                    </a:lnTo>
                    <a:lnTo>
                      <a:pt x="409" y="209"/>
                    </a:lnTo>
                    <a:lnTo>
                      <a:pt x="393" y="216"/>
                    </a:lnTo>
                    <a:lnTo>
                      <a:pt x="386" y="219"/>
                    </a:lnTo>
                    <a:lnTo>
                      <a:pt x="378" y="222"/>
                    </a:lnTo>
                    <a:lnTo>
                      <a:pt x="371" y="226"/>
                    </a:lnTo>
                    <a:lnTo>
                      <a:pt x="364" y="230"/>
                    </a:lnTo>
                    <a:lnTo>
                      <a:pt x="350" y="238"/>
                    </a:lnTo>
                    <a:lnTo>
                      <a:pt x="336" y="247"/>
                    </a:lnTo>
                    <a:lnTo>
                      <a:pt x="323" y="256"/>
                    </a:lnTo>
                    <a:lnTo>
                      <a:pt x="310" y="266"/>
                    </a:lnTo>
                    <a:lnTo>
                      <a:pt x="298" y="276"/>
                    </a:lnTo>
                    <a:lnTo>
                      <a:pt x="286" y="288"/>
                    </a:lnTo>
                    <a:lnTo>
                      <a:pt x="274" y="300"/>
                    </a:lnTo>
                    <a:lnTo>
                      <a:pt x="269" y="306"/>
                    </a:lnTo>
                    <a:lnTo>
                      <a:pt x="264" y="312"/>
                    </a:lnTo>
                    <a:lnTo>
                      <a:pt x="254" y="325"/>
                    </a:lnTo>
                    <a:lnTo>
                      <a:pt x="245" y="338"/>
                    </a:lnTo>
                    <a:lnTo>
                      <a:pt x="236" y="352"/>
                    </a:lnTo>
                    <a:lnTo>
                      <a:pt x="228" y="366"/>
                    </a:lnTo>
                    <a:lnTo>
                      <a:pt x="220" y="380"/>
                    </a:lnTo>
                    <a:lnTo>
                      <a:pt x="214" y="396"/>
                    </a:lnTo>
                    <a:lnTo>
                      <a:pt x="211" y="404"/>
                    </a:lnTo>
                    <a:lnTo>
                      <a:pt x="208" y="412"/>
                    </a:lnTo>
                    <a:lnTo>
                      <a:pt x="202" y="427"/>
                    </a:lnTo>
                    <a:lnTo>
                      <a:pt x="200" y="435"/>
                    </a:lnTo>
                    <a:lnTo>
                      <a:pt x="198" y="443"/>
                    </a:lnTo>
                    <a:lnTo>
                      <a:pt x="196" y="451"/>
                    </a:lnTo>
                    <a:lnTo>
                      <a:pt x="194" y="459"/>
                    </a:lnTo>
                    <a:lnTo>
                      <a:pt x="191" y="477"/>
                    </a:lnTo>
                    <a:lnTo>
                      <a:pt x="189" y="494"/>
                    </a:lnTo>
                    <a:lnTo>
                      <a:pt x="188" y="511"/>
                    </a:lnTo>
                    <a:lnTo>
                      <a:pt x="187" y="528"/>
                    </a:lnTo>
                    <a:close/>
                    <a:moveTo>
                      <a:pt x="887" y="917"/>
                    </a:moveTo>
                    <a:lnTo>
                      <a:pt x="820" y="893"/>
                    </a:lnTo>
                    <a:lnTo>
                      <a:pt x="800" y="909"/>
                    </a:lnTo>
                    <a:lnTo>
                      <a:pt x="780" y="923"/>
                    </a:lnTo>
                    <a:lnTo>
                      <a:pt x="781" y="996"/>
                    </a:lnTo>
                    <a:lnTo>
                      <a:pt x="766" y="1003"/>
                    </a:lnTo>
                    <a:lnTo>
                      <a:pt x="751" y="1011"/>
                    </a:lnTo>
                    <a:lnTo>
                      <a:pt x="693" y="967"/>
                    </a:lnTo>
                    <a:lnTo>
                      <a:pt x="670" y="975"/>
                    </a:lnTo>
                    <a:lnTo>
                      <a:pt x="658" y="979"/>
                    </a:lnTo>
                    <a:lnTo>
                      <a:pt x="646" y="982"/>
                    </a:lnTo>
                    <a:lnTo>
                      <a:pt x="625" y="1051"/>
                    </a:lnTo>
                    <a:lnTo>
                      <a:pt x="591" y="1057"/>
                    </a:lnTo>
                    <a:lnTo>
                      <a:pt x="550" y="998"/>
                    </a:lnTo>
                    <a:lnTo>
                      <a:pt x="525" y="999"/>
                    </a:lnTo>
                    <a:lnTo>
                      <a:pt x="500" y="998"/>
                    </a:lnTo>
                    <a:lnTo>
                      <a:pt x="459" y="1057"/>
                    </a:lnTo>
                    <a:lnTo>
                      <a:pt x="442" y="1054"/>
                    </a:lnTo>
                    <a:lnTo>
                      <a:pt x="425" y="1051"/>
                    </a:lnTo>
                    <a:lnTo>
                      <a:pt x="404" y="982"/>
                    </a:lnTo>
                    <a:lnTo>
                      <a:pt x="380" y="975"/>
                    </a:lnTo>
                    <a:lnTo>
                      <a:pt x="369" y="971"/>
                    </a:lnTo>
                    <a:lnTo>
                      <a:pt x="357" y="967"/>
                    </a:lnTo>
                    <a:lnTo>
                      <a:pt x="300" y="1011"/>
                    </a:lnTo>
                    <a:lnTo>
                      <a:pt x="284" y="1003"/>
                    </a:lnTo>
                    <a:lnTo>
                      <a:pt x="269" y="996"/>
                    </a:lnTo>
                    <a:lnTo>
                      <a:pt x="270" y="923"/>
                    </a:lnTo>
                    <a:lnTo>
                      <a:pt x="250" y="909"/>
                    </a:lnTo>
                    <a:lnTo>
                      <a:pt x="240" y="902"/>
                    </a:lnTo>
                    <a:lnTo>
                      <a:pt x="230" y="893"/>
                    </a:lnTo>
                    <a:lnTo>
                      <a:pt x="163" y="917"/>
                    </a:lnTo>
                    <a:lnTo>
                      <a:pt x="151" y="905"/>
                    </a:lnTo>
                    <a:lnTo>
                      <a:pt x="138" y="892"/>
                    </a:lnTo>
                    <a:lnTo>
                      <a:pt x="162" y="825"/>
                    </a:lnTo>
                    <a:lnTo>
                      <a:pt x="147" y="804"/>
                    </a:lnTo>
                    <a:lnTo>
                      <a:pt x="132" y="784"/>
                    </a:lnTo>
                    <a:lnTo>
                      <a:pt x="61" y="785"/>
                    </a:lnTo>
                    <a:lnTo>
                      <a:pt x="53" y="770"/>
                    </a:lnTo>
                    <a:lnTo>
                      <a:pt x="45" y="755"/>
                    </a:lnTo>
                    <a:lnTo>
                      <a:pt x="88" y="697"/>
                    </a:lnTo>
                    <a:lnTo>
                      <a:pt x="80" y="674"/>
                    </a:lnTo>
                    <a:lnTo>
                      <a:pt x="76" y="662"/>
                    </a:lnTo>
                    <a:lnTo>
                      <a:pt x="73" y="650"/>
                    </a:lnTo>
                    <a:lnTo>
                      <a:pt x="5" y="628"/>
                    </a:lnTo>
                    <a:lnTo>
                      <a:pt x="0" y="595"/>
                    </a:lnTo>
                    <a:lnTo>
                      <a:pt x="58" y="553"/>
                    </a:lnTo>
                    <a:lnTo>
                      <a:pt x="57" y="528"/>
                    </a:lnTo>
                    <a:lnTo>
                      <a:pt x="58" y="503"/>
                    </a:lnTo>
                    <a:lnTo>
                      <a:pt x="0" y="461"/>
                    </a:lnTo>
                    <a:lnTo>
                      <a:pt x="2" y="445"/>
                    </a:lnTo>
                    <a:lnTo>
                      <a:pt x="5" y="428"/>
                    </a:lnTo>
                    <a:lnTo>
                      <a:pt x="73" y="407"/>
                    </a:lnTo>
                    <a:lnTo>
                      <a:pt x="80" y="382"/>
                    </a:lnTo>
                    <a:lnTo>
                      <a:pt x="84" y="371"/>
                    </a:lnTo>
                    <a:lnTo>
                      <a:pt x="88" y="359"/>
                    </a:lnTo>
                    <a:lnTo>
                      <a:pt x="45" y="302"/>
                    </a:lnTo>
                    <a:lnTo>
                      <a:pt x="53" y="286"/>
                    </a:lnTo>
                    <a:lnTo>
                      <a:pt x="61" y="271"/>
                    </a:lnTo>
                    <a:lnTo>
                      <a:pt x="132" y="272"/>
                    </a:lnTo>
                    <a:lnTo>
                      <a:pt x="147" y="252"/>
                    </a:lnTo>
                    <a:lnTo>
                      <a:pt x="154" y="242"/>
                    </a:lnTo>
                    <a:lnTo>
                      <a:pt x="162" y="232"/>
                    </a:lnTo>
                    <a:lnTo>
                      <a:pt x="138" y="164"/>
                    </a:lnTo>
                    <a:lnTo>
                      <a:pt x="151" y="152"/>
                    </a:lnTo>
                    <a:lnTo>
                      <a:pt x="163" y="140"/>
                    </a:lnTo>
                    <a:lnTo>
                      <a:pt x="230" y="163"/>
                    </a:lnTo>
                    <a:lnTo>
                      <a:pt x="250" y="148"/>
                    </a:lnTo>
                    <a:lnTo>
                      <a:pt x="270" y="134"/>
                    </a:lnTo>
                    <a:lnTo>
                      <a:pt x="269" y="62"/>
                    </a:lnTo>
                    <a:lnTo>
                      <a:pt x="284" y="54"/>
                    </a:lnTo>
                    <a:lnTo>
                      <a:pt x="300" y="46"/>
                    </a:lnTo>
                    <a:lnTo>
                      <a:pt x="357" y="89"/>
                    </a:lnTo>
                    <a:lnTo>
                      <a:pt x="380" y="81"/>
                    </a:lnTo>
                    <a:lnTo>
                      <a:pt x="392" y="77"/>
                    </a:lnTo>
                    <a:lnTo>
                      <a:pt x="404" y="74"/>
                    </a:lnTo>
                    <a:lnTo>
                      <a:pt x="425" y="5"/>
                    </a:lnTo>
                    <a:lnTo>
                      <a:pt x="459" y="0"/>
                    </a:lnTo>
                    <a:lnTo>
                      <a:pt x="500" y="59"/>
                    </a:lnTo>
                    <a:lnTo>
                      <a:pt x="525" y="58"/>
                    </a:lnTo>
                    <a:lnTo>
                      <a:pt x="550" y="59"/>
                    </a:lnTo>
                    <a:lnTo>
                      <a:pt x="591" y="0"/>
                    </a:lnTo>
                    <a:lnTo>
                      <a:pt x="608" y="2"/>
                    </a:lnTo>
                    <a:lnTo>
                      <a:pt x="625" y="5"/>
                    </a:lnTo>
                    <a:lnTo>
                      <a:pt x="646" y="74"/>
                    </a:lnTo>
                    <a:lnTo>
                      <a:pt x="670" y="81"/>
                    </a:lnTo>
                    <a:lnTo>
                      <a:pt x="682" y="85"/>
                    </a:lnTo>
                    <a:lnTo>
                      <a:pt x="693" y="89"/>
                    </a:lnTo>
                    <a:lnTo>
                      <a:pt x="751" y="46"/>
                    </a:lnTo>
                    <a:lnTo>
                      <a:pt x="766" y="54"/>
                    </a:lnTo>
                    <a:lnTo>
                      <a:pt x="781" y="62"/>
                    </a:lnTo>
                    <a:lnTo>
                      <a:pt x="780" y="134"/>
                    </a:lnTo>
                    <a:lnTo>
                      <a:pt x="800" y="148"/>
                    </a:lnTo>
                    <a:lnTo>
                      <a:pt x="810" y="155"/>
                    </a:lnTo>
                    <a:lnTo>
                      <a:pt x="820" y="163"/>
                    </a:lnTo>
                    <a:lnTo>
                      <a:pt x="887" y="140"/>
                    </a:lnTo>
                    <a:lnTo>
                      <a:pt x="900" y="152"/>
                    </a:lnTo>
                    <a:lnTo>
                      <a:pt x="912" y="164"/>
                    </a:lnTo>
                    <a:lnTo>
                      <a:pt x="888" y="232"/>
                    </a:lnTo>
                    <a:lnTo>
                      <a:pt x="904" y="252"/>
                    </a:lnTo>
                    <a:lnTo>
                      <a:pt x="918" y="272"/>
                    </a:lnTo>
                    <a:lnTo>
                      <a:pt x="990" y="271"/>
                    </a:lnTo>
                    <a:lnTo>
                      <a:pt x="997" y="286"/>
                    </a:lnTo>
                    <a:lnTo>
                      <a:pt x="1005" y="302"/>
                    </a:lnTo>
                    <a:lnTo>
                      <a:pt x="962" y="359"/>
                    </a:lnTo>
                    <a:lnTo>
                      <a:pt x="970" y="382"/>
                    </a:lnTo>
                    <a:lnTo>
                      <a:pt x="974" y="395"/>
                    </a:lnTo>
                    <a:lnTo>
                      <a:pt x="977" y="407"/>
                    </a:lnTo>
                    <a:lnTo>
                      <a:pt x="1045" y="428"/>
                    </a:lnTo>
                    <a:lnTo>
                      <a:pt x="1052" y="461"/>
                    </a:lnTo>
                    <a:lnTo>
                      <a:pt x="992" y="503"/>
                    </a:lnTo>
                    <a:lnTo>
                      <a:pt x="993" y="528"/>
                    </a:lnTo>
                    <a:lnTo>
                      <a:pt x="992" y="553"/>
                    </a:lnTo>
                    <a:lnTo>
                      <a:pt x="1052" y="595"/>
                    </a:lnTo>
                    <a:lnTo>
                      <a:pt x="1049" y="611"/>
                    </a:lnTo>
                    <a:lnTo>
                      <a:pt x="1045" y="628"/>
                    </a:lnTo>
                    <a:lnTo>
                      <a:pt x="977" y="650"/>
                    </a:lnTo>
                    <a:lnTo>
                      <a:pt x="970" y="674"/>
                    </a:lnTo>
                    <a:lnTo>
                      <a:pt x="966" y="686"/>
                    </a:lnTo>
                    <a:lnTo>
                      <a:pt x="962" y="697"/>
                    </a:lnTo>
                    <a:lnTo>
                      <a:pt x="1005" y="755"/>
                    </a:lnTo>
                    <a:lnTo>
                      <a:pt x="997" y="770"/>
                    </a:lnTo>
                    <a:lnTo>
                      <a:pt x="990" y="785"/>
                    </a:lnTo>
                    <a:lnTo>
                      <a:pt x="918" y="784"/>
                    </a:lnTo>
                    <a:lnTo>
                      <a:pt x="904" y="804"/>
                    </a:lnTo>
                    <a:lnTo>
                      <a:pt x="897" y="814"/>
                    </a:lnTo>
                    <a:lnTo>
                      <a:pt x="888" y="825"/>
                    </a:lnTo>
                    <a:lnTo>
                      <a:pt x="912" y="892"/>
                    </a:lnTo>
                    <a:lnTo>
                      <a:pt x="900" y="905"/>
                    </a:lnTo>
                    <a:lnTo>
                      <a:pt x="887" y="917"/>
                    </a:lnTo>
                    <a:close/>
                  </a:path>
                </a:pathLst>
              </a:custGeom>
              <a:solidFill>
                <a:srgbClr val="2F52A0"/>
              </a:solidFill>
              <a:ln w="127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72000" tIns="72000" rIns="36000" bIns="36000" anchor="ctr" anchorCtr="1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buClr>
                    <a:schemeClr val="tx1"/>
                  </a:buClr>
                </a:pPr>
                <a:endParaRPr lang="de-DE" altLang="de-DE" sz="1400">
                  <a:latin typeface="Georgia" panose="02040502050405020303" pitchFamily="18" charset="0"/>
                </a:endParaRPr>
              </a:p>
            </p:txBody>
          </p:sp>
          <p:sp>
            <p:nvSpPr>
              <p:cNvPr id="4" name="Oval 3"/>
              <p:cNvSpPr/>
              <p:nvPr/>
            </p:nvSpPr>
            <p:spPr>
              <a:xfrm>
                <a:off x="3348000" y="2520000"/>
                <a:ext cx="2148892" cy="2148892"/>
              </a:xfrm>
              <a:prstGeom prst="ellips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" name="Gruppierung 2"/>
            <p:cNvGrpSpPr/>
            <p:nvPr/>
          </p:nvGrpSpPr>
          <p:grpSpPr>
            <a:xfrm>
              <a:off x="6335845" y="1423455"/>
              <a:ext cx="2700000" cy="2700000"/>
              <a:chOff x="6335845" y="1423455"/>
              <a:chExt cx="2700000" cy="2700000"/>
            </a:xfrm>
          </p:grpSpPr>
          <p:sp>
            <p:nvSpPr>
              <p:cNvPr id="43" name="Freeform 3"/>
              <p:cNvSpPr>
                <a:spLocks noEditPoints="1"/>
              </p:cNvSpPr>
              <p:nvPr/>
            </p:nvSpPr>
            <p:spPr bwMode="auto">
              <a:xfrm>
                <a:off x="6335845" y="1423455"/>
                <a:ext cx="2700000" cy="2700000"/>
              </a:xfrm>
              <a:custGeom>
                <a:avLst/>
                <a:gdLst>
                  <a:gd name="T0" fmla="*/ 2147483647 w 636"/>
                  <a:gd name="T1" fmla="*/ 2147483647 h 633"/>
                  <a:gd name="T2" fmla="*/ 2147483647 w 636"/>
                  <a:gd name="T3" fmla="*/ 2147483647 h 633"/>
                  <a:gd name="T4" fmla="*/ 2147483647 w 636"/>
                  <a:gd name="T5" fmla="*/ 2147483647 h 633"/>
                  <a:gd name="T6" fmla="*/ 2147483647 w 636"/>
                  <a:gd name="T7" fmla="*/ 2147483647 h 633"/>
                  <a:gd name="T8" fmla="*/ 2147483647 w 636"/>
                  <a:gd name="T9" fmla="*/ 2147483647 h 633"/>
                  <a:gd name="T10" fmla="*/ 2147483647 w 636"/>
                  <a:gd name="T11" fmla="*/ 2147483647 h 633"/>
                  <a:gd name="T12" fmla="*/ 2147483647 w 636"/>
                  <a:gd name="T13" fmla="*/ 2147483647 h 633"/>
                  <a:gd name="T14" fmla="*/ 2147483647 w 636"/>
                  <a:gd name="T15" fmla="*/ 2147483647 h 633"/>
                  <a:gd name="T16" fmla="*/ 2147483647 w 636"/>
                  <a:gd name="T17" fmla="*/ 2147483647 h 633"/>
                  <a:gd name="T18" fmla="*/ 2147483647 w 636"/>
                  <a:gd name="T19" fmla="*/ 2147483647 h 633"/>
                  <a:gd name="T20" fmla="*/ 2147483647 w 636"/>
                  <a:gd name="T21" fmla="*/ 2147483647 h 633"/>
                  <a:gd name="T22" fmla="*/ 2147483647 w 636"/>
                  <a:gd name="T23" fmla="*/ 2147483647 h 633"/>
                  <a:gd name="T24" fmla="*/ 2147483647 w 636"/>
                  <a:gd name="T25" fmla="*/ 2147483647 h 633"/>
                  <a:gd name="T26" fmla="*/ 2147483647 w 636"/>
                  <a:gd name="T27" fmla="*/ 2147483647 h 633"/>
                  <a:gd name="T28" fmla="*/ 2147483647 w 636"/>
                  <a:gd name="T29" fmla="*/ 2147483647 h 633"/>
                  <a:gd name="T30" fmla="*/ 2147483647 w 636"/>
                  <a:gd name="T31" fmla="*/ 2147483647 h 633"/>
                  <a:gd name="T32" fmla="*/ 2147483647 w 636"/>
                  <a:gd name="T33" fmla="*/ 2147483647 h 633"/>
                  <a:gd name="T34" fmla="*/ 2147483647 w 636"/>
                  <a:gd name="T35" fmla="*/ 2147483647 h 633"/>
                  <a:gd name="T36" fmla="*/ 2147483647 w 636"/>
                  <a:gd name="T37" fmla="*/ 2147483647 h 633"/>
                  <a:gd name="T38" fmla="*/ 2147483647 w 636"/>
                  <a:gd name="T39" fmla="*/ 2147483647 h 633"/>
                  <a:gd name="T40" fmla="*/ 2147483647 w 636"/>
                  <a:gd name="T41" fmla="*/ 2147483647 h 633"/>
                  <a:gd name="T42" fmla="*/ 2147483647 w 636"/>
                  <a:gd name="T43" fmla="*/ 2147483647 h 633"/>
                  <a:gd name="T44" fmla="*/ 2147483647 w 636"/>
                  <a:gd name="T45" fmla="*/ 2147483647 h 633"/>
                  <a:gd name="T46" fmla="*/ 2147483647 w 636"/>
                  <a:gd name="T47" fmla="*/ 2147483647 h 633"/>
                  <a:gd name="T48" fmla="*/ 2147483647 w 636"/>
                  <a:gd name="T49" fmla="*/ 2147483647 h 633"/>
                  <a:gd name="T50" fmla="*/ 2147483647 w 636"/>
                  <a:gd name="T51" fmla="*/ 2147483647 h 633"/>
                  <a:gd name="T52" fmla="*/ 2147483647 w 636"/>
                  <a:gd name="T53" fmla="*/ 2147483647 h 633"/>
                  <a:gd name="T54" fmla="*/ 2147483647 w 636"/>
                  <a:gd name="T55" fmla="*/ 2147483647 h 633"/>
                  <a:gd name="T56" fmla="*/ 2147483647 w 636"/>
                  <a:gd name="T57" fmla="*/ 2147483647 h 633"/>
                  <a:gd name="T58" fmla="*/ 2147483647 w 636"/>
                  <a:gd name="T59" fmla="*/ 2147483647 h 633"/>
                  <a:gd name="T60" fmla="*/ 2147483647 w 636"/>
                  <a:gd name="T61" fmla="*/ 2147483647 h 633"/>
                  <a:gd name="T62" fmla="*/ 2147483647 w 636"/>
                  <a:gd name="T63" fmla="*/ 2147483647 h 633"/>
                  <a:gd name="T64" fmla="*/ 2147483647 w 636"/>
                  <a:gd name="T65" fmla="*/ 2147483647 h 633"/>
                  <a:gd name="T66" fmla="*/ 2147483647 w 636"/>
                  <a:gd name="T67" fmla="*/ 2147483647 h 633"/>
                  <a:gd name="T68" fmla="*/ 2147483647 w 636"/>
                  <a:gd name="T69" fmla="*/ 2147483647 h 633"/>
                  <a:gd name="T70" fmla="*/ 2147483647 w 636"/>
                  <a:gd name="T71" fmla="*/ 2147483647 h 633"/>
                  <a:gd name="T72" fmla="*/ 2147483647 w 636"/>
                  <a:gd name="T73" fmla="*/ 2147483647 h 633"/>
                  <a:gd name="T74" fmla="*/ 2147483647 w 636"/>
                  <a:gd name="T75" fmla="*/ 2147483647 h 633"/>
                  <a:gd name="T76" fmla="*/ 2147483647 w 636"/>
                  <a:gd name="T77" fmla="*/ 2147483647 h 633"/>
                  <a:gd name="T78" fmla="*/ 2147483647 w 636"/>
                  <a:gd name="T79" fmla="*/ 2147483647 h 633"/>
                  <a:gd name="T80" fmla="*/ 2147483647 w 636"/>
                  <a:gd name="T81" fmla="*/ 2147483647 h 633"/>
                  <a:gd name="T82" fmla="*/ 2147483647 w 636"/>
                  <a:gd name="T83" fmla="*/ 2147483647 h 633"/>
                  <a:gd name="T84" fmla="*/ 2147483647 w 636"/>
                  <a:gd name="T85" fmla="*/ 2147483647 h 633"/>
                  <a:gd name="T86" fmla="*/ 2147483647 w 636"/>
                  <a:gd name="T87" fmla="*/ 2147483647 h 633"/>
                  <a:gd name="T88" fmla="*/ 2147483647 w 636"/>
                  <a:gd name="T89" fmla="*/ 2147483647 h 633"/>
                  <a:gd name="T90" fmla="*/ 2147483647 w 636"/>
                  <a:gd name="T91" fmla="*/ 2147483647 h 633"/>
                  <a:gd name="T92" fmla="*/ 2147483647 w 636"/>
                  <a:gd name="T93" fmla="*/ 0 h 633"/>
                  <a:gd name="T94" fmla="*/ 2147483647 w 636"/>
                  <a:gd name="T95" fmla="*/ 2147483647 h 633"/>
                  <a:gd name="T96" fmla="*/ 2147483647 w 636"/>
                  <a:gd name="T97" fmla="*/ 2147483647 h 633"/>
                  <a:gd name="T98" fmla="*/ 2147483647 w 636"/>
                  <a:gd name="T99" fmla="*/ 2147483647 h 633"/>
                  <a:gd name="T100" fmla="*/ 2147483647 w 636"/>
                  <a:gd name="T101" fmla="*/ 2147483647 h 633"/>
                  <a:gd name="T102" fmla="*/ 2147483647 w 636"/>
                  <a:gd name="T103" fmla="*/ 2147483647 h 633"/>
                  <a:gd name="T104" fmla="*/ 2147483647 w 636"/>
                  <a:gd name="T105" fmla="*/ 2147483647 h 633"/>
                  <a:gd name="T106" fmla="*/ 2147483647 w 636"/>
                  <a:gd name="T107" fmla="*/ 2147483647 h 633"/>
                  <a:gd name="T108" fmla="*/ 2147483647 w 636"/>
                  <a:gd name="T109" fmla="*/ 2147483647 h 633"/>
                  <a:gd name="T110" fmla="*/ 2147483647 w 636"/>
                  <a:gd name="T111" fmla="*/ 2147483647 h 633"/>
                  <a:gd name="T112" fmla="*/ 2147483647 w 636"/>
                  <a:gd name="T113" fmla="*/ 2147483647 h 633"/>
                  <a:gd name="T114" fmla="*/ 2147483647 w 636"/>
                  <a:gd name="T115" fmla="*/ 2147483647 h 63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36"/>
                  <a:gd name="T175" fmla="*/ 0 h 633"/>
                  <a:gd name="T176" fmla="*/ 636 w 636"/>
                  <a:gd name="T177" fmla="*/ 633 h 63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36" h="633">
                    <a:moveTo>
                      <a:pt x="135" y="316"/>
                    </a:moveTo>
                    <a:lnTo>
                      <a:pt x="135" y="325"/>
                    </a:lnTo>
                    <a:lnTo>
                      <a:pt x="136" y="335"/>
                    </a:lnTo>
                    <a:lnTo>
                      <a:pt x="137" y="344"/>
                    </a:lnTo>
                    <a:lnTo>
                      <a:pt x="139" y="354"/>
                    </a:lnTo>
                    <a:lnTo>
                      <a:pt x="141" y="362"/>
                    </a:lnTo>
                    <a:lnTo>
                      <a:pt x="143" y="371"/>
                    </a:lnTo>
                    <a:lnTo>
                      <a:pt x="146" y="379"/>
                    </a:lnTo>
                    <a:lnTo>
                      <a:pt x="149" y="388"/>
                    </a:lnTo>
                    <a:lnTo>
                      <a:pt x="151" y="392"/>
                    </a:lnTo>
                    <a:lnTo>
                      <a:pt x="153" y="396"/>
                    </a:lnTo>
                    <a:lnTo>
                      <a:pt x="157" y="404"/>
                    </a:lnTo>
                    <a:lnTo>
                      <a:pt x="161" y="411"/>
                    </a:lnTo>
                    <a:lnTo>
                      <a:pt x="166" y="419"/>
                    </a:lnTo>
                    <a:lnTo>
                      <a:pt x="171" y="426"/>
                    </a:lnTo>
                    <a:lnTo>
                      <a:pt x="177" y="432"/>
                    </a:lnTo>
                    <a:lnTo>
                      <a:pt x="182" y="439"/>
                    </a:lnTo>
                    <a:lnTo>
                      <a:pt x="189" y="445"/>
                    </a:lnTo>
                    <a:lnTo>
                      <a:pt x="196" y="451"/>
                    </a:lnTo>
                    <a:lnTo>
                      <a:pt x="202" y="457"/>
                    </a:lnTo>
                    <a:lnTo>
                      <a:pt x="209" y="462"/>
                    </a:lnTo>
                    <a:lnTo>
                      <a:pt x="216" y="468"/>
                    </a:lnTo>
                    <a:lnTo>
                      <a:pt x="223" y="472"/>
                    </a:lnTo>
                    <a:lnTo>
                      <a:pt x="231" y="477"/>
                    </a:lnTo>
                    <a:lnTo>
                      <a:pt x="247" y="484"/>
                    </a:lnTo>
                    <a:lnTo>
                      <a:pt x="255" y="487"/>
                    </a:lnTo>
                    <a:lnTo>
                      <a:pt x="264" y="490"/>
                    </a:lnTo>
                    <a:lnTo>
                      <a:pt x="272" y="493"/>
                    </a:lnTo>
                    <a:lnTo>
                      <a:pt x="281" y="495"/>
                    </a:lnTo>
                    <a:lnTo>
                      <a:pt x="290" y="496"/>
                    </a:lnTo>
                    <a:lnTo>
                      <a:pt x="299" y="498"/>
                    </a:lnTo>
                    <a:lnTo>
                      <a:pt x="308" y="498"/>
                    </a:lnTo>
                    <a:lnTo>
                      <a:pt x="319" y="499"/>
                    </a:lnTo>
                    <a:lnTo>
                      <a:pt x="328" y="498"/>
                    </a:lnTo>
                    <a:lnTo>
                      <a:pt x="337" y="498"/>
                    </a:lnTo>
                    <a:lnTo>
                      <a:pt x="346" y="496"/>
                    </a:lnTo>
                    <a:lnTo>
                      <a:pt x="355" y="495"/>
                    </a:lnTo>
                    <a:lnTo>
                      <a:pt x="364" y="493"/>
                    </a:lnTo>
                    <a:lnTo>
                      <a:pt x="372" y="490"/>
                    </a:lnTo>
                    <a:lnTo>
                      <a:pt x="381" y="487"/>
                    </a:lnTo>
                    <a:lnTo>
                      <a:pt x="389" y="484"/>
                    </a:lnTo>
                    <a:lnTo>
                      <a:pt x="393" y="482"/>
                    </a:lnTo>
                    <a:lnTo>
                      <a:pt x="397" y="481"/>
                    </a:lnTo>
                    <a:lnTo>
                      <a:pt x="405" y="477"/>
                    </a:lnTo>
                    <a:lnTo>
                      <a:pt x="413" y="472"/>
                    </a:lnTo>
                    <a:lnTo>
                      <a:pt x="420" y="468"/>
                    </a:lnTo>
                    <a:lnTo>
                      <a:pt x="427" y="462"/>
                    </a:lnTo>
                    <a:lnTo>
                      <a:pt x="434" y="457"/>
                    </a:lnTo>
                    <a:lnTo>
                      <a:pt x="442" y="451"/>
                    </a:lnTo>
                    <a:lnTo>
                      <a:pt x="448" y="445"/>
                    </a:lnTo>
                    <a:lnTo>
                      <a:pt x="454" y="439"/>
                    </a:lnTo>
                    <a:lnTo>
                      <a:pt x="460" y="432"/>
                    </a:lnTo>
                    <a:lnTo>
                      <a:pt x="465" y="426"/>
                    </a:lnTo>
                    <a:lnTo>
                      <a:pt x="470" y="419"/>
                    </a:lnTo>
                    <a:lnTo>
                      <a:pt x="475" y="411"/>
                    </a:lnTo>
                    <a:lnTo>
                      <a:pt x="479" y="404"/>
                    </a:lnTo>
                    <a:lnTo>
                      <a:pt x="487" y="388"/>
                    </a:lnTo>
                    <a:lnTo>
                      <a:pt x="490" y="379"/>
                    </a:lnTo>
                    <a:lnTo>
                      <a:pt x="493" y="371"/>
                    </a:lnTo>
                    <a:lnTo>
                      <a:pt x="495" y="362"/>
                    </a:lnTo>
                    <a:lnTo>
                      <a:pt x="497" y="354"/>
                    </a:lnTo>
                    <a:lnTo>
                      <a:pt x="499" y="344"/>
                    </a:lnTo>
                    <a:lnTo>
                      <a:pt x="500" y="335"/>
                    </a:lnTo>
                    <a:lnTo>
                      <a:pt x="501" y="325"/>
                    </a:lnTo>
                    <a:lnTo>
                      <a:pt x="501" y="316"/>
                    </a:lnTo>
                    <a:lnTo>
                      <a:pt x="501" y="307"/>
                    </a:lnTo>
                    <a:lnTo>
                      <a:pt x="500" y="298"/>
                    </a:lnTo>
                    <a:lnTo>
                      <a:pt x="499" y="288"/>
                    </a:lnTo>
                    <a:lnTo>
                      <a:pt x="497" y="279"/>
                    </a:lnTo>
                    <a:lnTo>
                      <a:pt x="495" y="271"/>
                    </a:lnTo>
                    <a:lnTo>
                      <a:pt x="493" y="262"/>
                    </a:lnTo>
                    <a:lnTo>
                      <a:pt x="490" y="254"/>
                    </a:lnTo>
                    <a:lnTo>
                      <a:pt x="487" y="245"/>
                    </a:lnTo>
                    <a:lnTo>
                      <a:pt x="485" y="241"/>
                    </a:lnTo>
                    <a:lnTo>
                      <a:pt x="483" y="237"/>
                    </a:lnTo>
                    <a:lnTo>
                      <a:pt x="479" y="230"/>
                    </a:lnTo>
                    <a:lnTo>
                      <a:pt x="475" y="222"/>
                    </a:lnTo>
                    <a:lnTo>
                      <a:pt x="470" y="215"/>
                    </a:lnTo>
                    <a:lnTo>
                      <a:pt x="465" y="207"/>
                    </a:lnTo>
                    <a:lnTo>
                      <a:pt x="460" y="201"/>
                    </a:lnTo>
                    <a:lnTo>
                      <a:pt x="454" y="194"/>
                    </a:lnTo>
                    <a:lnTo>
                      <a:pt x="448" y="188"/>
                    </a:lnTo>
                    <a:lnTo>
                      <a:pt x="442" y="182"/>
                    </a:lnTo>
                    <a:lnTo>
                      <a:pt x="434" y="176"/>
                    </a:lnTo>
                    <a:lnTo>
                      <a:pt x="427" y="171"/>
                    </a:lnTo>
                    <a:lnTo>
                      <a:pt x="420" y="166"/>
                    </a:lnTo>
                    <a:lnTo>
                      <a:pt x="413" y="161"/>
                    </a:lnTo>
                    <a:lnTo>
                      <a:pt x="405" y="157"/>
                    </a:lnTo>
                    <a:lnTo>
                      <a:pt x="389" y="148"/>
                    </a:lnTo>
                    <a:lnTo>
                      <a:pt x="381" y="145"/>
                    </a:lnTo>
                    <a:lnTo>
                      <a:pt x="372" y="142"/>
                    </a:lnTo>
                    <a:lnTo>
                      <a:pt x="364" y="139"/>
                    </a:lnTo>
                    <a:lnTo>
                      <a:pt x="355" y="137"/>
                    </a:lnTo>
                    <a:lnTo>
                      <a:pt x="346" y="136"/>
                    </a:lnTo>
                    <a:lnTo>
                      <a:pt x="337" y="135"/>
                    </a:lnTo>
                    <a:lnTo>
                      <a:pt x="328" y="134"/>
                    </a:lnTo>
                    <a:lnTo>
                      <a:pt x="319" y="134"/>
                    </a:lnTo>
                    <a:lnTo>
                      <a:pt x="308" y="134"/>
                    </a:lnTo>
                    <a:lnTo>
                      <a:pt x="299" y="135"/>
                    </a:lnTo>
                    <a:lnTo>
                      <a:pt x="290" y="136"/>
                    </a:lnTo>
                    <a:lnTo>
                      <a:pt x="281" y="137"/>
                    </a:lnTo>
                    <a:lnTo>
                      <a:pt x="272" y="139"/>
                    </a:lnTo>
                    <a:lnTo>
                      <a:pt x="264" y="142"/>
                    </a:lnTo>
                    <a:lnTo>
                      <a:pt x="255" y="145"/>
                    </a:lnTo>
                    <a:lnTo>
                      <a:pt x="247" y="148"/>
                    </a:lnTo>
                    <a:lnTo>
                      <a:pt x="243" y="150"/>
                    </a:lnTo>
                    <a:lnTo>
                      <a:pt x="239" y="153"/>
                    </a:lnTo>
                    <a:lnTo>
                      <a:pt x="231" y="157"/>
                    </a:lnTo>
                    <a:lnTo>
                      <a:pt x="223" y="161"/>
                    </a:lnTo>
                    <a:lnTo>
                      <a:pt x="216" y="166"/>
                    </a:lnTo>
                    <a:lnTo>
                      <a:pt x="209" y="171"/>
                    </a:lnTo>
                    <a:lnTo>
                      <a:pt x="202" y="176"/>
                    </a:lnTo>
                    <a:lnTo>
                      <a:pt x="196" y="182"/>
                    </a:lnTo>
                    <a:lnTo>
                      <a:pt x="189" y="188"/>
                    </a:lnTo>
                    <a:lnTo>
                      <a:pt x="182" y="194"/>
                    </a:lnTo>
                    <a:lnTo>
                      <a:pt x="177" y="201"/>
                    </a:lnTo>
                    <a:lnTo>
                      <a:pt x="171" y="207"/>
                    </a:lnTo>
                    <a:lnTo>
                      <a:pt x="166" y="215"/>
                    </a:lnTo>
                    <a:lnTo>
                      <a:pt x="161" y="222"/>
                    </a:lnTo>
                    <a:lnTo>
                      <a:pt x="157" y="230"/>
                    </a:lnTo>
                    <a:lnTo>
                      <a:pt x="149" y="245"/>
                    </a:lnTo>
                    <a:lnTo>
                      <a:pt x="146" y="254"/>
                    </a:lnTo>
                    <a:lnTo>
                      <a:pt x="143" y="262"/>
                    </a:lnTo>
                    <a:lnTo>
                      <a:pt x="141" y="271"/>
                    </a:lnTo>
                    <a:lnTo>
                      <a:pt x="139" y="279"/>
                    </a:lnTo>
                    <a:lnTo>
                      <a:pt x="137" y="288"/>
                    </a:lnTo>
                    <a:lnTo>
                      <a:pt x="136" y="298"/>
                    </a:lnTo>
                    <a:lnTo>
                      <a:pt x="135" y="307"/>
                    </a:lnTo>
                    <a:lnTo>
                      <a:pt x="135" y="316"/>
                    </a:lnTo>
                    <a:close/>
                    <a:moveTo>
                      <a:pt x="495" y="581"/>
                    </a:moveTo>
                    <a:lnTo>
                      <a:pt x="441" y="545"/>
                    </a:lnTo>
                    <a:lnTo>
                      <a:pt x="429" y="551"/>
                    </a:lnTo>
                    <a:lnTo>
                      <a:pt x="419" y="556"/>
                    </a:lnTo>
                    <a:lnTo>
                      <a:pt x="408" y="560"/>
                    </a:lnTo>
                    <a:lnTo>
                      <a:pt x="396" y="564"/>
                    </a:lnTo>
                    <a:lnTo>
                      <a:pt x="382" y="628"/>
                    </a:lnTo>
                    <a:lnTo>
                      <a:pt x="362" y="631"/>
                    </a:lnTo>
                    <a:lnTo>
                      <a:pt x="342" y="633"/>
                    </a:lnTo>
                    <a:lnTo>
                      <a:pt x="311" y="575"/>
                    </a:lnTo>
                    <a:lnTo>
                      <a:pt x="299" y="575"/>
                    </a:lnTo>
                    <a:lnTo>
                      <a:pt x="287" y="573"/>
                    </a:lnTo>
                    <a:lnTo>
                      <a:pt x="275" y="572"/>
                    </a:lnTo>
                    <a:lnTo>
                      <a:pt x="263" y="569"/>
                    </a:lnTo>
                    <a:lnTo>
                      <a:pt x="219" y="618"/>
                    </a:lnTo>
                    <a:lnTo>
                      <a:pt x="209" y="615"/>
                    </a:lnTo>
                    <a:lnTo>
                      <a:pt x="200" y="612"/>
                    </a:lnTo>
                    <a:lnTo>
                      <a:pt x="181" y="604"/>
                    </a:lnTo>
                    <a:lnTo>
                      <a:pt x="184" y="536"/>
                    </a:lnTo>
                    <a:lnTo>
                      <a:pt x="174" y="530"/>
                    </a:lnTo>
                    <a:lnTo>
                      <a:pt x="164" y="522"/>
                    </a:lnTo>
                    <a:lnTo>
                      <a:pt x="155" y="515"/>
                    </a:lnTo>
                    <a:lnTo>
                      <a:pt x="146" y="507"/>
                    </a:lnTo>
                    <a:lnTo>
                      <a:pt x="80" y="527"/>
                    </a:lnTo>
                    <a:lnTo>
                      <a:pt x="68" y="513"/>
                    </a:lnTo>
                    <a:lnTo>
                      <a:pt x="56" y="498"/>
                    </a:lnTo>
                    <a:lnTo>
                      <a:pt x="94" y="440"/>
                    </a:lnTo>
                    <a:lnTo>
                      <a:pt x="89" y="429"/>
                    </a:lnTo>
                    <a:lnTo>
                      <a:pt x="84" y="418"/>
                    </a:lnTo>
                    <a:lnTo>
                      <a:pt x="79" y="407"/>
                    </a:lnTo>
                    <a:lnTo>
                      <a:pt x="75" y="395"/>
                    </a:lnTo>
                    <a:lnTo>
                      <a:pt x="5" y="380"/>
                    </a:lnTo>
                    <a:lnTo>
                      <a:pt x="2" y="362"/>
                    </a:lnTo>
                    <a:lnTo>
                      <a:pt x="0" y="343"/>
                    </a:lnTo>
                    <a:lnTo>
                      <a:pt x="64" y="311"/>
                    </a:lnTo>
                    <a:lnTo>
                      <a:pt x="65" y="298"/>
                    </a:lnTo>
                    <a:lnTo>
                      <a:pt x="66" y="286"/>
                    </a:lnTo>
                    <a:lnTo>
                      <a:pt x="68" y="274"/>
                    </a:lnTo>
                    <a:lnTo>
                      <a:pt x="70" y="262"/>
                    </a:lnTo>
                    <a:lnTo>
                      <a:pt x="16" y="213"/>
                    </a:lnTo>
                    <a:lnTo>
                      <a:pt x="23" y="197"/>
                    </a:lnTo>
                    <a:lnTo>
                      <a:pt x="30" y="181"/>
                    </a:lnTo>
                    <a:lnTo>
                      <a:pt x="102" y="184"/>
                    </a:lnTo>
                    <a:lnTo>
                      <a:pt x="109" y="174"/>
                    </a:lnTo>
                    <a:lnTo>
                      <a:pt x="116" y="164"/>
                    </a:lnTo>
                    <a:lnTo>
                      <a:pt x="124" y="154"/>
                    </a:lnTo>
                    <a:lnTo>
                      <a:pt x="132" y="144"/>
                    </a:lnTo>
                    <a:lnTo>
                      <a:pt x="111" y="75"/>
                    </a:lnTo>
                    <a:lnTo>
                      <a:pt x="124" y="64"/>
                    </a:lnTo>
                    <a:lnTo>
                      <a:pt x="138" y="54"/>
                    </a:lnTo>
                    <a:lnTo>
                      <a:pt x="200" y="93"/>
                    </a:lnTo>
                    <a:lnTo>
                      <a:pt x="211" y="87"/>
                    </a:lnTo>
                    <a:lnTo>
                      <a:pt x="222" y="82"/>
                    </a:lnTo>
                    <a:lnTo>
                      <a:pt x="234" y="78"/>
                    </a:lnTo>
                    <a:lnTo>
                      <a:pt x="246" y="74"/>
                    </a:lnTo>
                    <a:lnTo>
                      <a:pt x="261" y="4"/>
                    </a:lnTo>
                    <a:lnTo>
                      <a:pt x="270" y="3"/>
                    </a:lnTo>
                    <a:lnTo>
                      <a:pt x="279" y="1"/>
                    </a:lnTo>
                    <a:lnTo>
                      <a:pt x="296" y="0"/>
                    </a:lnTo>
                    <a:lnTo>
                      <a:pt x="330" y="63"/>
                    </a:lnTo>
                    <a:lnTo>
                      <a:pt x="343" y="64"/>
                    </a:lnTo>
                    <a:lnTo>
                      <a:pt x="355" y="65"/>
                    </a:lnTo>
                    <a:lnTo>
                      <a:pt x="367" y="67"/>
                    </a:lnTo>
                    <a:lnTo>
                      <a:pt x="379" y="69"/>
                    </a:lnTo>
                    <a:lnTo>
                      <a:pt x="426" y="18"/>
                    </a:lnTo>
                    <a:lnTo>
                      <a:pt x="435" y="21"/>
                    </a:lnTo>
                    <a:lnTo>
                      <a:pt x="444" y="25"/>
                    </a:lnTo>
                    <a:lnTo>
                      <a:pt x="461" y="32"/>
                    </a:lnTo>
                    <a:lnTo>
                      <a:pt x="458" y="102"/>
                    </a:lnTo>
                    <a:lnTo>
                      <a:pt x="468" y="109"/>
                    </a:lnTo>
                    <a:lnTo>
                      <a:pt x="478" y="116"/>
                    </a:lnTo>
                    <a:lnTo>
                      <a:pt x="487" y="124"/>
                    </a:lnTo>
                    <a:lnTo>
                      <a:pt x="496" y="132"/>
                    </a:lnTo>
                    <a:lnTo>
                      <a:pt x="561" y="111"/>
                    </a:lnTo>
                    <a:lnTo>
                      <a:pt x="574" y="126"/>
                    </a:lnTo>
                    <a:lnTo>
                      <a:pt x="579" y="134"/>
                    </a:lnTo>
                    <a:lnTo>
                      <a:pt x="585" y="142"/>
                    </a:lnTo>
                    <a:lnTo>
                      <a:pt x="547" y="200"/>
                    </a:lnTo>
                    <a:lnTo>
                      <a:pt x="550" y="205"/>
                    </a:lnTo>
                    <a:lnTo>
                      <a:pt x="553" y="211"/>
                    </a:lnTo>
                    <a:lnTo>
                      <a:pt x="558" y="222"/>
                    </a:lnTo>
                    <a:lnTo>
                      <a:pt x="562" y="233"/>
                    </a:lnTo>
                    <a:lnTo>
                      <a:pt x="567" y="245"/>
                    </a:lnTo>
                    <a:lnTo>
                      <a:pt x="631" y="259"/>
                    </a:lnTo>
                    <a:lnTo>
                      <a:pt x="634" y="278"/>
                    </a:lnTo>
                    <a:lnTo>
                      <a:pt x="636" y="298"/>
                    </a:lnTo>
                    <a:lnTo>
                      <a:pt x="577" y="329"/>
                    </a:lnTo>
                    <a:lnTo>
                      <a:pt x="577" y="341"/>
                    </a:lnTo>
                    <a:lnTo>
                      <a:pt x="575" y="354"/>
                    </a:lnTo>
                    <a:lnTo>
                      <a:pt x="574" y="365"/>
                    </a:lnTo>
                    <a:lnTo>
                      <a:pt x="571" y="377"/>
                    </a:lnTo>
                    <a:lnTo>
                      <a:pt x="619" y="421"/>
                    </a:lnTo>
                    <a:lnTo>
                      <a:pt x="612" y="440"/>
                    </a:lnTo>
                    <a:lnTo>
                      <a:pt x="603" y="458"/>
                    </a:lnTo>
                    <a:lnTo>
                      <a:pt x="537" y="456"/>
                    </a:lnTo>
                    <a:lnTo>
                      <a:pt x="531" y="465"/>
                    </a:lnTo>
                    <a:lnTo>
                      <a:pt x="524" y="475"/>
                    </a:lnTo>
                    <a:lnTo>
                      <a:pt x="516" y="484"/>
                    </a:lnTo>
                    <a:lnTo>
                      <a:pt x="509" y="493"/>
                    </a:lnTo>
                    <a:lnTo>
                      <a:pt x="528" y="555"/>
                    </a:lnTo>
                    <a:lnTo>
                      <a:pt x="512" y="569"/>
                    </a:lnTo>
                    <a:lnTo>
                      <a:pt x="504" y="575"/>
                    </a:lnTo>
                    <a:lnTo>
                      <a:pt x="495" y="581"/>
                    </a:lnTo>
                    <a:close/>
                  </a:path>
                </a:pathLst>
              </a:custGeom>
              <a:solidFill>
                <a:srgbClr val="00AAFF"/>
              </a:solidFill>
              <a:ln w="127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72000" tIns="72000" rIns="36000" bIns="36000" anchor="ctr" anchorCtr="1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buClr>
                    <a:schemeClr val="tx1"/>
                  </a:buClr>
                </a:pPr>
                <a:endParaRPr lang="de-DE" altLang="de-DE" sz="1400">
                  <a:latin typeface="Georgia" panose="02040502050405020303" pitchFamily="18" charset="0"/>
                </a:endParaRPr>
              </a:p>
            </p:txBody>
          </p:sp>
          <p:sp>
            <p:nvSpPr>
              <p:cNvPr id="47" name="Oval 46"/>
              <p:cNvSpPr/>
              <p:nvPr/>
            </p:nvSpPr>
            <p:spPr>
              <a:xfrm>
                <a:off x="7106725" y="2202180"/>
                <a:ext cx="1158240" cy="1158240"/>
              </a:xfrm>
              <a:prstGeom prst="ellips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155025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ktion und Reaktio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ugelstoßpendel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Line 5"/>
          <p:cNvSpPr>
            <a:spLocks noChangeShapeType="1"/>
          </p:cNvSpPr>
          <p:nvPr/>
        </p:nvSpPr>
        <p:spPr bwMode="auto">
          <a:xfrm rot="2936373" flipV="1">
            <a:off x="2539932" y="2365551"/>
            <a:ext cx="0" cy="1562100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1" name="Line 7"/>
          <p:cNvSpPr>
            <a:spLocks noChangeShapeType="1"/>
          </p:cNvSpPr>
          <p:nvPr/>
        </p:nvSpPr>
        <p:spPr bwMode="auto">
          <a:xfrm flipV="1">
            <a:off x="3732313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5" name="Line 9"/>
          <p:cNvSpPr>
            <a:spLocks noChangeShapeType="1"/>
          </p:cNvSpPr>
          <p:nvPr/>
        </p:nvSpPr>
        <p:spPr bwMode="auto">
          <a:xfrm flipV="1">
            <a:off x="4619835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7" name="Line 11"/>
          <p:cNvSpPr>
            <a:spLocks noChangeShapeType="1"/>
          </p:cNvSpPr>
          <p:nvPr/>
        </p:nvSpPr>
        <p:spPr bwMode="auto">
          <a:xfrm flipV="1">
            <a:off x="5522030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9" name="Line 13"/>
          <p:cNvSpPr>
            <a:spLocks noChangeShapeType="1"/>
          </p:cNvSpPr>
          <p:nvPr/>
        </p:nvSpPr>
        <p:spPr bwMode="auto">
          <a:xfrm flipV="1">
            <a:off x="6492043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0" name="Line 18"/>
          <p:cNvSpPr>
            <a:spLocks noChangeShapeType="1"/>
          </p:cNvSpPr>
          <p:nvPr/>
        </p:nvSpPr>
        <p:spPr bwMode="auto">
          <a:xfrm rot="18663627" flipH="1" flipV="1">
            <a:off x="9565844" y="2365279"/>
            <a:ext cx="0" cy="1563687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5" name="Abgerundetes Rechteck 34"/>
          <p:cNvSpPr/>
          <p:nvPr/>
        </p:nvSpPr>
        <p:spPr>
          <a:xfrm>
            <a:off x="3088872" y="2084761"/>
            <a:ext cx="5959455" cy="585432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Oval 2"/>
          <p:cNvSpPr/>
          <p:nvPr/>
        </p:nvSpPr>
        <p:spPr>
          <a:xfrm>
            <a:off x="1343472" y="3531990"/>
            <a:ext cx="795436" cy="795436"/>
          </a:xfrm>
          <a:prstGeom prst="ellipse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Oval 35"/>
          <p:cNvSpPr/>
          <p:nvPr/>
        </p:nvSpPr>
        <p:spPr>
          <a:xfrm>
            <a:off x="9912424" y="3531990"/>
            <a:ext cx="795436" cy="795436"/>
          </a:xfrm>
          <a:prstGeom prst="ellipse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Oval 36"/>
          <p:cNvSpPr/>
          <p:nvPr/>
        </p:nvSpPr>
        <p:spPr>
          <a:xfrm>
            <a:off x="3318670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Oval 37"/>
          <p:cNvSpPr/>
          <p:nvPr/>
        </p:nvSpPr>
        <p:spPr>
          <a:xfrm>
            <a:off x="4220444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Oval 38"/>
          <p:cNvSpPr/>
          <p:nvPr/>
        </p:nvSpPr>
        <p:spPr>
          <a:xfrm>
            <a:off x="5156548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Oval 39"/>
          <p:cNvSpPr/>
          <p:nvPr/>
        </p:nvSpPr>
        <p:spPr>
          <a:xfrm>
            <a:off x="6092652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Line 10"/>
          <p:cNvSpPr>
            <a:spLocks noChangeShapeType="1"/>
          </p:cNvSpPr>
          <p:nvPr/>
        </p:nvSpPr>
        <p:spPr bwMode="blackWhite">
          <a:xfrm rot="6600000" flipH="1">
            <a:off x="2739667" y="4205674"/>
            <a:ext cx="62734" cy="563388"/>
          </a:xfrm>
          <a:prstGeom prst="line">
            <a:avLst/>
          </a:prstGeom>
          <a:noFill/>
          <a:ln w="15875" cap="rnd">
            <a:solidFill>
              <a:srgbClr val="FFBC04"/>
            </a:solidFill>
            <a:prstDash val="sysDot"/>
            <a:round/>
            <a:headEnd type="triangle" w="lg" len="med"/>
            <a:tailEnd type="non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42" name="Line 10"/>
          <p:cNvSpPr>
            <a:spLocks noChangeShapeType="1"/>
          </p:cNvSpPr>
          <p:nvPr/>
        </p:nvSpPr>
        <p:spPr bwMode="blackWhite">
          <a:xfrm rot="4920000" flipH="1">
            <a:off x="3656782" y="5146531"/>
            <a:ext cx="47200" cy="356948"/>
          </a:xfrm>
          <a:prstGeom prst="line">
            <a:avLst/>
          </a:prstGeom>
          <a:noFill/>
          <a:ln w="15875" cap="rnd">
            <a:solidFill>
              <a:srgbClr val="FFBC04"/>
            </a:solidFill>
            <a:prstDash val="sysDot"/>
            <a:round/>
            <a:headEnd type="triangle" w="lg" len="med"/>
            <a:tailEnd type="non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44" name="Line 10"/>
          <p:cNvSpPr>
            <a:spLocks noChangeShapeType="1"/>
          </p:cNvSpPr>
          <p:nvPr/>
        </p:nvSpPr>
        <p:spPr bwMode="blackWhite">
          <a:xfrm rot="4920000" flipH="1">
            <a:off x="5961042" y="5146532"/>
            <a:ext cx="47200" cy="356948"/>
          </a:xfrm>
          <a:prstGeom prst="line">
            <a:avLst/>
          </a:prstGeom>
          <a:noFill/>
          <a:ln w="15875" cap="rnd">
            <a:solidFill>
              <a:srgbClr val="FFBC04"/>
            </a:solidFill>
            <a:prstDash val="sysDot"/>
            <a:round/>
            <a:headEnd type="triangle" w="lg" len="med"/>
            <a:tailEnd type="non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46" name="Line 10"/>
          <p:cNvSpPr>
            <a:spLocks noChangeShapeType="1"/>
          </p:cNvSpPr>
          <p:nvPr/>
        </p:nvSpPr>
        <p:spPr bwMode="blackWhite">
          <a:xfrm rot="4920000" flipH="1">
            <a:off x="8409310" y="5146532"/>
            <a:ext cx="47200" cy="356948"/>
          </a:xfrm>
          <a:prstGeom prst="line">
            <a:avLst/>
          </a:prstGeom>
          <a:noFill/>
          <a:ln w="15875" cap="rnd">
            <a:solidFill>
              <a:srgbClr val="FFBC04"/>
            </a:solidFill>
            <a:prstDash val="sysDot"/>
            <a:round/>
            <a:headEnd type="triangle" w="lg" len="med"/>
            <a:tailEnd type="non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48" name="Line 10"/>
          <p:cNvSpPr>
            <a:spLocks noChangeShapeType="1"/>
          </p:cNvSpPr>
          <p:nvPr/>
        </p:nvSpPr>
        <p:spPr bwMode="blackWhite">
          <a:xfrm rot="4020000" flipH="1">
            <a:off x="9173575" y="4205674"/>
            <a:ext cx="62734" cy="563388"/>
          </a:xfrm>
          <a:prstGeom prst="line">
            <a:avLst/>
          </a:prstGeom>
          <a:noFill/>
          <a:ln w="15875" cap="rnd">
            <a:solidFill>
              <a:srgbClr val="FFBC04"/>
            </a:solidFill>
            <a:prstDash val="sysDot"/>
            <a:round/>
            <a:headEnd type="triangle" w="lg" len="med"/>
            <a:tailEnd type="none" w="lg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Times" charset="0"/>
            </a:endParaRPr>
          </a:p>
        </p:txBody>
      </p:sp>
      <p:sp>
        <p:nvSpPr>
          <p:cNvPr id="34" name="Line 13"/>
          <p:cNvSpPr>
            <a:spLocks noChangeShapeType="1"/>
          </p:cNvSpPr>
          <p:nvPr/>
        </p:nvSpPr>
        <p:spPr bwMode="auto">
          <a:xfrm flipV="1">
            <a:off x="7424799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43" name="Oval 42"/>
          <p:cNvSpPr/>
          <p:nvPr/>
        </p:nvSpPr>
        <p:spPr>
          <a:xfrm>
            <a:off x="7025408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Line 13"/>
          <p:cNvSpPr>
            <a:spLocks noChangeShapeType="1"/>
          </p:cNvSpPr>
          <p:nvPr/>
        </p:nvSpPr>
        <p:spPr bwMode="auto">
          <a:xfrm flipV="1">
            <a:off x="8364251" y="2633564"/>
            <a:ext cx="0" cy="1693862"/>
          </a:xfrm>
          <a:prstGeom prst="line">
            <a:avLst/>
          </a:prstGeom>
          <a:noFill/>
          <a:ln w="15875">
            <a:solidFill>
              <a:srgbClr val="1D226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47" name="Oval 46"/>
          <p:cNvSpPr/>
          <p:nvPr/>
        </p:nvSpPr>
        <p:spPr>
          <a:xfrm>
            <a:off x="7964860" y="4289748"/>
            <a:ext cx="795436" cy="795436"/>
          </a:xfrm>
          <a:prstGeom prst="ellipse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9971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2 Textblöck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Mit Ergebnis</a:t>
            </a:r>
          </a:p>
        </p:txBody>
      </p:sp>
      <p:sp>
        <p:nvSpPr>
          <p:cNvPr id="43" name="Abgerundetes Rechteck 42"/>
          <p:cNvSpPr/>
          <p:nvPr/>
        </p:nvSpPr>
        <p:spPr>
          <a:xfrm>
            <a:off x="2054539" y="4725144"/>
            <a:ext cx="7632700" cy="432048"/>
          </a:xfrm>
          <a:prstGeom prst="roundRect">
            <a:avLst/>
          </a:prstGeom>
          <a:solidFill>
            <a:srgbClr val="1D22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rgebnis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Abgerundetes Rechteck 28"/>
          <p:cNvSpPr/>
          <p:nvPr/>
        </p:nvSpPr>
        <p:spPr>
          <a:xfrm>
            <a:off x="2063750" y="1484784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9" name="Gruppierung 8"/>
          <p:cNvGrpSpPr/>
          <p:nvPr/>
        </p:nvGrpSpPr>
        <p:grpSpPr>
          <a:xfrm>
            <a:off x="2063750" y="2060575"/>
            <a:ext cx="3744218" cy="2435837"/>
            <a:chOff x="2063750" y="2060575"/>
            <a:chExt cx="3744218" cy="2435837"/>
          </a:xfrm>
        </p:grpSpPr>
        <p:sp>
          <p:nvSpPr>
            <p:cNvPr id="39" name="Dreieck 38"/>
            <p:cNvSpPr/>
            <p:nvPr/>
          </p:nvSpPr>
          <p:spPr>
            <a:xfrm rot="10800000">
              <a:off x="3503712" y="4077072"/>
              <a:ext cx="792088" cy="419340"/>
            </a:xfrm>
            <a:prstGeom prst="triangl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8" name="Gruppierung 7"/>
            <p:cNvGrpSpPr/>
            <p:nvPr/>
          </p:nvGrpSpPr>
          <p:grpSpPr>
            <a:xfrm>
              <a:off x="2063750" y="2060575"/>
              <a:ext cx="3744218" cy="2016125"/>
              <a:chOff x="2063750" y="2060575"/>
              <a:chExt cx="3744218" cy="2016125"/>
            </a:xfrm>
          </p:grpSpPr>
          <p:sp>
            <p:nvSpPr>
              <p:cNvPr id="5" name="Rechteck 4"/>
              <p:cNvSpPr>
                <a:spLocks noChangeAspect="1"/>
              </p:cNvSpPr>
              <p:nvPr/>
            </p:nvSpPr>
            <p:spPr>
              <a:xfrm>
                <a:off x="2063750" y="2060575"/>
                <a:ext cx="3744218" cy="2016125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2135561" y="2218520"/>
                <a:ext cx="3456384" cy="171130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36" name="Abgerundetes Rechteck 35"/>
          <p:cNvSpPr/>
          <p:nvPr/>
        </p:nvSpPr>
        <p:spPr>
          <a:xfrm>
            <a:off x="6096000" y="1484784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10" name="Gruppierung 9"/>
          <p:cNvGrpSpPr/>
          <p:nvPr/>
        </p:nvGrpSpPr>
        <p:grpSpPr>
          <a:xfrm>
            <a:off x="6096000" y="2060575"/>
            <a:ext cx="3744218" cy="2435837"/>
            <a:chOff x="6096000" y="2060575"/>
            <a:chExt cx="3744218" cy="2435837"/>
          </a:xfrm>
        </p:grpSpPr>
        <p:sp>
          <p:nvSpPr>
            <p:cNvPr id="37" name="Dreieck 36"/>
            <p:cNvSpPr/>
            <p:nvPr/>
          </p:nvSpPr>
          <p:spPr>
            <a:xfrm rot="10800000">
              <a:off x="7535962" y="4077072"/>
              <a:ext cx="792088" cy="419340"/>
            </a:xfrm>
            <a:prstGeom prst="triangl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9" name="Gruppierung 48"/>
            <p:cNvGrpSpPr/>
            <p:nvPr/>
          </p:nvGrpSpPr>
          <p:grpSpPr>
            <a:xfrm>
              <a:off x="6096000" y="2060575"/>
              <a:ext cx="3744218" cy="2016125"/>
              <a:chOff x="2063750" y="2060575"/>
              <a:chExt cx="3744218" cy="2016125"/>
            </a:xfrm>
          </p:grpSpPr>
          <p:sp>
            <p:nvSpPr>
              <p:cNvPr id="50" name="Rechteck 49"/>
              <p:cNvSpPr>
                <a:spLocks noChangeAspect="1"/>
              </p:cNvSpPr>
              <p:nvPr/>
            </p:nvSpPr>
            <p:spPr>
              <a:xfrm>
                <a:off x="2063750" y="2060575"/>
                <a:ext cx="3744218" cy="2016125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Textfeld 50"/>
              <p:cNvSpPr txBox="1"/>
              <p:nvPr/>
            </p:nvSpPr>
            <p:spPr>
              <a:xfrm>
                <a:off x="2135561" y="2218520"/>
                <a:ext cx="3456384" cy="1711301"/>
              </a:xfrm>
              <a:prstGeom prst="rect">
                <a:avLst/>
              </a:prstGeom>
              <a:noFill/>
            </p:spPr>
            <p:txBody>
              <a:bodyPr wrap="square" rtlCol="0" anchor="t" anchorCtr="0">
                <a:normAutofit/>
              </a:bodyPr>
              <a:lstStyle/>
              <a:p>
                <a:pPr marL="342900" indent="-342900">
                  <a:lnSpc>
                    <a:spcPct val="150000"/>
                  </a:lnSpc>
                  <a:buClr>
                    <a:srgbClr val="1D2262"/>
                  </a:buClr>
                  <a:buFont typeface="Helvetica" charset="0"/>
                  <a:buChar char="●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Erste Ebene</a:t>
                </a:r>
              </a:p>
              <a:p>
                <a:pPr marL="800100" lvl="1" indent="-342900">
                  <a:lnSpc>
                    <a:spcPct val="150000"/>
                  </a:lnSpc>
                  <a:buFont typeface="Courier New" charset="0"/>
                  <a:buChar char="o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Zweite Ebene</a:t>
                </a:r>
              </a:p>
              <a:p>
                <a:pPr marL="1257300" lvl="2" indent="-342900">
                  <a:lnSpc>
                    <a:spcPct val="150000"/>
                  </a:lnSpc>
                  <a:buFont typeface="Symbol" charset="2"/>
                  <a:buChar char="-"/>
                </a:pPr>
                <a:r>
                  <a:rPr lang="de-DE" sz="1400" dirty="0">
                    <a:solidFill>
                      <a:srgbClr val="1D2262"/>
                    </a:solidFill>
                    <a:latin typeface="Arial" charset="0"/>
                    <a:ea typeface="Arial" charset="0"/>
                    <a:cs typeface="Arial" charset="0"/>
                  </a:rPr>
                  <a:t>Dritte Ebene</a:t>
                </a:r>
              </a:p>
              <a:p>
                <a:pPr>
                  <a:lnSpc>
                    <a:spcPct val="150000"/>
                  </a:lnSpc>
                </a:pPr>
                <a:endPara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sp>
        <p:nvSpPr>
          <p:cNvPr id="2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308228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ottom-Up</a:t>
            </a:r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/ Top-Dow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sp>
        <p:nvSpPr>
          <p:cNvPr id="39" name="Dreieck 38"/>
          <p:cNvSpPr/>
          <p:nvPr/>
        </p:nvSpPr>
        <p:spPr>
          <a:xfrm>
            <a:off x="3936265" y="2405420"/>
            <a:ext cx="4103952" cy="2751772"/>
          </a:xfrm>
          <a:prstGeom prst="triangle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Freeform 5"/>
          <p:cNvSpPr>
            <a:spLocks/>
          </p:cNvSpPr>
          <p:nvPr/>
        </p:nvSpPr>
        <p:spPr bwMode="auto">
          <a:xfrm>
            <a:off x="1218173" y="2131417"/>
            <a:ext cx="4445779" cy="3025775"/>
          </a:xfrm>
          <a:custGeom>
            <a:avLst/>
            <a:gdLst>
              <a:gd name="T0" fmla="*/ 0 w 2566"/>
              <a:gd name="T1" fmla="*/ 2147483647 h 1698"/>
              <a:gd name="T2" fmla="*/ 2147483647 w 2566"/>
              <a:gd name="T3" fmla="*/ 2147483647 h 1698"/>
              <a:gd name="T4" fmla="*/ 2147483647 w 2566"/>
              <a:gd name="T5" fmla="*/ 0 h 1698"/>
              <a:gd name="T6" fmla="*/ 0 60000 65536"/>
              <a:gd name="T7" fmla="*/ 0 60000 65536"/>
              <a:gd name="T8" fmla="*/ 0 60000 65536"/>
              <a:gd name="T9" fmla="*/ 0 w 2566"/>
              <a:gd name="T10" fmla="*/ 0 h 1698"/>
              <a:gd name="T11" fmla="*/ 2566 w 2566"/>
              <a:gd name="T12" fmla="*/ 1698 h 1698"/>
              <a:gd name="connsiteX0" fmla="*/ 0 w 7289"/>
              <a:gd name="connsiteY0" fmla="*/ 10000 h 10000"/>
              <a:gd name="connsiteX1" fmla="*/ 3470 w 7289"/>
              <a:gd name="connsiteY1" fmla="*/ 10000 h 10000"/>
              <a:gd name="connsiteX2" fmla="*/ 7289 w 7289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89" h="10000">
                <a:moveTo>
                  <a:pt x="0" y="10000"/>
                </a:moveTo>
                <a:lnTo>
                  <a:pt x="3470" y="10000"/>
                </a:lnTo>
                <a:lnTo>
                  <a:pt x="7289" y="0"/>
                </a:lnTo>
              </a:path>
            </a:pathLst>
          </a:custGeom>
          <a:noFill/>
          <a:ln w="31750">
            <a:solidFill>
              <a:srgbClr val="FFBC04"/>
            </a:solidFill>
            <a:round/>
            <a:headEnd type="oval"/>
            <a:tailEnd type="triangle" w="med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14" name="Freeform 6"/>
          <p:cNvSpPr>
            <a:spLocks/>
          </p:cNvSpPr>
          <p:nvPr/>
        </p:nvSpPr>
        <p:spPr bwMode="auto">
          <a:xfrm flipH="1">
            <a:off x="6384032" y="2131417"/>
            <a:ext cx="4216680" cy="3025775"/>
          </a:xfrm>
          <a:custGeom>
            <a:avLst/>
            <a:gdLst>
              <a:gd name="T0" fmla="*/ 0 w 2566"/>
              <a:gd name="T1" fmla="*/ 2147483647 h 1698"/>
              <a:gd name="T2" fmla="*/ 2147483647 w 2566"/>
              <a:gd name="T3" fmla="*/ 2147483647 h 1698"/>
              <a:gd name="T4" fmla="*/ 2147483647 w 2566"/>
              <a:gd name="T5" fmla="*/ 0 h 1698"/>
              <a:gd name="T6" fmla="*/ 0 60000 65536"/>
              <a:gd name="T7" fmla="*/ 0 60000 65536"/>
              <a:gd name="T8" fmla="*/ 0 60000 65536"/>
              <a:gd name="T9" fmla="*/ 0 w 2566"/>
              <a:gd name="T10" fmla="*/ 0 h 1698"/>
              <a:gd name="T11" fmla="*/ 2566 w 2566"/>
              <a:gd name="T12" fmla="*/ 1698 h 1698"/>
              <a:gd name="connsiteX0" fmla="*/ 0 w 7605"/>
              <a:gd name="connsiteY0" fmla="*/ 10000 h 10000"/>
              <a:gd name="connsiteX1" fmla="*/ 3786 w 7605"/>
              <a:gd name="connsiteY1" fmla="*/ 10000 h 10000"/>
              <a:gd name="connsiteX2" fmla="*/ 7605 w 7605"/>
              <a:gd name="connsiteY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05" h="10000">
                <a:moveTo>
                  <a:pt x="0" y="10000"/>
                </a:moveTo>
                <a:lnTo>
                  <a:pt x="3786" y="10000"/>
                </a:lnTo>
                <a:lnTo>
                  <a:pt x="7605" y="0"/>
                </a:lnTo>
              </a:path>
            </a:pathLst>
          </a:custGeom>
          <a:noFill/>
          <a:ln w="31750">
            <a:solidFill>
              <a:srgbClr val="FFBC04"/>
            </a:solidFill>
            <a:round/>
            <a:headEnd type="triangle" w="med" len="lg"/>
            <a:tailEnd type="none" w="med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8184232" y="3933056"/>
            <a:ext cx="1712051" cy="27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347594" y="4234806"/>
            <a:ext cx="1548689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8591865" y="4509484"/>
            <a:ext cx="1304420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2079693" y="3933056"/>
            <a:ext cx="1712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● Erste Ebene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2243055" y="4234806"/>
            <a:ext cx="1548689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○ Zweite Ebene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2007685" y="4509484"/>
            <a:ext cx="1304420" cy="2740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– Dritte Eben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347148" y="5291916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ottom</a:t>
            </a:r>
            <a:r>
              <a:rPr lang="de-DE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Up</a:t>
            </a:r>
            <a:endParaRPr lang="de-DE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9048328" y="5291916"/>
            <a:ext cx="1283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op Down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80561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Hürd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Arc 4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16200000" flipV="1">
            <a:off x="2439220" y="2765302"/>
            <a:ext cx="2026841" cy="1770063"/>
          </a:xfrm>
          <a:custGeom>
            <a:avLst/>
            <a:gdLst>
              <a:gd name="T0" fmla="*/ 2147483647 w 21600"/>
              <a:gd name="T1" fmla="*/ 0 h 27599"/>
              <a:gd name="T2" fmla="*/ 2147483647 w 21600"/>
              <a:gd name="T3" fmla="*/ 2147483647 h 27599"/>
              <a:gd name="T4" fmla="*/ 0 w 21600"/>
              <a:gd name="T5" fmla="*/ 2147483647 h 27599"/>
              <a:gd name="T6" fmla="*/ 0 60000 65536"/>
              <a:gd name="T7" fmla="*/ 0 60000 65536"/>
              <a:gd name="T8" fmla="*/ 0 60000 65536"/>
              <a:gd name="T9" fmla="*/ 0 w 21600"/>
              <a:gd name="T10" fmla="*/ 0 h 27599"/>
              <a:gd name="T11" fmla="*/ 21600 w 21600"/>
              <a:gd name="T12" fmla="*/ 27599 h 27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7599" fill="none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</a:path>
              <a:path w="21600" h="27599" stroke="0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  <a:lnTo>
                  <a:pt x="0" y="14196"/>
                </a:lnTo>
                <a:close/>
              </a:path>
            </a:pathLst>
          </a:custGeom>
          <a:noFill/>
          <a:ln w="31750">
            <a:solidFill>
              <a:srgbClr val="FFBC04"/>
            </a:solidFill>
            <a:prstDash val="dash"/>
            <a:round/>
            <a:headEnd type="triangle" w="med" len="lg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18" name="Arc 5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6200000" flipV="1">
            <a:off x="5111428" y="2765302"/>
            <a:ext cx="2026841" cy="1770063"/>
          </a:xfrm>
          <a:custGeom>
            <a:avLst/>
            <a:gdLst>
              <a:gd name="T0" fmla="*/ 2147483647 w 21600"/>
              <a:gd name="T1" fmla="*/ 0 h 27599"/>
              <a:gd name="T2" fmla="*/ 2147483647 w 21600"/>
              <a:gd name="T3" fmla="*/ 2147483647 h 27599"/>
              <a:gd name="T4" fmla="*/ 0 w 21600"/>
              <a:gd name="T5" fmla="*/ 2147483647 h 27599"/>
              <a:gd name="T6" fmla="*/ 0 60000 65536"/>
              <a:gd name="T7" fmla="*/ 0 60000 65536"/>
              <a:gd name="T8" fmla="*/ 0 60000 65536"/>
              <a:gd name="T9" fmla="*/ 0 w 21600"/>
              <a:gd name="T10" fmla="*/ 0 h 27599"/>
              <a:gd name="T11" fmla="*/ 21600 w 21600"/>
              <a:gd name="T12" fmla="*/ 27599 h 27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7599" fill="none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</a:path>
              <a:path w="21600" h="27599" stroke="0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  <a:lnTo>
                  <a:pt x="0" y="14196"/>
                </a:lnTo>
                <a:close/>
              </a:path>
            </a:pathLst>
          </a:custGeom>
          <a:noFill/>
          <a:ln w="31750">
            <a:solidFill>
              <a:srgbClr val="FFBC04"/>
            </a:solidFill>
            <a:prstDash val="dash"/>
            <a:round/>
            <a:headEnd type="triangle" w="med" len="lg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19" name="Arc 6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6200000" flipV="1">
            <a:off x="7752855" y="2765302"/>
            <a:ext cx="2026841" cy="1770063"/>
          </a:xfrm>
          <a:custGeom>
            <a:avLst/>
            <a:gdLst>
              <a:gd name="T0" fmla="*/ 2147483647 w 21600"/>
              <a:gd name="T1" fmla="*/ 0 h 27599"/>
              <a:gd name="T2" fmla="*/ 2147483647 w 21600"/>
              <a:gd name="T3" fmla="*/ 2147483647 h 27599"/>
              <a:gd name="T4" fmla="*/ 0 w 21600"/>
              <a:gd name="T5" fmla="*/ 2147483647 h 27599"/>
              <a:gd name="T6" fmla="*/ 0 60000 65536"/>
              <a:gd name="T7" fmla="*/ 0 60000 65536"/>
              <a:gd name="T8" fmla="*/ 0 60000 65536"/>
              <a:gd name="T9" fmla="*/ 0 w 21600"/>
              <a:gd name="T10" fmla="*/ 0 h 27599"/>
              <a:gd name="T11" fmla="*/ 21600 w 21600"/>
              <a:gd name="T12" fmla="*/ 27599 h 2759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7599" fill="none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</a:path>
              <a:path w="21600" h="27599" stroke="0" extrusionOk="0">
                <a:moveTo>
                  <a:pt x="16279" y="0"/>
                </a:moveTo>
                <a:cubicBezTo>
                  <a:pt x="19710" y="3933"/>
                  <a:pt x="21600" y="8976"/>
                  <a:pt x="21600" y="14196"/>
                </a:cubicBezTo>
                <a:cubicBezTo>
                  <a:pt x="21600" y="19061"/>
                  <a:pt x="19957" y="23783"/>
                  <a:pt x="16938" y="27598"/>
                </a:cubicBezTo>
                <a:lnTo>
                  <a:pt x="0" y="14196"/>
                </a:lnTo>
                <a:close/>
              </a:path>
            </a:pathLst>
          </a:custGeom>
          <a:noFill/>
          <a:ln w="31750">
            <a:solidFill>
              <a:srgbClr val="FFBC04"/>
            </a:solidFill>
            <a:prstDash val="dash"/>
            <a:round/>
            <a:headEnd type="triangle" w="med" len="lg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" name="Trapez 1"/>
          <p:cNvSpPr/>
          <p:nvPr/>
        </p:nvSpPr>
        <p:spPr>
          <a:xfrm>
            <a:off x="2840684" y="3223594"/>
            <a:ext cx="1123970" cy="1439739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rapez 19"/>
          <p:cNvSpPr/>
          <p:nvPr/>
        </p:nvSpPr>
        <p:spPr>
          <a:xfrm>
            <a:off x="5576988" y="3223594"/>
            <a:ext cx="1123970" cy="1439739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rapez 20"/>
          <p:cNvSpPr/>
          <p:nvPr/>
        </p:nvSpPr>
        <p:spPr>
          <a:xfrm>
            <a:off x="8139139" y="3223594"/>
            <a:ext cx="1123970" cy="1439739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52424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Haus mit Säule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Abgerundetes Rechteck 27"/>
          <p:cNvSpPr/>
          <p:nvPr/>
        </p:nvSpPr>
        <p:spPr>
          <a:xfrm flipV="1">
            <a:off x="1775520" y="5517232"/>
            <a:ext cx="9000000" cy="136120"/>
          </a:xfrm>
          <a:prstGeom prst="round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Dreieck 25"/>
          <p:cNvSpPr/>
          <p:nvPr/>
        </p:nvSpPr>
        <p:spPr>
          <a:xfrm>
            <a:off x="3287052" y="1484784"/>
            <a:ext cx="5976937" cy="1440160"/>
          </a:xfrm>
          <a:prstGeom prst="triangle">
            <a:avLst>
              <a:gd name="adj" fmla="val 50656"/>
            </a:avLst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rapez 4"/>
          <p:cNvSpPr/>
          <p:nvPr/>
        </p:nvSpPr>
        <p:spPr>
          <a:xfrm>
            <a:off x="2783632" y="3055413"/>
            <a:ext cx="1943819" cy="2029350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Trapez 34"/>
          <p:cNvSpPr/>
          <p:nvPr/>
        </p:nvSpPr>
        <p:spPr>
          <a:xfrm>
            <a:off x="7752581" y="3055413"/>
            <a:ext cx="1943819" cy="2029350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rapez 35"/>
          <p:cNvSpPr/>
          <p:nvPr/>
        </p:nvSpPr>
        <p:spPr>
          <a:xfrm>
            <a:off x="5303611" y="3055413"/>
            <a:ext cx="1943819" cy="2029350"/>
          </a:xfrm>
          <a:prstGeom prst="trapezoid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Abgerundetes Rechteck 36"/>
          <p:cNvSpPr/>
          <p:nvPr/>
        </p:nvSpPr>
        <p:spPr>
          <a:xfrm flipV="1">
            <a:off x="2495520" y="5253266"/>
            <a:ext cx="7560000" cy="136120"/>
          </a:xfrm>
          <a:prstGeom prst="round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226453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cken des Rechtecks auf der gleichen Seite abrunden 24"/>
          <p:cNvSpPr/>
          <p:nvPr/>
        </p:nvSpPr>
        <p:spPr>
          <a:xfrm>
            <a:off x="7248128" y="1988666"/>
            <a:ext cx="576064" cy="3096097"/>
          </a:xfrm>
          <a:prstGeom prst="round2Same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Widerständ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Ecken des Rechtecks auf der gleichen Seite abrunden 2"/>
          <p:cNvSpPr/>
          <p:nvPr/>
        </p:nvSpPr>
        <p:spPr>
          <a:xfrm>
            <a:off x="4079776" y="1988666"/>
            <a:ext cx="576064" cy="3096097"/>
          </a:xfrm>
          <a:prstGeom prst="round2Same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Gestreifter Pfeil nach rechts 3"/>
          <p:cNvSpPr/>
          <p:nvPr/>
        </p:nvSpPr>
        <p:spPr>
          <a:xfrm>
            <a:off x="2063552" y="3140782"/>
            <a:ext cx="2016224" cy="1080318"/>
          </a:xfrm>
          <a:prstGeom prst="stripedRightArrow">
            <a:avLst/>
          </a:prstGeom>
          <a:solidFill>
            <a:srgbClr val="FFB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Gestreifter Pfeil nach rechts 21"/>
          <p:cNvSpPr/>
          <p:nvPr/>
        </p:nvSpPr>
        <p:spPr>
          <a:xfrm>
            <a:off x="6343200" y="3140782"/>
            <a:ext cx="2016224" cy="1080318"/>
          </a:xfrm>
          <a:prstGeom prst="stripedRightArrow">
            <a:avLst/>
          </a:prstGeom>
          <a:solidFill>
            <a:srgbClr val="FFB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6270670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5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ision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Arc 3"/>
          <p:cNvSpPr>
            <a:spLocks/>
          </p:cNvSpPr>
          <p:nvPr/>
        </p:nvSpPr>
        <p:spPr bwMode="auto">
          <a:xfrm>
            <a:off x="1785198" y="2831104"/>
            <a:ext cx="8613738" cy="2254080"/>
          </a:xfrm>
          <a:custGeom>
            <a:avLst/>
            <a:gdLst>
              <a:gd name="T0" fmla="*/ 2147483647 w 43200"/>
              <a:gd name="T1" fmla="*/ 2147483647 h 22326"/>
              <a:gd name="T2" fmla="*/ 2147483647 w 43200"/>
              <a:gd name="T3" fmla="*/ 0 h 22326"/>
              <a:gd name="T4" fmla="*/ 2147483647 w 43200"/>
              <a:gd name="T5" fmla="*/ 2147483647 h 22326"/>
              <a:gd name="T6" fmla="*/ 0 60000 65536"/>
              <a:gd name="T7" fmla="*/ 0 60000 65536"/>
              <a:gd name="T8" fmla="*/ 0 60000 65536"/>
              <a:gd name="T9" fmla="*/ 0 w 43200"/>
              <a:gd name="T10" fmla="*/ 0 h 22326"/>
              <a:gd name="T11" fmla="*/ 43200 w 43200"/>
              <a:gd name="T12" fmla="*/ 22326 h 223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22326" fill="none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</a:path>
              <a:path w="43200" h="22326" stroke="0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  <a:lnTo>
                  <a:pt x="21600" y="726"/>
                </a:lnTo>
                <a:close/>
              </a:path>
            </a:pathLst>
          </a:custGeom>
          <a:solidFill>
            <a:srgbClr val="E3E8EC"/>
          </a:solidFill>
          <a:ln w="19050">
            <a:noFill/>
            <a:round/>
            <a:headEnd/>
            <a:tailEnd/>
          </a:ln>
          <a:extLst/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19" name="Arc 4"/>
          <p:cNvSpPr>
            <a:spLocks/>
          </p:cNvSpPr>
          <p:nvPr/>
        </p:nvSpPr>
        <p:spPr bwMode="auto">
          <a:xfrm>
            <a:off x="4289006" y="2866629"/>
            <a:ext cx="3605773" cy="348558"/>
          </a:xfrm>
          <a:custGeom>
            <a:avLst/>
            <a:gdLst>
              <a:gd name="T0" fmla="*/ 2147483647 w 43200"/>
              <a:gd name="T1" fmla="*/ 0 h 21600"/>
              <a:gd name="T2" fmla="*/ 0 w 43200"/>
              <a:gd name="T3" fmla="*/ 0 h 21600"/>
              <a:gd name="T4" fmla="*/ 2147483647 w 43200"/>
              <a:gd name="T5" fmla="*/ 0 h 21600"/>
              <a:gd name="T6" fmla="*/ 0 60000 65536"/>
              <a:gd name="T7" fmla="*/ 0 60000 65536"/>
              <a:gd name="T8" fmla="*/ 0 60000 65536"/>
              <a:gd name="T9" fmla="*/ 0 w 43200"/>
              <a:gd name="T10" fmla="*/ 0 h 21600"/>
              <a:gd name="T11" fmla="*/ 43200 w 432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21600" fill="none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</a:path>
              <a:path w="43200" h="21600" stroke="0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solidFill>
            <a:srgbClr val="CFD4D8"/>
          </a:solidFill>
          <a:ln w="6350">
            <a:solidFill>
              <a:srgbClr val="00AAFF"/>
            </a:solidFill>
            <a:round/>
            <a:headEnd/>
            <a:tailEnd/>
          </a:ln>
          <a:extLst/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>
            <a:off x="5701688" y="3373974"/>
            <a:ext cx="780408" cy="418269"/>
          </a:xfrm>
          <a:custGeom>
            <a:avLst/>
            <a:gdLst>
              <a:gd name="T0" fmla="*/ 2147483647 w 432"/>
              <a:gd name="T1" fmla="*/ 2147483647 h 213"/>
              <a:gd name="T2" fmla="*/ 2147483647 w 432"/>
              <a:gd name="T3" fmla="*/ 2147483647 h 213"/>
              <a:gd name="T4" fmla="*/ 2147483647 w 432"/>
              <a:gd name="T5" fmla="*/ 2147483647 h 213"/>
              <a:gd name="T6" fmla="*/ 2147483647 w 432"/>
              <a:gd name="T7" fmla="*/ 2147483647 h 213"/>
              <a:gd name="T8" fmla="*/ 2147483647 w 432"/>
              <a:gd name="T9" fmla="*/ 0 h 213"/>
              <a:gd name="T10" fmla="*/ 0 w 432"/>
              <a:gd name="T11" fmla="*/ 2147483647 h 213"/>
              <a:gd name="T12" fmla="*/ 2147483647 w 432"/>
              <a:gd name="T13" fmla="*/ 2147483647 h 213"/>
              <a:gd name="T14" fmla="*/ 2147483647 w 432"/>
              <a:gd name="T15" fmla="*/ 2147483647 h 21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32"/>
              <a:gd name="T25" fmla="*/ 0 h 213"/>
              <a:gd name="T26" fmla="*/ 432 w 432"/>
              <a:gd name="T27" fmla="*/ 213 h 21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32" h="213">
                <a:moveTo>
                  <a:pt x="48" y="213"/>
                </a:moveTo>
                <a:lnTo>
                  <a:pt x="408" y="213"/>
                </a:lnTo>
                <a:lnTo>
                  <a:pt x="288" y="45"/>
                </a:lnTo>
                <a:lnTo>
                  <a:pt x="432" y="45"/>
                </a:lnTo>
                <a:lnTo>
                  <a:pt x="215" y="0"/>
                </a:lnTo>
                <a:lnTo>
                  <a:pt x="0" y="45"/>
                </a:lnTo>
                <a:lnTo>
                  <a:pt x="144" y="45"/>
                </a:lnTo>
                <a:lnTo>
                  <a:pt x="48" y="213"/>
                </a:lnTo>
                <a:close/>
              </a:path>
            </a:pathLst>
          </a:custGeom>
          <a:solidFill>
            <a:srgbClr val="FFBC04"/>
          </a:solidFill>
          <a:ln w="6350">
            <a:noFill/>
            <a:round/>
            <a:headEnd/>
            <a:tailEnd/>
          </a:ln>
          <a:extLst/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5" name="Line 6"/>
          <p:cNvSpPr>
            <a:spLocks noChangeShapeType="1"/>
          </p:cNvSpPr>
          <p:nvPr/>
        </p:nvSpPr>
        <p:spPr bwMode="auto">
          <a:xfrm>
            <a:off x="1791050" y="2839672"/>
            <a:ext cx="8607885" cy="29535"/>
          </a:xfrm>
          <a:prstGeom prst="line">
            <a:avLst/>
          </a:prstGeom>
          <a:noFill/>
          <a:ln w="6350">
            <a:solidFill>
              <a:srgbClr val="2F52A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6" name="Group 7"/>
          <p:cNvGrpSpPr>
            <a:grpSpLocks/>
          </p:cNvGrpSpPr>
          <p:nvPr/>
        </p:nvGrpSpPr>
        <p:grpSpPr bwMode="auto">
          <a:xfrm>
            <a:off x="3935760" y="2852936"/>
            <a:ext cx="4312266" cy="1946992"/>
            <a:chOff x="1388" y="1855"/>
            <a:chExt cx="3440" cy="1875"/>
          </a:xfrm>
        </p:grpSpPr>
        <p:sp>
          <p:nvSpPr>
            <p:cNvPr id="39" name="Line 8"/>
            <p:cNvSpPr>
              <a:spLocks noChangeShapeType="1"/>
            </p:cNvSpPr>
            <p:nvPr/>
          </p:nvSpPr>
          <p:spPr bwMode="auto">
            <a:xfrm flipV="1">
              <a:off x="1388" y="1855"/>
              <a:ext cx="1732" cy="1875"/>
            </a:xfrm>
            <a:prstGeom prst="line">
              <a:avLst/>
            </a:prstGeom>
            <a:noFill/>
            <a:ln w="9525">
              <a:solidFill>
                <a:srgbClr val="2F52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Line 9"/>
            <p:cNvSpPr>
              <a:spLocks noChangeShapeType="1"/>
            </p:cNvSpPr>
            <p:nvPr/>
          </p:nvSpPr>
          <p:spPr bwMode="auto">
            <a:xfrm>
              <a:off x="3120" y="1855"/>
              <a:ext cx="1708" cy="1875"/>
            </a:xfrm>
            <a:prstGeom prst="line">
              <a:avLst/>
            </a:prstGeom>
            <a:noFill/>
            <a:ln w="9525">
              <a:solidFill>
                <a:srgbClr val="2F52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9" name="Line 12"/>
          <p:cNvSpPr>
            <a:spLocks noChangeShapeType="1"/>
          </p:cNvSpPr>
          <p:nvPr/>
        </p:nvSpPr>
        <p:spPr bwMode="auto">
          <a:xfrm flipV="1">
            <a:off x="1919536" y="2866629"/>
            <a:ext cx="4172358" cy="554362"/>
          </a:xfrm>
          <a:prstGeom prst="line">
            <a:avLst/>
          </a:prstGeom>
          <a:noFill/>
          <a:ln w="9525">
            <a:solidFill>
              <a:srgbClr val="2F52A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" name="Line 13"/>
          <p:cNvSpPr>
            <a:spLocks noChangeShapeType="1"/>
          </p:cNvSpPr>
          <p:nvPr/>
        </p:nvSpPr>
        <p:spPr bwMode="auto">
          <a:xfrm>
            <a:off x="6091892" y="2866629"/>
            <a:ext cx="4190908" cy="532645"/>
          </a:xfrm>
          <a:prstGeom prst="line">
            <a:avLst/>
          </a:prstGeom>
          <a:noFill/>
          <a:ln w="9525">
            <a:solidFill>
              <a:srgbClr val="2F52A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6" name="Text Box 16"/>
          <p:cNvSpPr txBox="1">
            <a:spLocks noChangeArrowheads="1"/>
          </p:cNvSpPr>
          <p:nvPr/>
        </p:nvSpPr>
        <p:spPr bwMode="auto">
          <a:xfrm>
            <a:off x="5473072" y="2072461"/>
            <a:ext cx="1222130" cy="4924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3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ision</a:t>
            </a:r>
          </a:p>
        </p:txBody>
      </p:sp>
      <p:sp>
        <p:nvSpPr>
          <p:cNvPr id="37" name="Freeform 17"/>
          <p:cNvSpPr>
            <a:spLocks/>
          </p:cNvSpPr>
          <p:nvPr/>
        </p:nvSpPr>
        <p:spPr bwMode="auto">
          <a:xfrm>
            <a:off x="6872300" y="3321690"/>
            <a:ext cx="1147128" cy="402778"/>
          </a:xfrm>
          <a:custGeom>
            <a:avLst/>
            <a:gdLst>
              <a:gd name="T0" fmla="*/ 2147483647 w 635"/>
              <a:gd name="T1" fmla="*/ 2147483647 h 208"/>
              <a:gd name="T2" fmla="*/ 2147483647 w 635"/>
              <a:gd name="T3" fmla="*/ 2147483647 h 208"/>
              <a:gd name="T4" fmla="*/ 2147483647 w 635"/>
              <a:gd name="T5" fmla="*/ 2147483647 h 208"/>
              <a:gd name="T6" fmla="*/ 2147483647 w 635"/>
              <a:gd name="T7" fmla="*/ 2147483647 h 208"/>
              <a:gd name="T8" fmla="*/ 2147483647 w 635"/>
              <a:gd name="T9" fmla="*/ 0 h 208"/>
              <a:gd name="T10" fmla="*/ 0 w 635"/>
              <a:gd name="T11" fmla="*/ 2147483647 h 208"/>
              <a:gd name="T12" fmla="*/ 2147483647 w 635"/>
              <a:gd name="T13" fmla="*/ 2147483647 h 208"/>
              <a:gd name="T14" fmla="*/ 2147483647 w 635"/>
              <a:gd name="T15" fmla="*/ 2147483647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rgbClr val="FFBC04"/>
          </a:solidFill>
          <a:ln w="6350">
            <a:noFill/>
            <a:round/>
            <a:headEnd/>
            <a:tailEnd/>
          </a:ln>
          <a:extLst/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38" name="Freeform 18"/>
          <p:cNvSpPr>
            <a:spLocks/>
          </p:cNvSpPr>
          <p:nvPr/>
        </p:nvSpPr>
        <p:spPr bwMode="auto">
          <a:xfrm flipH="1">
            <a:off x="4158939" y="3321690"/>
            <a:ext cx="1147128" cy="402778"/>
          </a:xfrm>
          <a:custGeom>
            <a:avLst/>
            <a:gdLst>
              <a:gd name="T0" fmla="*/ 2147483647 w 635"/>
              <a:gd name="T1" fmla="*/ 2147483647 h 208"/>
              <a:gd name="T2" fmla="*/ 2147483647 w 635"/>
              <a:gd name="T3" fmla="*/ 2147483647 h 208"/>
              <a:gd name="T4" fmla="*/ 2147483647 w 635"/>
              <a:gd name="T5" fmla="*/ 2147483647 h 208"/>
              <a:gd name="T6" fmla="*/ 2147483647 w 635"/>
              <a:gd name="T7" fmla="*/ 2147483647 h 208"/>
              <a:gd name="T8" fmla="*/ 2147483647 w 635"/>
              <a:gd name="T9" fmla="*/ 0 h 208"/>
              <a:gd name="T10" fmla="*/ 0 w 635"/>
              <a:gd name="T11" fmla="*/ 2147483647 h 208"/>
              <a:gd name="T12" fmla="*/ 2147483647 w 635"/>
              <a:gd name="T13" fmla="*/ 2147483647 h 208"/>
              <a:gd name="T14" fmla="*/ 2147483647 w 635"/>
              <a:gd name="T15" fmla="*/ 2147483647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rgbClr val="FFBC04"/>
          </a:solidFill>
          <a:ln w="6350">
            <a:noFill/>
            <a:round/>
            <a:headEnd/>
            <a:tailEnd/>
          </a:ln>
          <a:extLst/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Tahoma" panose="020B0604030504040204" pitchFamily="34" charset="0"/>
            </a:endParaRPr>
          </a:p>
        </p:txBody>
      </p:sp>
      <p:sp>
        <p:nvSpPr>
          <p:cNvPr id="27" name="Fußzeilenplatzhalter 4"/>
          <p:cNvSpPr txBox="1">
            <a:spLocks/>
          </p:cNvSpPr>
          <p:nvPr/>
        </p:nvSpPr>
        <p:spPr>
          <a:xfrm>
            <a:off x="687964" y="643203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 </a:t>
            </a:r>
          </a:p>
        </p:txBody>
      </p:sp>
    </p:spTree>
    <p:extLst>
      <p:ext uri="{BB962C8B-B14F-4D97-AF65-F5344CB8AC3E}">
        <p14:creationId xmlns:p14="http://schemas.microsoft.com/office/powerpoint/2010/main" val="2051290796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6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repp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6 Stuf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ung 4"/>
          <p:cNvGrpSpPr/>
          <p:nvPr/>
        </p:nvGrpSpPr>
        <p:grpSpPr>
          <a:xfrm>
            <a:off x="1271464" y="1259111"/>
            <a:ext cx="8782559" cy="4402137"/>
            <a:chOff x="983432" y="1196752"/>
            <a:chExt cx="8782559" cy="4402137"/>
          </a:xfrm>
        </p:grpSpPr>
        <p:sp>
          <p:nvSpPr>
            <p:cNvPr id="43" name="Freeform 2"/>
            <p:cNvSpPr>
              <a:spLocks/>
            </p:cNvSpPr>
            <p:nvPr/>
          </p:nvSpPr>
          <p:spPr bwMode="blackWhite">
            <a:xfrm>
              <a:off x="983432" y="1196752"/>
              <a:ext cx="8782559" cy="4402137"/>
            </a:xfrm>
            <a:custGeom>
              <a:avLst/>
              <a:gdLst/>
              <a:ahLst/>
              <a:cxnLst>
                <a:cxn ang="0">
                  <a:pos x="0" y="1719"/>
                </a:cxn>
                <a:cxn ang="0">
                  <a:pos x="288" y="1719"/>
                </a:cxn>
                <a:cxn ang="0">
                  <a:pos x="288" y="1415"/>
                </a:cxn>
                <a:cxn ang="0">
                  <a:pos x="1040" y="1415"/>
                </a:cxn>
                <a:cxn ang="0">
                  <a:pos x="1040" y="1144"/>
                </a:cxn>
                <a:cxn ang="0">
                  <a:pos x="1800" y="1144"/>
                </a:cxn>
                <a:cxn ang="0">
                  <a:pos x="1800" y="848"/>
                </a:cxn>
                <a:cxn ang="0">
                  <a:pos x="2544" y="848"/>
                </a:cxn>
                <a:cxn ang="0">
                  <a:pos x="2544" y="560"/>
                </a:cxn>
                <a:cxn ang="0">
                  <a:pos x="3304" y="560"/>
                </a:cxn>
                <a:cxn ang="0">
                  <a:pos x="3304" y="280"/>
                </a:cxn>
                <a:cxn ang="0">
                  <a:pos x="4048" y="280"/>
                </a:cxn>
                <a:cxn ang="0">
                  <a:pos x="4048" y="0"/>
                </a:cxn>
                <a:cxn ang="0">
                  <a:pos x="4800" y="0"/>
                </a:cxn>
              </a:cxnLst>
              <a:rect l="0" t="0" r="r" b="b"/>
              <a:pathLst>
                <a:path w="4800" h="1719">
                  <a:moveTo>
                    <a:pt x="0" y="1719"/>
                  </a:moveTo>
                  <a:lnTo>
                    <a:pt x="288" y="1719"/>
                  </a:lnTo>
                  <a:lnTo>
                    <a:pt x="288" y="1415"/>
                  </a:lnTo>
                  <a:lnTo>
                    <a:pt x="1040" y="1415"/>
                  </a:lnTo>
                  <a:lnTo>
                    <a:pt x="1040" y="1144"/>
                  </a:lnTo>
                  <a:lnTo>
                    <a:pt x="1800" y="1144"/>
                  </a:lnTo>
                  <a:lnTo>
                    <a:pt x="1800" y="848"/>
                  </a:lnTo>
                  <a:lnTo>
                    <a:pt x="2544" y="848"/>
                  </a:lnTo>
                  <a:lnTo>
                    <a:pt x="2544" y="560"/>
                  </a:lnTo>
                  <a:lnTo>
                    <a:pt x="3304" y="560"/>
                  </a:lnTo>
                  <a:lnTo>
                    <a:pt x="3304" y="280"/>
                  </a:lnTo>
                  <a:lnTo>
                    <a:pt x="4048" y="280"/>
                  </a:lnTo>
                  <a:lnTo>
                    <a:pt x="4048" y="0"/>
                  </a:lnTo>
                  <a:lnTo>
                    <a:pt x="4800" y="0"/>
                  </a:lnTo>
                </a:path>
              </a:pathLst>
            </a:custGeom>
            <a:noFill/>
            <a:ln w="28575" cap="rnd" cmpd="sng">
              <a:solidFill>
                <a:srgbClr val="00AAFF">
                  <a:alpha val="98000"/>
                </a:srgbClr>
              </a:solidFill>
              <a:prstDash val="solid"/>
              <a:round/>
              <a:headEnd type="none" w="lg" len="med"/>
              <a:tailEnd type="triangle"/>
            </a:ln>
            <a:effectLst/>
          </p:spPr>
          <p:txBody>
            <a:bodyPr wrap="none" lIns="0" tIns="0" rIns="0" bIns="0" anchor="ctr">
              <a:flatTx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Times" charset="0"/>
              </a:endParaRPr>
            </a:p>
          </p:txBody>
        </p:sp>
        <p:sp>
          <p:nvSpPr>
            <p:cNvPr id="4" name="Textfeld 3"/>
            <p:cNvSpPr txBox="1"/>
            <p:nvPr/>
          </p:nvSpPr>
          <p:spPr>
            <a:xfrm>
              <a:off x="6024563" y="2852936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68" name="Textfeld 67"/>
            <p:cNvSpPr txBox="1"/>
            <p:nvPr/>
          </p:nvSpPr>
          <p:spPr>
            <a:xfrm>
              <a:off x="7429727" y="2132856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69" name="Textfeld 68"/>
            <p:cNvSpPr txBox="1"/>
            <p:nvPr/>
          </p:nvSpPr>
          <p:spPr>
            <a:xfrm>
              <a:off x="4583832" y="3573016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3225105" y="4365104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71" name="Textfeld 70"/>
            <p:cNvSpPr txBox="1"/>
            <p:nvPr/>
          </p:nvSpPr>
          <p:spPr>
            <a:xfrm>
              <a:off x="1794509" y="5065439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72" name="Textfeld 71"/>
            <p:cNvSpPr txBox="1"/>
            <p:nvPr/>
          </p:nvSpPr>
          <p:spPr>
            <a:xfrm>
              <a:off x="8760296" y="1393031"/>
              <a:ext cx="5384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2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552750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7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Weltkart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ditierba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Träne 136"/>
          <p:cNvSpPr/>
          <p:nvPr/>
        </p:nvSpPr>
        <p:spPr>
          <a:xfrm rot="1226812">
            <a:off x="378526" y="4119617"/>
            <a:ext cx="1307435" cy="1307431"/>
          </a:xfrm>
          <a:prstGeom prst="teardrop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8" name="Textfeld 137"/>
          <p:cNvSpPr txBox="1"/>
          <p:nvPr/>
        </p:nvSpPr>
        <p:spPr>
          <a:xfrm>
            <a:off x="436567" y="4433954"/>
            <a:ext cx="11913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ie Länder können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zeln gelöscht,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erschoben oder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gefärbt werden.</a:t>
            </a:r>
          </a:p>
        </p:txBody>
      </p:sp>
      <p:grpSp>
        <p:nvGrpSpPr>
          <p:cNvPr id="3" name="Gruppierung 2"/>
          <p:cNvGrpSpPr/>
          <p:nvPr/>
        </p:nvGrpSpPr>
        <p:grpSpPr>
          <a:xfrm>
            <a:off x="1548420" y="980728"/>
            <a:ext cx="9516131" cy="5050356"/>
            <a:chOff x="1548420" y="980728"/>
            <a:chExt cx="9516131" cy="5050356"/>
          </a:xfrm>
        </p:grpSpPr>
        <p:sp>
          <p:nvSpPr>
            <p:cNvPr id="66" name="Textfeld 65"/>
            <p:cNvSpPr txBox="1"/>
            <p:nvPr/>
          </p:nvSpPr>
          <p:spPr>
            <a:xfrm>
              <a:off x="10744276" y="4385762"/>
              <a:ext cx="18473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0" hangingPunct="0">
                <a:buSzPct val="80000"/>
              </a:pPr>
              <a:endPara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9" name="Freeform 741"/>
            <p:cNvSpPr>
              <a:spLocks/>
            </p:cNvSpPr>
            <p:nvPr/>
          </p:nvSpPr>
          <p:spPr bwMode="auto">
            <a:xfrm>
              <a:off x="4060644" y="5841260"/>
              <a:ext cx="34962" cy="44960"/>
            </a:xfrm>
            <a:custGeom>
              <a:avLst/>
              <a:gdLst>
                <a:gd name="T0" fmla="*/ 2147483647 w 64"/>
                <a:gd name="T1" fmla="*/ 2147483647 h 98"/>
                <a:gd name="T2" fmla="*/ 2147483647 w 64"/>
                <a:gd name="T3" fmla="*/ 0 h 98"/>
                <a:gd name="T4" fmla="*/ 2147483647 w 64"/>
                <a:gd name="T5" fmla="*/ 2147483647 h 98"/>
                <a:gd name="T6" fmla="*/ 0 w 64"/>
                <a:gd name="T7" fmla="*/ 2147483647 h 98"/>
                <a:gd name="T8" fmla="*/ 2147483647 w 64"/>
                <a:gd name="T9" fmla="*/ 2147483647 h 98"/>
                <a:gd name="T10" fmla="*/ 2147483647 w 64"/>
                <a:gd name="T11" fmla="*/ 2147483647 h 98"/>
                <a:gd name="T12" fmla="*/ 2147483647 w 64"/>
                <a:gd name="T13" fmla="*/ 2147483647 h 98"/>
                <a:gd name="T14" fmla="*/ 2147483647 w 64"/>
                <a:gd name="T15" fmla="*/ 2147483647 h 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4"/>
                <a:gd name="T25" fmla="*/ 0 h 98"/>
                <a:gd name="T26" fmla="*/ 64 w 64"/>
                <a:gd name="T27" fmla="*/ 98 h 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4" h="98">
                  <a:moveTo>
                    <a:pt x="58" y="28"/>
                  </a:moveTo>
                  <a:lnTo>
                    <a:pt x="64" y="0"/>
                  </a:lnTo>
                  <a:lnTo>
                    <a:pt x="41" y="5"/>
                  </a:lnTo>
                  <a:lnTo>
                    <a:pt x="0" y="70"/>
                  </a:lnTo>
                  <a:lnTo>
                    <a:pt x="24" y="98"/>
                  </a:lnTo>
                  <a:lnTo>
                    <a:pt x="35" y="87"/>
                  </a:lnTo>
                  <a:lnTo>
                    <a:pt x="41" y="63"/>
                  </a:lnTo>
                  <a:lnTo>
                    <a:pt x="58" y="2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0" name="Freeform 742"/>
            <p:cNvSpPr>
              <a:spLocks/>
            </p:cNvSpPr>
            <p:nvPr/>
          </p:nvSpPr>
          <p:spPr bwMode="auto">
            <a:xfrm>
              <a:off x="3706036" y="5761333"/>
              <a:ext cx="19977" cy="29971"/>
            </a:xfrm>
            <a:custGeom>
              <a:avLst/>
              <a:gdLst>
                <a:gd name="T0" fmla="*/ 2147483647 w 29"/>
                <a:gd name="T1" fmla="*/ 0 h 63"/>
                <a:gd name="T2" fmla="*/ 0 w 29"/>
                <a:gd name="T3" fmla="*/ 0 h 63"/>
                <a:gd name="T4" fmla="*/ 0 w 29"/>
                <a:gd name="T5" fmla="*/ 2147483647 h 63"/>
                <a:gd name="T6" fmla="*/ 2147483647 w 29"/>
                <a:gd name="T7" fmla="*/ 2147483647 h 63"/>
                <a:gd name="T8" fmla="*/ 2147483647 w 29"/>
                <a:gd name="T9" fmla="*/ 2147483647 h 63"/>
                <a:gd name="T10" fmla="*/ 2147483647 w 29"/>
                <a:gd name="T11" fmla="*/ 0 h 63"/>
                <a:gd name="T12" fmla="*/ 2147483647 w 29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63"/>
                <a:gd name="T23" fmla="*/ 29 w 29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63">
                  <a:moveTo>
                    <a:pt x="17" y="0"/>
                  </a:moveTo>
                  <a:lnTo>
                    <a:pt x="0" y="0"/>
                  </a:lnTo>
                  <a:lnTo>
                    <a:pt x="0" y="63"/>
                  </a:lnTo>
                  <a:lnTo>
                    <a:pt x="24" y="40"/>
                  </a:lnTo>
                  <a:lnTo>
                    <a:pt x="24" y="17"/>
                  </a:lnTo>
                  <a:lnTo>
                    <a:pt x="2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1" name="Freeform 743"/>
            <p:cNvSpPr>
              <a:spLocks/>
            </p:cNvSpPr>
            <p:nvPr/>
          </p:nvSpPr>
          <p:spPr bwMode="auto">
            <a:xfrm>
              <a:off x="3736002" y="5876227"/>
              <a:ext cx="24972" cy="24978"/>
            </a:xfrm>
            <a:custGeom>
              <a:avLst/>
              <a:gdLst>
                <a:gd name="T0" fmla="*/ 2147483647 w 35"/>
                <a:gd name="T1" fmla="*/ 2147483647 h 46"/>
                <a:gd name="T2" fmla="*/ 2147483647 w 35"/>
                <a:gd name="T3" fmla="*/ 0 h 46"/>
                <a:gd name="T4" fmla="*/ 0 w 35"/>
                <a:gd name="T5" fmla="*/ 2147483647 h 46"/>
                <a:gd name="T6" fmla="*/ 2147483647 w 35"/>
                <a:gd name="T7" fmla="*/ 2147483647 h 46"/>
                <a:gd name="T8" fmla="*/ 2147483647 w 35"/>
                <a:gd name="T9" fmla="*/ 2147483647 h 46"/>
                <a:gd name="T10" fmla="*/ 2147483647 w 35"/>
                <a:gd name="T11" fmla="*/ 2147483647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6"/>
                <a:gd name="T20" fmla="*/ 35 w 35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6">
                  <a:moveTo>
                    <a:pt x="29" y="17"/>
                  </a:moveTo>
                  <a:lnTo>
                    <a:pt x="6" y="0"/>
                  </a:lnTo>
                  <a:lnTo>
                    <a:pt x="0" y="29"/>
                  </a:lnTo>
                  <a:lnTo>
                    <a:pt x="24" y="46"/>
                  </a:lnTo>
                  <a:lnTo>
                    <a:pt x="35" y="23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2" name="Freeform 744"/>
            <p:cNvSpPr>
              <a:spLocks/>
            </p:cNvSpPr>
            <p:nvPr/>
          </p:nvSpPr>
          <p:spPr bwMode="auto">
            <a:xfrm>
              <a:off x="3785946" y="5936171"/>
              <a:ext cx="39957" cy="24978"/>
            </a:xfrm>
            <a:custGeom>
              <a:avLst/>
              <a:gdLst>
                <a:gd name="T0" fmla="*/ 2147483647 w 70"/>
                <a:gd name="T1" fmla="*/ 2147483647 h 34"/>
                <a:gd name="T2" fmla="*/ 2147483647 w 70"/>
                <a:gd name="T3" fmla="*/ 0 h 34"/>
                <a:gd name="T4" fmla="*/ 0 w 70"/>
                <a:gd name="T5" fmla="*/ 2147483647 h 34"/>
                <a:gd name="T6" fmla="*/ 2147483647 w 70"/>
                <a:gd name="T7" fmla="*/ 2147483647 h 34"/>
                <a:gd name="T8" fmla="*/ 2147483647 w 70"/>
                <a:gd name="T9" fmla="*/ 2147483647 h 34"/>
                <a:gd name="T10" fmla="*/ 2147483647 w 70"/>
                <a:gd name="T11" fmla="*/ 2147483647 h 34"/>
                <a:gd name="T12" fmla="*/ 2147483647 w 70"/>
                <a:gd name="T13" fmla="*/ 2147483647 h 34"/>
                <a:gd name="T14" fmla="*/ 2147483647 w 70"/>
                <a:gd name="T15" fmla="*/ 2147483647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0"/>
                <a:gd name="T25" fmla="*/ 0 h 34"/>
                <a:gd name="T26" fmla="*/ 70 w 70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0" h="34">
                  <a:moveTo>
                    <a:pt x="41" y="5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17" y="34"/>
                  </a:lnTo>
                  <a:lnTo>
                    <a:pt x="52" y="29"/>
                  </a:lnTo>
                  <a:lnTo>
                    <a:pt x="70" y="29"/>
                  </a:lnTo>
                  <a:lnTo>
                    <a:pt x="70" y="17"/>
                  </a:lnTo>
                  <a:lnTo>
                    <a:pt x="41" y="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3" name="Freeform 745"/>
            <p:cNvSpPr>
              <a:spLocks/>
            </p:cNvSpPr>
            <p:nvPr/>
          </p:nvSpPr>
          <p:spPr bwMode="auto">
            <a:xfrm>
              <a:off x="4694941" y="4312666"/>
              <a:ext cx="14985" cy="9989"/>
            </a:xfrm>
            <a:custGeom>
              <a:avLst/>
              <a:gdLst>
                <a:gd name="T0" fmla="*/ 2147483647 w 30"/>
                <a:gd name="T1" fmla="*/ 0 h 18"/>
                <a:gd name="T2" fmla="*/ 2147483647 w 30"/>
                <a:gd name="T3" fmla="*/ 0 h 18"/>
                <a:gd name="T4" fmla="*/ 0 w 30"/>
                <a:gd name="T5" fmla="*/ 2147483647 h 18"/>
                <a:gd name="T6" fmla="*/ 2147483647 w 30"/>
                <a:gd name="T7" fmla="*/ 2147483647 h 18"/>
                <a:gd name="T8" fmla="*/ 2147483647 w 30"/>
                <a:gd name="T9" fmla="*/ 2147483647 h 18"/>
                <a:gd name="T10" fmla="*/ 2147483647 w 3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12" y="0"/>
                  </a:moveTo>
                  <a:lnTo>
                    <a:pt x="6" y="0"/>
                  </a:lnTo>
                  <a:lnTo>
                    <a:pt x="0" y="11"/>
                  </a:lnTo>
                  <a:lnTo>
                    <a:pt x="12" y="18"/>
                  </a:lnTo>
                  <a:lnTo>
                    <a:pt x="30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4" name="Freeform 746"/>
            <p:cNvSpPr>
              <a:spLocks/>
            </p:cNvSpPr>
            <p:nvPr/>
          </p:nvSpPr>
          <p:spPr bwMode="auto">
            <a:xfrm>
              <a:off x="4734898" y="4292685"/>
              <a:ext cx="29966" cy="19982"/>
            </a:xfrm>
            <a:custGeom>
              <a:avLst/>
              <a:gdLst>
                <a:gd name="T0" fmla="*/ 2147483647 w 53"/>
                <a:gd name="T1" fmla="*/ 0 h 47"/>
                <a:gd name="T2" fmla="*/ 0 w 53"/>
                <a:gd name="T3" fmla="*/ 2147483647 h 47"/>
                <a:gd name="T4" fmla="*/ 0 w 53"/>
                <a:gd name="T5" fmla="*/ 2147483647 h 47"/>
                <a:gd name="T6" fmla="*/ 2147483647 w 53"/>
                <a:gd name="T7" fmla="*/ 2147483647 h 47"/>
                <a:gd name="T8" fmla="*/ 2147483647 w 53"/>
                <a:gd name="T9" fmla="*/ 2147483647 h 47"/>
                <a:gd name="T10" fmla="*/ 2147483647 w 53"/>
                <a:gd name="T11" fmla="*/ 2147483647 h 47"/>
                <a:gd name="T12" fmla="*/ 2147483647 w 53"/>
                <a:gd name="T13" fmla="*/ 2147483647 h 47"/>
                <a:gd name="T14" fmla="*/ 2147483647 w 53"/>
                <a:gd name="T15" fmla="*/ 0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3"/>
                <a:gd name="T25" fmla="*/ 0 h 47"/>
                <a:gd name="T26" fmla="*/ 53 w 53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3" h="47">
                  <a:moveTo>
                    <a:pt x="18" y="0"/>
                  </a:moveTo>
                  <a:lnTo>
                    <a:pt x="0" y="18"/>
                  </a:lnTo>
                  <a:lnTo>
                    <a:pt x="0" y="41"/>
                  </a:lnTo>
                  <a:lnTo>
                    <a:pt x="35" y="47"/>
                  </a:lnTo>
                  <a:lnTo>
                    <a:pt x="35" y="35"/>
                  </a:lnTo>
                  <a:lnTo>
                    <a:pt x="53" y="23"/>
                  </a:lnTo>
                  <a:lnTo>
                    <a:pt x="42" y="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5" name="Freeform 747"/>
            <p:cNvSpPr>
              <a:spLocks/>
            </p:cNvSpPr>
            <p:nvPr/>
          </p:nvSpPr>
          <p:spPr bwMode="auto">
            <a:xfrm>
              <a:off x="3611141" y="3818121"/>
              <a:ext cx="464486" cy="534509"/>
            </a:xfrm>
            <a:custGeom>
              <a:avLst/>
              <a:gdLst>
                <a:gd name="T0" fmla="*/ 2147483647 w 860"/>
                <a:gd name="T1" fmla="*/ 2147483647 h 1116"/>
                <a:gd name="T2" fmla="*/ 0 w 860"/>
                <a:gd name="T3" fmla="*/ 2147483647 h 1116"/>
                <a:gd name="T4" fmla="*/ 2147483647 w 860"/>
                <a:gd name="T5" fmla="*/ 2147483647 h 1116"/>
                <a:gd name="T6" fmla="*/ 2147483647 w 860"/>
                <a:gd name="T7" fmla="*/ 2147483647 h 1116"/>
                <a:gd name="T8" fmla="*/ 2147483647 w 860"/>
                <a:gd name="T9" fmla="*/ 2147483647 h 1116"/>
                <a:gd name="T10" fmla="*/ 2147483647 w 860"/>
                <a:gd name="T11" fmla="*/ 2147483647 h 1116"/>
                <a:gd name="T12" fmla="*/ 2147483647 w 860"/>
                <a:gd name="T13" fmla="*/ 2147483647 h 1116"/>
                <a:gd name="T14" fmla="*/ 2147483647 w 860"/>
                <a:gd name="T15" fmla="*/ 2147483647 h 1116"/>
                <a:gd name="T16" fmla="*/ 2147483647 w 860"/>
                <a:gd name="T17" fmla="*/ 2147483647 h 1116"/>
                <a:gd name="T18" fmla="*/ 2147483647 w 860"/>
                <a:gd name="T19" fmla="*/ 2147483647 h 1116"/>
                <a:gd name="T20" fmla="*/ 2147483647 w 860"/>
                <a:gd name="T21" fmla="*/ 2147483647 h 1116"/>
                <a:gd name="T22" fmla="*/ 2147483647 w 860"/>
                <a:gd name="T23" fmla="*/ 2147483647 h 1116"/>
                <a:gd name="T24" fmla="*/ 2147483647 w 860"/>
                <a:gd name="T25" fmla="*/ 2147483647 h 1116"/>
                <a:gd name="T26" fmla="*/ 2147483647 w 860"/>
                <a:gd name="T27" fmla="*/ 2147483647 h 1116"/>
                <a:gd name="T28" fmla="*/ 2147483647 w 860"/>
                <a:gd name="T29" fmla="*/ 2147483647 h 1116"/>
                <a:gd name="T30" fmla="*/ 2147483647 w 860"/>
                <a:gd name="T31" fmla="*/ 2147483647 h 1116"/>
                <a:gd name="T32" fmla="*/ 2147483647 w 860"/>
                <a:gd name="T33" fmla="*/ 2147483647 h 1116"/>
                <a:gd name="T34" fmla="*/ 2147483647 w 860"/>
                <a:gd name="T35" fmla="*/ 2147483647 h 1116"/>
                <a:gd name="T36" fmla="*/ 2147483647 w 860"/>
                <a:gd name="T37" fmla="*/ 2147483647 h 1116"/>
                <a:gd name="T38" fmla="*/ 2147483647 w 860"/>
                <a:gd name="T39" fmla="*/ 2147483647 h 1116"/>
                <a:gd name="T40" fmla="*/ 2147483647 w 860"/>
                <a:gd name="T41" fmla="*/ 2147483647 h 1116"/>
                <a:gd name="T42" fmla="*/ 2147483647 w 860"/>
                <a:gd name="T43" fmla="*/ 2147483647 h 1116"/>
                <a:gd name="T44" fmla="*/ 2147483647 w 860"/>
                <a:gd name="T45" fmla="*/ 2147483647 h 1116"/>
                <a:gd name="T46" fmla="*/ 2147483647 w 860"/>
                <a:gd name="T47" fmla="*/ 2147483647 h 1116"/>
                <a:gd name="T48" fmla="*/ 2147483647 w 860"/>
                <a:gd name="T49" fmla="*/ 2147483647 h 1116"/>
                <a:gd name="T50" fmla="*/ 2147483647 w 860"/>
                <a:gd name="T51" fmla="*/ 2147483647 h 1116"/>
                <a:gd name="T52" fmla="*/ 2147483647 w 860"/>
                <a:gd name="T53" fmla="*/ 2147483647 h 1116"/>
                <a:gd name="T54" fmla="*/ 2147483647 w 860"/>
                <a:gd name="T55" fmla="*/ 2147483647 h 1116"/>
                <a:gd name="T56" fmla="*/ 2147483647 w 860"/>
                <a:gd name="T57" fmla="*/ 2147483647 h 1116"/>
                <a:gd name="T58" fmla="*/ 2147483647 w 860"/>
                <a:gd name="T59" fmla="*/ 2147483647 h 1116"/>
                <a:gd name="T60" fmla="*/ 2147483647 w 860"/>
                <a:gd name="T61" fmla="*/ 2147483647 h 1116"/>
                <a:gd name="T62" fmla="*/ 2147483647 w 860"/>
                <a:gd name="T63" fmla="*/ 2147483647 h 1116"/>
                <a:gd name="T64" fmla="*/ 2147483647 w 860"/>
                <a:gd name="T65" fmla="*/ 2147483647 h 1116"/>
                <a:gd name="T66" fmla="*/ 2147483647 w 860"/>
                <a:gd name="T67" fmla="*/ 2147483647 h 1116"/>
                <a:gd name="T68" fmla="*/ 2147483647 w 860"/>
                <a:gd name="T69" fmla="*/ 2147483647 h 1116"/>
                <a:gd name="T70" fmla="*/ 2147483647 w 860"/>
                <a:gd name="T71" fmla="*/ 2147483647 h 1116"/>
                <a:gd name="T72" fmla="*/ 2147483647 w 860"/>
                <a:gd name="T73" fmla="*/ 0 h 1116"/>
                <a:gd name="T74" fmla="*/ 2147483647 w 860"/>
                <a:gd name="T75" fmla="*/ 2147483647 h 1116"/>
                <a:gd name="T76" fmla="*/ 2147483647 w 860"/>
                <a:gd name="T77" fmla="*/ 2147483647 h 1116"/>
                <a:gd name="T78" fmla="*/ 2147483647 w 860"/>
                <a:gd name="T79" fmla="*/ 2147483647 h 1116"/>
                <a:gd name="T80" fmla="*/ 2147483647 w 860"/>
                <a:gd name="T81" fmla="*/ 2147483647 h 1116"/>
                <a:gd name="T82" fmla="*/ 2147483647 w 860"/>
                <a:gd name="T83" fmla="*/ 2147483647 h 1116"/>
                <a:gd name="T84" fmla="*/ 2147483647 w 860"/>
                <a:gd name="T85" fmla="*/ 2147483647 h 1116"/>
                <a:gd name="T86" fmla="*/ 2147483647 w 860"/>
                <a:gd name="T87" fmla="*/ 2147483647 h 1116"/>
                <a:gd name="T88" fmla="*/ 2147483647 w 860"/>
                <a:gd name="T89" fmla="*/ 2147483647 h 1116"/>
                <a:gd name="T90" fmla="*/ 2147483647 w 860"/>
                <a:gd name="T91" fmla="*/ 2147483647 h 11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0"/>
                <a:gd name="T139" fmla="*/ 0 h 1116"/>
                <a:gd name="T140" fmla="*/ 860 w 860"/>
                <a:gd name="T141" fmla="*/ 1116 h 11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0" h="1116">
                  <a:moveTo>
                    <a:pt x="157" y="570"/>
                  </a:moveTo>
                  <a:lnTo>
                    <a:pt x="0" y="687"/>
                  </a:lnTo>
                  <a:lnTo>
                    <a:pt x="105" y="744"/>
                  </a:lnTo>
                  <a:lnTo>
                    <a:pt x="99" y="785"/>
                  </a:lnTo>
                  <a:lnTo>
                    <a:pt x="244" y="797"/>
                  </a:lnTo>
                  <a:lnTo>
                    <a:pt x="285" y="802"/>
                  </a:lnTo>
                  <a:lnTo>
                    <a:pt x="354" y="936"/>
                  </a:lnTo>
                  <a:lnTo>
                    <a:pt x="482" y="954"/>
                  </a:lnTo>
                  <a:lnTo>
                    <a:pt x="569" y="994"/>
                  </a:lnTo>
                  <a:lnTo>
                    <a:pt x="558" y="1111"/>
                  </a:lnTo>
                  <a:lnTo>
                    <a:pt x="581" y="1116"/>
                  </a:lnTo>
                  <a:lnTo>
                    <a:pt x="674" y="919"/>
                  </a:lnTo>
                  <a:lnTo>
                    <a:pt x="633" y="872"/>
                  </a:lnTo>
                  <a:lnTo>
                    <a:pt x="639" y="832"/>
                  </a:lnTo>
                  <a:lnTo>
                    <a:pt x="698" y="785"/>
                  </a:lnTo>
                  <a:lnTo>
                    <a:pt x="656" y="767"/>
                  </a:lnTo>
                  <a:lnTo>
                    <a:pt x="663" y="739"/>
                  </a:lnTo>
                  <a:lnTo>
                    <a:pt x="698" y="744"/>
                  </a:lnTo>
                  <a:lnTo>
                    <a:pt x="743" y="779"/>
                  </a:lnTo>
                  <a:lnTo>
                    <a:pt x="796" y="779"/>
                  </a:lnTo>
                  <a:lnTo>
                    <a:pt x="825" y="832"/>
                  </a:lnTo>
                  <a:lnTo>
                    <a:pt x="860" y="837"/>
                  </a:lnTo>
                  <a:lnTo>
                    <a:pt x="848" y="797"/>
                  </a:lnTo>
                  <a:lnTo>
                    <a:pt x="855" y="756"/>
                  </a:lnTo>
                  <a:lnTo>
                    <a:pt x="808" y="669"/>
                  </a:lnTo>
                  <a:lnTo>
                    <a:pt x="831" y="605"/>
                  </a:lnTo>
                  <a:lnTo>
                    <a:pt x="813" y="576"/>
                  </a:lnTo>
                  <a:lnTo>
                    <a:pt x="843" y="478"/>
                  </a:lnTo>
                  <a:lnTo>
                    <a:pt x="721" y="471"/>
                  </a:lnTo>
                  <a:lnTo>
                    <a:pt x="541" y="361"/>
                  </a:lnTo>
                  <a:lnTo>
                    <a:pt x="499" y="274"/>
                  </a:lnTo>
                  <a:lnTo>
                    <a:pt x="453" y="279"/>
                  </a:lnTo>
                  <a:lnTo>
                    <a:pt x="511" y="192"/>
                  </a:lnTo>
                  <a:lnTo>
                    <a:pt x="494" y="122"/>
                  </a:lnTo>
                  <a:lnTo>
                    <a:pt x="541" y="105"/>
                  </a:lnTo>
                  <a:lnTo>
                    <a:pt x="593" y="18"/>
                  </a:lnTo>
                  <a:lnTo>
                    <a:pt x="552" y="0"/>
                  </a:lnTo>
                  <a:lnTo>
                    <a:pt x="523" y="24"/>
                  </a:lnTo>
                  <a:lnTo>
                    <a:pt x="302" y="94"/>
                  </a:lnTo>
                  <a:lnTo>
                    <a:pt x="290" y="134"/>
                  </a:lnTo>
                  <a:lnTo>
                    <a:pt x="232" y="244"/>
                  </a:lnTo>
                  <a:lnTo>
                    <a:pt x="180" y="262"/>
                  </a:lnTo>
                  <a:lnTo>
                    <a:pt x="157" y="326"/>
                  </a:lnTo>
                  <a:lnTo>
                    <a:pt x="174" y="478"/>
                  </a:lnTo>
                  <a:lnTo>
                    <a:pt x="140" y="500"/>
                  </a:lnTo>
                  <a:lnTo>
                    <a:pt x="157" y="57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6" name="Freeform 748"/>
            <p:cNvSpPr>
              <a:spLocks/>
            </p:cNvSpPr>
            <p:nvPr/>
          </p:nvSpPr>
          <p:spPr bwMode="auto">
            <a:xfrm>
              <a:off x="3546212" y="4147816"/>
              <a:ext cx="194785" cy="194821"/>
            </a:xfrm>
            <a:custGeom>
              <a:avLst/>
              <a:gdLst>
                <a:gd name="T0" fmla="*/ 2147483647 w 361"/>
                <a:gd name="T1" fmla="*/ 0 h 412"/>
                <a:gd name="T2" fmla="*/ 2147483647 w 361"/>
                <a:gd name="T3" fmla="*/ 2147483647 h 412"/>
                <a:gd name="T4" fmla="*/ 0 w 361"/>
                <a:gd name="T5" fmla="*/ 2147483647 h 412"/>
                <a:gd name="T6" fmla="*/ 0 w 361"/>
                <a:gd name="T7" fmla="*/ 2147483647 h 412"/>
                <a:gd name="T8" fmla="*/ 2147483647 w 361"/>
                <a:gd name="T9" fmla="*/ 2147483647 h 412"/>
                <a:gd name="T10" fmla="*/ 2147483647 w 361"/>
                <a:gd name="T11" fmla="*/ 2147483647 h 412"/>
                <a:gd name="T12" fmla="*/ 2147483647 w 361"/>
                <a:gd name="T13" fmla="*/ 2147483647 h 412"/>
                <a:gd name="T14" fmla="*/ 2147483647 w 361"/>
                <a:gd name="T15" fmla="*/ 2147483647 h 412"/>
                <a:gd name="T16" fmla="*/ 2147483647 w 361"/>
                <a:gd name="T17" fmla="*/ 2147483647 h 412"/>
                <a:gd name="T18" fmla="*/ 2147483647 w 361"/>
                <a:gd name="T19" fmla="*/ 2147483647 h 412"/>
                <a:gd name="T20" fmla="*/ 2147483647 w 361"/>
                <a:gd name="T21" fmla="*/ 2147483647 h 412"/>
                <a:gd name="T22" fmla="*/ 2147483647 w 361"/>
                <a:gd name="T23" fmla="*/ 2147483647 h 412"/>
                <a:gd name="T24" fmla="*/ 2147483647 w 361"/>
                <a:gd name="T25" fmla="*/ 2147483647 h 412"/>
                <a:gd name="T26" fmla="*/ 2147483647 w 361"/>
                <a:gd name="T27" fmla="*/ 2147483647 h 412"/>
                <a:gd name="T28" fmla="*/ 2147483647 w 361"/>
                <a:gd name="T29" fmla="*/ 2147483647 h 412"/>
                <a:gd name="T30" fmla="*/ 2147483647 w 361"/>
                <a:gd name="T31" fmla="*/ 0 h 4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61"/>
                <a:gd name="T49" fmla="*/ 0 h 412"/>
                <a:gd name="T50" fmla="*/ 361 w 361"/>
                <a:gd name="T51" fmla="*/ 412 h 4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61" h="412">
                  <a:moveTo>
                    <a:pt x="123" y="0"/>
                  </a:moveTo>
                  <a:lnTo>
                    <a:pt x="59" y="45"/>
                  </a:lnTo>
                  <a:lnTo>
                    <a:pt x="0" y="197"/>
                  </a:lnTo>
                  <a:lnTo>
                    <a:pt x="0" y="267"/>
                  </a:lnTo>
                  <a:lnTo>
                    <a:pt x="24" y="272"/>
                  </a:lnTo>
                  <a:lnTo>
                    <a:pt x="65" y="220"/>
                  </a:lnTo>
                  <a:lnTo>
                    <a:pt x="70" y="237"/>
                  </a:lnTo>
                  <a:lnTo>
                    <a:pt x="42" y="336"/>
                  </a:lnTo>
                  <a:lnTo>
                    <a:pt x="100" y="412"/>
                  </a:lnTo>
                  <a:lnTo>
                    <a:pt x="216" y="324"/>
                  </a:lnTo>
                  <a:lnTo>
                    <a:pt x="227" y="272"/>
                  </a:lnTo>
                  <a:lnTo>
                    <a:pt x="309" y="249"/>
                  </a:lnTo>
                  <a:lnTo>
                    <a:pt x="361" y="110"/>
                  </a:lnTo>
                  <a:lnTo>
                    <a:pt x="216" y="98"/>
                  </a:lnTo>
                  <a:lnTo>
                    <a:pt x="222" y="57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7" name="Freeform 749"/>
            <p:cNvSpPr>
              <a:spLocks/>
            </p:cNvSpPr>
            <p:nvPr/>
          </p:nvSpPr>
          <p:spPr bwMode="auto">
            <a:xfrm>
              <a:off x="3860864" y="3838102"/>
              <a:ext cx="524420" cy="389641"/>
            </a:xfrm>
            <a:custGeom>
              <a:avLst/>
              <a:gdLst>
                <a:gd name="T0" fmla="*/ 2147483647 w 977"/>
                <a:gd name="T1" fmla="*/ 2147483647 h 808"/>
                <a:gd name="T2" fmla="*/ 2147483647 w 977"/>
                <a:gd name="T3" fmla="*/ 2147483647 h 808"/>
                <a:gd name="T4" fmla="*/ 2147483647 w 977"/>
                <a:gd name="T5" fmla="*/ 2147483647 h 808"/>
                <a:gd name="T6" fmla="*/ 2147483647 w 977"/>
                <a:gd name="T7" fmla="*/ 2147483647 h 808"/>
                <a:gd name="T8" fmla="*/ 2147483647 w 977"/>
                <a:gd name="T9" fmla="*/ 2147483647 h 808"/>
                <a:gd name="T10" fmla="*/ 2147483647 w 977"/>
                <a:gd name="T11" fmla="*/ 2147483647 h 808"/>
                <a:gd name="T12" fmla="*/ 2147483647 w 977"/>
                <a:gd name="T13" fmla="*/ 0 h 808"/>
                <a:gd name="T14" fmla="*/ 2147483647 w 977"/>
                <a:gd name="T15" fmla="*/ 2147483647 h 808"/>
                <a:gd name="T16" fmla="*/ 2147483647 w 977"/>
                <a:gd name="T17" fmla="*/ 2147483647 h 808"/>
                <a:gd name="T18" fmla="*/ 2147483647 w 977"/>
                <a:gd name="T19" fmla="*/ 2147483647 h 808"/>
                <a:gd name="T20" fmla="*/ 2147483647 w 977"/>
                <a:gd name="T21" fmla="*/ 2147483647 h 808"/>
                <a:gd name="T22" fmla="*/ 2147483647 w 977"/>
                <a:gd name="T23" fmla="*/ 2147483647 h 808"/>
                <a:gd name="T24" fmla="*/ 2147483647 w 977"/>
                <a:gd name="T25" fmla="*/ 2147483647 h 808"/>
                <a:gd name="T26" fmla="*/ 2147483647 w 977"/>
                <a:gd name="T27" fmla="*/ 2147483647 h 808"/>
                <a:gd name="T28" fmla="*/ 2147483647 w 977"/>
                <a:gd name="T29" fmla="*/ 2147483647 h 808"/>
                <a:gd name="T30" fmla="*/ 2147483647 w 977"/>
                <a:gd name="T31" fmla="*/ 2147483647 h 808"/>
                <a:gd name="T32" fmla="*/ 2147483647 w 977"/>
                <a:gd name="T33" fmla="*/ 2147483647 h 808"/>
                <a:gd name="T34" fmla="*/ 2147483647 w 977"/>
                <a:gd name="T35" fmla="*/ 2147483647 h 808"/>
                <a:gd name="T36" fmla="*/ 2147483647 w 977"/>
                <a:gd name="T37" fmla="*/ 2147483647 h 808"/>
                <a:gd name="T38" fmla="*/ 2147483647 w 977"/>
                <a:gd name="T39" fmla="*/ 2147483647 h 808"/>
                <a:gd name="T40" fmla="*/ 2147483647 w 977"/>
                <a:gd name="T41" fmla="*/ 2147483647 h 808"/>
                <a:gd name="T42" fmla="*/ 2147483647 w 977"/>
                <a:gd name="T43" fmla="*/ 2147483647 h 808"/>
                <a:gd name="T44" fmla="*/ 2147483647 w 977"/>
                <a:gd name="T45" fmla="*/ 2147483647 h 808"/>
                <a:gd name="T46" fmla="*/ 2147483647 w 977"/>
                <a:gd name="T47" fmla="*/ 2147483647 h 808"/>
                <a:gd name="T48" fmla="*/ 2147483647 w 977"/>
                <a:gd name="T49" fmla="*/ 2147483647 h 808"/>
                <a:gd name="T50" fmla="*/ 2147483647 w 977"/>
                <a:gd name="T51" fmla="*/ 2147483647 h 808"/>
                <a:gd name="T52" fmla="*/ 2147483647 w 977"/>
                <a:gd name="T53" fmla="*/ 2147483647 h 808"/>
                <a:gd name="T54" fmla="*/ 2147483647 w 977"/>
                <a:gd name="T55" fmla="*/ 2147483647 h 808"/>
                <a:gd name="T56" fmla="*/ 2147483647 w 977"/>
                <a:gd name="T57" fmla="*/ 2147483647 h 808"/>
                <a:gd name="T58" fmla="*/ 2147483647 w 977"/>
                <a:gd name="T59" fmla="*/ 2147483647 h 808"/>
                <a:gd name="T60" fmla="*/ 2147483647 w 977"/>
                <a:gd name="T61" fmla="*/ 2147483647 h 808"/>
                <a:gd name="T62" fmla="*/ 2147483647 w 977"/>
                <a:gd name="T63" fmla="*/ 2147483647 h 808"/>
                <a:gd name="T64" fmla="*/ 2147483647 w 977"/>
                <a:gd name="T65" fmla="*/ 2147483647 h 808"/>
                <a:gd name="T66" fmla="*/ 2147483647 w 977"/>
                <a:gd name="T67" fmla="*/ 2147483647 h 808"/>
                <a:gd name="T68" fmla="*/ 2147483647 w 977"/>
                <a:gd name="T69" fmla="*/ 2147483647 h 808"/>
                <a:gd name="T70" fmla="*/ 2147483647 w 977"/>
                <a:gd name="T71" fmla="*/ 2147483647 h 808"/>
                <a:gd name="T72" fmla="*/ 0 w 977"/>
                <a:gd name="T73" fmla="*/ 2147483647 h 808"/>
                <a:gd name="T74" fmla="*/ 2147483647 w 977"/>
                <a:gd name="T75" fmla="*/ 2147483647 h 808"/>
                <a:gd name="T76" fmla="*/ 2147483647 w 977"/>
                <a:gd name="T77" fmla="*/ 2147483647 h 808"/>
                <a:gd name="T78" fmla="*/ 2147483647 w 977"/>
                <a:gd name="T79" fmla="*/ 2147483647 h 80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77"/>
                <a:gd name="T121" fmla="*/ 0 h 808"/>
                <a:gd name="T122" fmla="*/ 977 w 977"/>
                <a:gd name="T123" fmla="*/ 808 h 80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77" h="808">
                  <a:moveTo>
                    <a:pt x="75" y="52"/>
                  </a:moveTo>
                  <a:lnTo>
                    <a:pt x="93" y="134"/>
                  </a:lnTo>
                  <a:lnTo>
                    <a:pt x="139" y="180"/>
                  </a:lnTo>
                  <a:lnTo>
                    <a:pt x="145" y="146"/>
                  </a:lnTo>
                  <a:lnTo>
                    <a:pt x="127" y="87"/>
                  </a:lnTo>
                  <a:lnTo>
                    <a:pt x="174" y="64"/>
                  </a:lnTo>
                  <a:lnTo>
                    <a:pt x="197" y="0"/>
                  </a:lnTo>
                  <a:lnTo>
                    <a:pt x="319" y="52"/>
                  </a:lnTo>
                  <a:lnTo>
                    <a:pt x="354" y="111"/>
                  </a:lnTo>
                  <a:lnTo>
                    <a:pt x="750" y="146"/>
                  </a:lnTo>
                  <a:lnTo>
                    <a:pt x="750" y="174"/>
                  </a:lnTo>
                  <a:lnTo>
                    <a:pt x="855" y="238"/>
                  </a:lnTo>
                  <a:lnTo>
                    <a:pt x="849" y="290"/>
                  </a:lnTo>
                  <a:lnTo>
                    <a:pt x="977" y="372"/>
                  </a:lnTo>
                  <a:lnTo>
                    <a:pt x="872" y="395"/>
                  </a:lnTo>
                  <a:lnTo>
                    <a:pt x="901" y="442"/>
                  </a:lnTo>
                  <a:lnTo>
                    <a:pt x="872" y="470"/>
                  </a:lnTo>
                  <a:lnTo>
                    <a:pt x="849" y="470"/>
                  </a:lnTo>
                  <a:lnTo>
                    <a:pt x="855" y="564"/>
                  </a:lnTo>
                  <a:lnTo>
                    <a:pt x="820" y="639"/>
                  </a:lnTo>
                  <a:lnTo>
                    <a:pt x="727" y="627"/>
                  </a:lnTo>
                  <a:lnTo>
                    <a:pt x="698" y="645"/>
                  </a:lnTo>
                  <a:lnTo>
                    <a:pt x="570" y="569"/>
                  </a:lnTo>
                  <a:lnTo>
                    <a:pt x="546" y="592"/>
                  </a:lnTo>
                  <a:lnTo>
                    <a:pt x="633" y="714"/>
                  </a:lnTo>
                  <a:lnTo>
                    <a:pt x="511" y="808"/>
                  </a:lnTo>
                  <a:lnTo>
                    <a:pt x="401" y="784"/>
                  </a:lnTo>
                  <a:lnTo>
                    <a:pt x="389" y="744"/>
                  </a:lnTo>
                  <a:lnTo>
                    <a:pt x="396" y="703"/>
                  </a:lnTo>
                  <a:lnTo>
                    <a:pt x="354" y="622"/>
                  </a:lnTo>
                  <a:lnTo>
                    <a:pt x="372" y="552"/>
                  </a:lnTo>
                  <a:lnTo>
                    <a:pt x="354" y="523"/>
                  </a:lnTo>
                  <a:lnTo>
                    <a:pt x="384" y="425"/>
                  </a:lnTo>
                  <a:lnTo>
                    <a:pt x="250" y="413"/>
                  </a:lnTo>
                  <a:lnTo>
                    <a:pt x="70" y="308"/>
                  </a:lnTo>
                  <a:lnTo>
                    <a:pt x="40" y="221"/>
                  </a:lnTo>
                  <a:lnTo>
                    <a:pt x="0" y="226"/>
                  </a:lnTo>
                  <a:lnTo>
                    <a:pt x="52" y="139"/>
                  </a:lnTo>
                  <a:lnTo>
                    <a:pt x="35" y="69"/>
                  </a:lnTo>
                  <a:lnTo>
                    <a:pt x="75" y="5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8" name="Freeform 750"/>
            <p:cNvSpPr>
              <a:spLocks/>
            </p:cNvSpPr>
            <p:nvPr/>
          </p:nvSpPr>
          <p:spPr bwMode="auto">
            <a:xfrm>
              <a:off x="3521240" y="4197769"/>
              <a:ext cx="449504" cy="619429"/>
            </a:xfrm>
            <a:custGeom>
              <a:avLst/>
              <a:gdLst>
                <a:gd name="T0" fmla="*/ 2147483647 w 825"/>
                <a:gd name="T1" fmla="*/ 2147483647 h 1283"/>
                <a:gd name="T2" fmla="*/ 0 w 825"/>
                <a:gd name="T3" fmla="*/ 2147483647 h 1283"/>
                <a:gd name="T4" fmla="*/ 2147483647 w 825"/>
                <a:gd name="T5" fmla="*/ 2147483647 h 1283"/>
                <a:gd name="T6" fmla="*/ 2147483647 w 825"/>
                <a:gd name="T7" fmla="*/ 2147483647 h 1283"/>
                <a:gd name="T8" fmla="*/ 2147483647 w 825"/>
                <a:gd name="T9" fmla="*/ 2147483647 h 1283"/>
                <a:gd name="T10" fmla="*/ 2147483647 w 825"/>
                <a:gd name="T11" fmla="*/ 2147483647 h 1283"/>
                <a:gd name="T12" fmla="*/ 2147483647 w 825"/>
                <a:gd name="T13" fmla="*/ 2147483647 h 1283"/>
                <a:gd name="T14" fmla="*/ 2147483647 w 825"/>
                <a:gd name="T15" fmla="*/ 2147483647 h 1283"/>
                <a:gd name="T16" fmla="*/ 2147483647 w 825"/>
                <a:gd name="T17" fmla="*/ 2147483647 h 1283"/>
                <a:gd name="T18" fmla="*/ 2147483647 w 825"/>
                <a:gd name="T19" fmla="*/ 2147483647 h 1283"/>
                <a:gd name="T20" fmla="*/ 2147483647 w 825"/>
                <a:gd name="T21" fmla="*/ 2147483647 h 1283"/>
                <a:gd name="T22" fmla="*/ 2147483647 w 825"/>
                <a:gd name="T23" fmla="*/ 2147483647 h 1283"/>
                <a:gd name="T24" fmla="*/ 2147483647 w 825"/>
                <a:gd name="T25" fmla="*/ 2147483647 h 1283"/>
                <a:gd name="T26" fmla="*/ 2147483647 w 825"/>
                <a:gd name="T27" fmla="*/ 2147483647 h 1283"/>
                <a:gd name="T28" fmla="*/ 2147483647 w 825"/>
                <a:gd name="T29" fmla="*/ 2147483647 h 1283"/>
                <a:gd name="T30" fmla="*/ 2147483647 w 825"/>
                <a:gd name="T31" fmla="*/ 2147483647 h 1283"/>
                <a:gd name="T32" fmla="*/ 2147483647 w 825"/>
                <a:gd name="T33" fmla="*/ 2147483647 h 1283"/>
                <a:gd name="T34" fmla="*/ 2147483647 w 825"/>
                <a:gd name="T35" fmla="*/ 2147483647 h 1283"/>
                <a:gd name="T36" fmla="*/ 2147483647 w 825"/>
                <a:gd name="T37" fmla="*/ 2147483647 h 1283"/>
                <a:gd name="T38" fmla="*/ 2147483647 w 825"/>
                <a:gd name="T39" fmla="*/ 2147483647 h 1283"/>
                <a:gd name="T40" fmla="*/ 2147483647 w 825"/>
                <a:gd name="T41" fmla="*/ 2147483647 h 1283"/>
                <a:gd name="T42" fmla="*/ 2147483647 w 825"/>
                <a:gd name="T43" fmla="*/ 2147483647 h 1283"/>
                <a:gd name="T44" fmla="*/ 2147483647 w 825"/>
                <a:gd name="T45" fmla="*/ 2147483647 h 1283"/>
                <a:gd name="T46" fmla="*/ 2147483647 w 825"/>
                <a:gd name="T47" fmla="*/ 2147483647 h 1283"/>
                <a:gd name="T48" fmla="*/ 2147483647 w 825"/>
                <a:gd name="T49" fmla="*/ 2147483647 h 1283"/>
                <a:gd name="T50" fmla="*/ 2147483647 w 825"/>
                <a:gd name="T51" fmla="*/ 2147483647 h 1283"/>
                <a:gd name="T52" fmla="*/ 2147483647 w 825"/>
                <a:gd name="T53" fmla="*/ 2147483647 h 1283"/>
                <a:gd name="T54" fmla="*/ 2147483647 w 825"/>
                <a:gd name="T55" fmla="*/ 2147483647 h 1283"/>
                <a:gd name="T56" fmla="*/ 2147483647 w 825"/>
                <a:gd name="T57" fmla="*/ 2147483647 h 1283"/>
                <a:gd name="T58" fmla="*/ 2147483647 w 825"/>
                <a:gd name="T59" fmla="*/ 2147483647 h 1283"/>
                <a:gd name="T60" fmla="*/ 2147483647 w 825"/>
                <a:gd name="T61" fmla="*/ 2147483647 h 1283"/>
                <a:gd name="T62" fmla="*/ 2147483647 w 825"/>
                <a:gd name="T63" fmla="*/ 0 h 1283"/>
                <a:gd name="T64" fmla="*/ 2147483647 w 825"/>
                <a:gd name="T65" fmla="*/ 2147483647 h 1283"/>
                <a:gd name="T66" fmla="*/ 2147483647 w 825"/>
                <a:gd name="T67" fmla="*/ 2147483647 h 1283"/>
                <a:gd name="T68" fmla="*/ 2147483647 w 825"/>
                <a:gd name="T69" fmla="*/ 2147483647 h 1283"/>
                <a:gd name="T70" fmla="*/ 2147483647 w 825"/>
                <a:gd name="T71" fmla="*/ 2147483647 h 1283"/>
                <a:gd name="T72" fmla="*/ 2147483647 w 825"/>
                <a:gd name="T73" fmla="*/ 2147483647 h 128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25"/>
                <a:gd name="T112" fmla="*/ 0 h 1283"/>
                <a:gd name="T113" fmla="*/ 825 w 825"/>
                <a:gd name="T114" fmla="*/ 1283 h 128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25" h="1283">
                  <a:moveTo>
                    <a:pt x="87" y="226"/>
                  </a:moveTo>
                  <a:lnTo>
                    <a:pt x="0" y="291"/>
                  </a:lnTo>
                  <a:lnTo>
                    <a:pt x="5" y="406"/>
                  </a:lnTo>
                  <a:lnTo>
                    <a:pt x="92" y="470"/>
                  </a:lnTo>
                  <a:lnTo>
                    <a:pt x="104" y="551"/>
                  </a:lnTo>
                  <a:lnTo>
                    <a:pt x="157" y="575"/>
                  </a:lnTo>
                  <a:lnTo>
                    <a:pt x="168" y="725"/>
                  </a:lnTo>
                  <a:lnTo>
                    <a:pt x="284" y="854"/>
                  </a:lnTo>
                  <a:lnTo>
                    <a:pt x="284" y="952"/>
                  </a:lnTo>
                  <a:lnTo>
                    <a:pt x="417" y="1115"/>
                  </a:lnTo>
                  <a:lnTo>
                    <a:pt x="604" y="1179"/>
                  </a:lnTo>
                  <a:lnTo>
                    <a:pt x="650" y="1283"/>
                  </a:lnTo>
                  <a:lnTo>
                    <a:pt x="766" y="1168"/>
                  </a:lnTo>
                  <a:lnTo>
                    <a:pt x="772" y="1086"/>
                  </a:lnTo>
                  <a:lnTo>
                    <a:pt x="825" y="976"/>
                  </a:lnTo>
                  <a:lnTo>
                    <a:pt x="755" y="819"/>
                  </a:lnTo>
                  <a:lnTo>
                    <a:pt x="696" y="778"/>
                  </a:lnTo>
                  <a:lnTo>
                    <a:pt x="708" y="714"/>
                  </a:lnTo>
                  <a:lnTo>
                    <a:pt x="673" y="680"/>
                  </a:lnTo>
                  <a:lnTo>
                    <a:pt x="598" y="714"/>
                  </a:lnTo>
                  <a:lnTo>
                    <a:pt x="551" y="650"/>
                  </a:lnTo>
                  <a:lnTo>
                    <a:pt x="493" y="697"/>
                  </a:lnTo>
                  <a:lnTo>
                    <a:pt x="469" y="586"/>
                  </a:lnTo>
                  <a:lnTo>
                    <a:pt x="528" y="488"/>
                  </a:lnTo>
                  <a:lnTo>
                    <a:pt x="534" y="436"/>
                  </a:lnTo>
                  <a:lnTo>
                    <a:pt x="743" y="319"/>
                  </a:lnTo>
                  <a:lnTo>
                    <a:pt x="720" y="314"/>
                  </a:lnTo>
                  <a:lnTo>
                    <a:pt x="731" y="197"/>
                  </a:lnTo>
                  <a:lnTo>
                    <a:pt x="650" y="157"/>
                  </a:lnTo>
                  <a:lnTo>
                    <a:pt x="516" y="139"/>
                  </a:lnTo>
                  <a:lnTo>
                    <a:pt x="447" y="5"/>
                  </a:lnTo>
                  <a:lnTo>
                    <a:pt x="406" y="0"/>
                  </a:lnTo>
                  <a:lnTo>
                    <a:pt x="354" y="139"/>
                  </a:lnTo>
                  <a:lnTo>
                    <a:pt x="272" y="162"/>
                  </a:lnTo>
                  <a:lnTo>
                    <a:pt x="261" y="226"/>
                  </a:lnTo>
                  <a:lnTo>
                    <a:pt x="139" y="308"/>
                  </a:lnTo>
                  <a:lnTo>
                    <a:pt x="87" y="22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49" name="Freeform 751"/>
            <p:cNvSpPr>
              <a:spLocks/>
            </p:cNvSpPr>
            <p:nvPr/>
          </p:nvSpPr>
          <p:spPr bwMode="auto">
            <a:xfrm>
              <a:off x="3736002" y="4787226"/>
              <a:ext cx="259714" cy="1148941"/>
            </a:xfrm>
            <a:custGeom>
              <a:avLst/>
              <a:gdLst>
                <a:gd name="T0" fmla="*/ 2147483647 w 471"/>
                <a:gd name="T1" fmla="*/ 2147483647 h 2399"/>
                <a:gd name="T2" fmla="*/ 2147483647 w 471"/>
                <a:gd name="T3" fmla="*/ 2147483647 h 2399"/>
                <a:gd name="T4" fmla="*/ 2147483647 w 471"/>
                <a:gd name="T5" fmla="*/ 2147483647 h 2399"/>
                <a:gd name="T6" fmla="*/ 2147483647 w 471"/>
                <a:gd name="T7" fmla="*/ 2147483647 h 2399"/>
                <a:gd name="T8" fmla="*/ 2147483647 w 471"/>
                <a:gd name="T9" fmla="*/ 2147483647 h 2399"/>
                <a:gd name="T10" fmla="*/ 2147483647 w 471"/>
                <a:gd name="T11" fmla="*/ 2147483647 h 2399"/>
                <a:gd name="T12" fmla="*/ 2147483647 w 471"/>
                <a:gd name="T13" fmla="*/ 2147483647 h 2399"/>
                <a:gd name="T14" fmla="*/ 2147483647 w 471"/>
                <a:gd name="T15" fmla="*/ 2147483647 h 2399"/>
                <a:gd name="T16" fmla="*/ 0 w 471"/>
                <a:gd name="T17" fmla="*/ 2147483647 h 2399"/>
                <a:gd name="T18" fmla="*/ 2147483647 w 471"/>
                <a:gd name="T19" fmla="*/ 2147483647 h 2399"/>
                <a:gd name="T20" fmla="*/ 2147483647 w 471"/>
                <a:gd name="T21" fmla="*/ 2147483647 h 2399"/>
                <a:gd name="T22" fmla="*/ 2147483647 w 471"/>
                <a:gd name="T23" fmla="*/ 2147483647 h 2399"/>
                <a:gd name="T24" fmla="*/ 2147483647 w 471"/>
                <a:gd name="T25" fmla="*/ 2147483647 h 2399"/>
                <a:gd name="T26" fmla="*/ 2147483647 w 471"/>
                <a:gd name="T27" fmla="*/ 2147483647 h 2399"/>
                <a:gd name="T28" fmla="*/ 2147483647 w 471"/>
                <a:gd name="T29" fmla="*/ 2147483647 h 2399"/>
                <a:gd name="T30" fmla="*/ 2147483647 w 471"/>
                <a:gd name="T31" fmla="*/ 2147483647 h 2399"/>
                <a:gd name="T32" fmla="*/ 2147483647 w 471"/>
                <a:gd name="T33" fmla="*/ 2147483647 h 2399"/>
                <a:gd name="T34" fmla="*/ 2147483647 w 471"/>
                <a:gd name="T35" fmla="*/ 2147483647 h 2399"/>
                <a:gd name="T36" fmla="*/ 2147483647 w 471"/>
                <a:gd name="T37" fmla="*/ 2147483647 h 2399"/>
                <a:gd name="T38" fmla="*/ 2147483647 w 471"/>
                <a:gd name="T39" fmla="*/ 2147483647 h 2399"/>
                <a:gd name="T40" fmla="*/ 2147483647 w 471"/>
                <a:gd name="T41" fmla="*/ 2147483647 h 2399"/>
                <a:gd name="T42" fmla="*/ 2147483647 w 471"/>
                <a:gd name="T43" fmla="*/ 2147483647 h 2399"/>
                <a:gd name="T44" fmla="*/ 2147483647 w 471"/>
                <a:gd name="T45" fmla="*/ 2147483647 h 2399"/>
                <a:gd name="T46" fmla="*/ 2147483647 w 471"/>
                <a:gd name="T47" fmla="*/ 2147483647 h 2399"/>
                <a:gd name="T48" fmla="*/ 2147483647 w 471"/>
                <a:gd name="T49" fmla="*/ 2147483647 h 2399"/>
                <a:gd name="T50" fmla="*/ 2147483647 w 471"/>
                <a:gd name="T51" fmla="*/ 2147483647 h 2399"/>
                <a:gd name="T52" fmla="*/ 2147483647 w 471"/>
                <a:gd name="T53" fmla="*/ 2147483647 h 2399"/>
                <a:gd name="T54" fmla="*/ 2147483647 w 471"/>
                <a:gd name="T55" fmla="*/ 2147483647 h 2399"/>
                <a:gd name="T56" fmla="*/ 2147483647 w 471"/>
                <a:gd name="T57" fmla="*/ 2147483647 h 2399"/>
                <a:gd name="T58" fmla="*/ 2147483647 w 471"/>
                <a:gd name="T59" fmla="*/ 2147483647 h 2399"/>
                <a:gd name="T60" fmla="*/ 2147483647 w 471"/>
                <a:gd name="T61" fmla="*/ 2147483647 h 2399"/>
                <a:gd name="T62" fmla="*/ 2147483647 w 471"/>
                <a:gd name="T63" fmla="*/ 0 h 23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71"/>
                <a:gd name="T97" fmla="*/ 0 h 2399"/>
                <a:gd name="T98" fmla="*/ 471 w 471"/>
                <a:gd name="T99" fmla="*/ 2399 h 23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71" h="2399">
                  <a:moveTo>
                    <a:pt x="250" y="63"/>
                  </a:moveTo>
                  <a:lnTo>
                    <a:pt x="285" y="133"/>
                  </a:lnTo>
                  <a:lnTo>
                    <a:pt x="233" y="558"/>
                  </a:lnTo>
                  <a:lnTo>
                    <a:pt x="268" y="586"/>
                  </a:lnTo>
                  <a:lnTo>
                    <a:pt x="204" y="650"/>
                  </a:lnTo>
                  <a:lnTo>
                    <a:pt x="163" y="830"/>
                  </a:lnTo>
                  <a:lnTo>
                    <a:pt x="204" y="929"/>
                  </a:lnTo>
                  <a:lnTo>
                    <a:pt x="128" y="1208"/>
                  </a:lnTo>
                  <a:lnTo>
                    <a:pt x="69" y="1324"/>
                  </a:lnTo>
                  <a:lnTo>
                    <a:pt x="93" y="1417"/>
                  </a:lnTo>
                  <a:lnTo>
                    <a:pt x="87" y="1550"/>
                  </a:lnTo>
                  <a:lnTo>
                    <a:pt x="128" y="1632"/>
                  </a:lnTo>
                  <a:lnTo>
                    <a:pt x="139" y="1679"/>
                  </a:lnTo>
                  <a:lnTo>
                    <a:pt x="93" y="1719"/>
                  </a:lnTo>
                  <a:lnTo>
                    <a:pt x="128" y="1812"/>
                  </a:lnTo>
                  <a:lnTo>
                    <a:pt x="104" y="1864"/>
                  </a:lnTo>
                  <a:lnTo>
                    <a:pt x="6" y="1899"/>
                  </a:lnTo>
                  <a:lnTo>
                    <a:pt x="0" y="1928"/>
                  </a:lnTo>
                  <a:lnTo>
                    <a:pt x="52" y="1946"/>
                  </a:lnTo>
                  <a:lnTo>
                    <a:pt x="41" y="1998"/>
                  </a:lnTo>
                  <a:lnTo>
                    <a:pt x="81" y="2021"/>
                  </a:lnTo>
                  <a:lnTo>
                    <a:pt x="59" y="2068"/>
                  </a:lnTo>
                  <a:lnTo>
                    <a:pt x="41" y="2172"/>
                  </a:lnTo>
                  <a:lnTo>
                    <a:pt x="69" y="2260"/>
                  </a:lnTo>
                  <a:lnTo>
                    <a:pt x="93" y="2282"/>
                  </a:lnTo>
                  <a:lnTo>
                    <a:pt x="104" y="2358"/>
                  </a:lnTo>
                  <a:lnTo>
                    <a:pt x="134" y="2364"/>
                  </a:lnTo>
                  <a:lnTo>
                    <a:pt x="151" y="2352"/>
                  </a:lnTo>
                  <a:lnTo>
                    <a:pt x="163" y="2329"/>
                  </a:lnTo>
                  <a:lnTo>
                    <a:pt x="174" y="2340"/>
                  </a:lnTo>
                  <a:lnTo>
                    <a:pt x="157" y="2382"/>
                  </a:lnTo>
                  <a:lnTo>
                    <a:pt x="192" y="2399"/>
                  </a:lnTo>
                  <a:lnTo>
                    <a:pt x="256" y="2364"/>
                  </a:lnTo>
                  <a:lnTo>
                    <a:pt x="279" y="2329"/>
                  </a:lnTo>
                  <a:lnTo>
                    <a:pt x="238" y="2317"/>
                  </a:lnTo>
                  <a:lnTo>
                    <a:pt x="221" y="2335"/>
                  </a:lnTo>
                  <a:lnTo>
                    <a:pt x="169" y="2312"/>
                  </a:lnTo>
                  <a:lnTo>
                    <a:pt x="157" y="2271"/>
                  </a:lnTo>
                  <a:lnTo>
                    <a:pt x="93" y="2248"/>
                  </a:lnTo>
                  <a:lnTo>
                    <a:pt x="93" y="2166"/>
                  </a:lnTo>
                  <a:lnTo>
                    <a:pt x="146" y="2114"/>
                  </a:lnTo>
                  <a:lnTo>
                    <a:pt x="157" y="2045"/>
                  </a:lnTo>
                  <a:lnTo>
                    <a:pt x="122" y="2010"/>
                  </a:lnTo>
                  <a:lnTo>
                    <a:pt x="122" y="1998"/>
                  </a:lnTo>
                  <a:lnTo>
                    <a:pt x="157" y="1963"/>
                  </a:lnTo>
                  <a:lnTo>
                    <a:pt x="163" y="1911"/>
                  </a:lnTo>
                  <a:lnTo>
                    <a:pt x="181" y="1888"/>
                  </a:lnTo>
                  <a:lnTo>
                    <a:pt x="204" y="1836"/>
                  </a:lnTo>
                  <a:lnTo>
                    <a:pt x="198" y="1801"/>
                  </a:lnTo>
                  <a:lnTo>
                    <a:pt x="221" y="1306"/>
                  </a:lnTo>
                  <a:lnTo>
                    <a:pt x="308" y="1278"/>
                  </a:lnTo>
                  <a:lnTo>
                    <a:pt x="314" y="1243"/>
                  </a:lnTo>
                  <a:lnTo>
                    <a:pt x="261" y="1214"/>
                  </a:lnTo>
                  <a:lnTo>
                    <a:pt x="291" y="1092"/>
                  </a:lnTo>
                  <a:lnTo>
                    <a:pt x="261" y="900"/>
                  </a:lnTo>
                  <a:lnTo>
                    <a:pt x="383" y="621"/>
                  </a:lnTo>
                  <a:lnTo>
                    <a:pt x="383" y="511"/>
                  </a:lnTo>
                  <a:lnTo>
                    <a:pt x="418" y="471"/>
                  </a:lnTo>
                  <a:lnTo>
                    <a:pt x="460" y="488"/>
                  </a:lnTo>
                  <a:lnTo>
                    <a:pt x="471" y="464"/>
                  </a:lnTo>
                  <a:lnTo>
                    <a:pt x="471" y="394"/>
                  </a:lnTo>
                  <a:lnTo>
                    <a:pt x="425" y="354"/>
                  </a:lnTo>
                  <a:lnTo>
                    <a:pt x="372" y="11"/>
                  </a:lnTo>
                  <a:lnTo>
                    <a:pt x="314" y="0"/>
                  </a:lnTo>
                  <a:lnTo>
                    <a:pt x="250" y="6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0" name="Freeform 752"/>
            <p:cNvSpPr>
              <a:spLocks/>
            </p:cNvSpPr>
            <p:nvPr/>
          </p:nvSpPr>
          <p:spPr bwMode="auto">
            <a:xfrm>
              <a:off x="3736002" y="5656428"/>
              <a:ext cx="19977" cy="14985"/>
            </a:xfrm>
            <a:custGeom>
              <a:avLst/>
              <a:gdLst>
                <a:gd name="T0" fmla="*/ 2147483647 w 29"/>
                <a:gd name="T1" fmla="*/ 0 h 29"/>
                <a:gd name="T2" fmla="*/ 0 w 29"/>
                <a:gd name="T3" fmla="*/ 2147483647 h 29"/>
                <a:gd name="T4" fmla="*/ 2147483647 w 29"/>
                <a:gd name="T5" fmla="*/ 2147483647 h 29"/>
                <a:gd name="T6" fmla="*/ 2147483647 w 29"/>
                <a:gd name="T7" fmla="*/ 2147483647 h 29"/>
                <a:gd name="T8" fmla="*/ 2147483647 w 29"/>
                <a:gd name="T9" fmla="*/ 2147483647 h 29"/>
                <a:gd name="T10" fmla="*/ 2147483647 w 29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29"/>
                <a:gd name="T20" fmla="*/ 29 w 29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29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29" y="18"/>
                  </a:lnTo>
                  <a:lnTo>
                    <a:pt x="17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1" name="Freeform 753"/>
            <p:cNvSpPr>
              <a:spLocks/>
            </p:cNvSpPr>
            <p:nvPr/>
          </p:nvSpPr>
          <p:spPr bwMode="auto">
            <a:xfrm>
              <a:off x="3755979" y="5556520"/>
              <a:ext cx="19977" cy="49952"/>
            </a:xfrm>
            <a:custGeom>
              <a:avLst/>
              <a:gdLst>
                <a:gd name="T0" fmla="*/ 2147483647 w 40"/>
                <a:gd name="T1" fmla="*/ 0 h 111"/>
                <a:gd name="T2" fmla="*/ 0 w 40"/>
                <a:gd name="T3" fmla="*/ 2147483647 h 111"/>
                <a:gd name="T4" fmla="*/ 2147483647 w 40"/>
                <a:gd name="T5" fmla="*/ 2147483647 h 111"/>
                <a:gd name="T6" fmla="*/ 0 w 40"/>
                <a:gd name="T7" fmla="*/ 2147483647 h 111"/>
                <a:gd name="T8" fmla="*/ 2147483647 w 40"/>
                <a:gd name="T9" fmla="*/ 2147483647 h 111"/>
                <a:gd name="T10" fmla="*/ 2147483647 w 40"/>
                <a:gd name="T11" fmla="*/ 2147483647 h 111"/>
                <a:gd name="T12" fmla="*/ 2147483647 w 40"/>
                <a:gd name="T13" fmla="*/ 2147483647 h 111"/>
                <a:gd name="T14" fmla="*/ 2147483647 w 40"/>
                <a:gd name="T15" fmla="*/ 2147483647 h 111"/>
                <a:gd name="T16" fmla="*/ 2147483647 w 40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111"/>
                <a:gd name="T29" fmla="*/ 40 w 40"/>
                <a:gd name="T30" fmla="*/ 111 h 1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111">
                  <a:moveTo>
                    <a:pt x="23" y="0"/>
                  </a:moveTo>
                  <a:lnTo>
                    <a:pt x="0" y="24"/>
                  </a:lnTo>
                  <a:lnTo>
                    <a:pt x="6" y="52"/>
                  </a:lnTo>
                  <a:lnTo>
                    <a:pt x="0" y="93"/>
                  </a:lnTo>
                  <a:lnTo>
                    <a:pt x="23" y="111"/>
                  </a:lnTo>
                  <a:lnTo>
                    <a:pt x="40" y="99"/>
                  </a:lnTo>
                  <a:lnTo>
                    <a:pt x="30" y="69"/>
                  </a:lnTo>
                  <a:lnTo>
                    <a:pt x="40" y="29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2" name="Freeform 754"/>
            <p:cNvSpPr>
              <a:spLocks/>
            </p:cNvSpPr>
            <p:nvPr/>
          </p:nvSpPr>
          <p:spPr bwMode="auto">
            <a:xfrm>
              <a:off x="3830898" y="5931176"/>
              <a:ext cx="99890" cy="99908"/>
            </a:xfrm>
            <a:custGeom>
              <a:avLst/>
              <a:gdLst>
                <a:gd name="T0" fmla="*/ 2147483647 w 179"/>
                <a:gd name="T1" fmla="*/ 0 h 198"/>
                <a:gd name="T2" fmla="*/ 2147483647 w 179"/>
                <a:gd name="T3" fmla="*/ 2147483647 h 198"/>
                <a:gd name="T4" fmla="*/ 2147483647 w 179"/>
                <a:gd name="T5" fmla="*/ 2147483647 h 198"/>
                <a:gd name="T6" fmla="*/ 2147483647 w 179"/>
                <a:gd name="T7" fmla="*/ 2147483647 h 198"/>
                <a:gd name="T8" fmla="*/ 0 w 179"/>
                <a:gd name="T9" fmla="*/ 2147483647 h 198"/>
                <a:gd name="T10" fmla="*/ 2147483647 w 179"/>
                <a:gd name="T11" fmla="*/ 2147483647 h 198"/>
                <a:gd name="T12" fmla="*/ 2147483647 w 179"/>
                <a:gd name="T13" fmla="*/ 2147483647 h 198"/>
                <a:gd name="T14" fmla="*/ 2147483647 w 179"/>
                <a:gd name="T15" fmla="*/ 2147483647 h 198"/>
                <a:gd name="T16" fmla="*/ 2147483647 w 179"/>
                <a:gd name="T17" fmla="*/ 2147483647 h 198"/>
                <a:gd name="T18" fmla="*/ 2147483647 w 179"/>
                <a:gd name="T19" fmla="*/ 2147483647 h 198"/>
                <a:gd name="T20" fmla="*/ 2147483647 w 179"/>
                <a:gd name="T21" fmla="*/ 0 h 1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9"/>
                <a:gd name="T34" fmla="*/ 0 h 198"/>
                <a:gd name="T35" fmla="*/ 179 w 179"/>
                <a:gd name="T36" fmla="*/ 198 h 1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9" h="198">
                  <a:moveTo>
                    <a:pt x="139" y="0"/>
                  </a:moveTo>
                  <a:lnTo>
                    <a:pt x="87" y="29"/>
                  </a:lnTo>
                  <a:lnTo>
                    <a:pt x="92" y="81"/>
                  </a:lnTo>
                  <a:lnTo>
                    <a:pt x="23" y="99"/>
                  </a:lnTo>
                  <a:lnTo>
                    <a:pt x="0" y="134"/>
                  </a:lnTo>
                  <a:lnTo>
                    <a:pt x="81" y="134"/>
                  </a:lnTo>
                  <a:lnTo>
                    <a:pt x="104" y="180"/>
                  </a:lnTo>
                  <a:lnTo>
                    <a:pt x="139" y="198"/>
                  </a:lnTo>
                  <a:lnTo>
                    <a:pt x="179" y="168"/>
                  </a:lnTo>
                  <a:lnTo>
                    <a:pt x="157" y="104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3" name="Freeform 755"/>
            <p:cNvSpPr>
              <a:spLocks/>
            </p:cNvSpPr>
            <p:nvPr/>
          </p:nvSpPr>
          <p:spPr bwMode="auto">
            <a:xfrm>
              <a:off x="3905816" y="5931176"/>
              <a:ext cx="89901" cy="94913"/>
            </a:xfrm>
            <a:custGeom>
              <a:avLst/>
              <a:gdLst>
                <a:gd name="T0" fmla="*/ 0 w 169"/>
                <a:gd name="T1" fmla="*/ 0 h 186"/>
                <a:gd name="T2" fmla="*/ 2147483647 w 169"/>
                <a:gd name="T3" fmla="*/ 2147483647 h 186"/>
                <a:gd name="T4" fmla="*/ 2147483647 w 169"/>
                <a:gd name="T5" fmla="*/ 2147483647 h 186"/>
                <a:gd name="T6" fmla="*/ 2147483647 w 169"/>
                <a:gd name="T7" fmla="*/ 2147483647 h 186"/>
                <a:gd name="T8" fmla="*/ 2147483647 w 169"/>
                <a:gd name="T9" fmla="*/ 2147483647 h 186"/>
                <a:gd name="T10" fmla="*/ 2147483647 w 169"/>
                <a:gd name="T11" fmla="*/ 2147483647 h 186"/>
                <a:gd name="T12" fmla="*/ 2147483647 w 169"/>
                <a:gd name="T13" fmla="*/ 2147483647 h 186"/>
                <a:gd name="T14" fmla="*/ 2147483647 w 169"/>
                <a:gd name="T15" fmla="*/ 2147483647 h 186"/>
                <a:gd name="T16" fmla="*/ 2147483647 w 169"/>
                <a:gd name="T17" fmla="*/ 2147483647 h 186"/>
                <a:gd name="T18" fmla="*/ 0 w 169"/>
                <a:gd name="T19" fmla="*/ 0 h 1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9"/>
                <a:gd name="T31" fmla="*/ 0 h 186"/>
                <a:gd name="T32" fmla="*/ 169 w 169"/>
                <a:gd name="T33" fmla="*/ 186 h 1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9" h="186">
                  <a:moveTo>
                    <a:pt x="0" y="0"/>
                  </a:moveTo>
                  <a:lnTo>
                    <a:pt x="18" y="104"/>
                  </a:lnTo>
                  <a:lnTo>
                    <a:pt x="40" y="168"/>
                  </a:lnTo>
                  <a:lnTo>
                    <a:pt x="99" y="186"/>
                  </a:lnTo>
                  <a:lnTo>
                    <a:pt x="169" y="174"/>
                  </a:lnTo>
                  <a:lnTo>
                    <a:pt x="134" y="122"/>
                  </a:lnTo>
                  <a:lnTo>
                    <a:pt x="110" y="122"/>
                  </a:lnTo>
                  <a:lnTo>
                    <a:pt x="70" y="99"/>
                  </a:lnTo>
                  <a:lnTo>
                    <a:pt x="3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4" name="Freeform 756"/>
            <p:cNvSpPr>
              <a:spLocks/>
            </p:cNvSpPr>
            <p:nvPr/>
          </p:nvSpPr>
          <p:spPr bwMode="auto">
            <a:xfrm>
              <a:off x="3790941" y="4937091"/>
              <a:ext cx="654277" cy="974103"/>
            </a:xfrm>
            <a:custGeom>
              <a:avLst/>
              <a:gdLst>
                <a:gd name="T0" fmla="*/ 2147483647 w 1209"/>
                <a:gd name="T1" fmla="*/ 2147483647 h 2010"/>
                <a:gd name="T2" fmla="*/ 2147483647 w 1209"/>
                <a:gd name="T3" fmla="*/ 2147483647 h 2010"/>
                <a:gd name="T4" fmla="*/ 2147483647 w 1209"/>
                <a:gd name="T5" fmla="*/ 2147483647 h 2010"/>
                <a:gd name="T6" fmla="*/ 2147483647 w 1209"/>
                <a:gd name="T7" fmla="*/ 2147483647 h 2010"/>
                <a:gd name="T8" fmla="*/ 2147483647 w 1209"/>
                <a:gd name="T9" fmla="*/ 2147483647 h 2010"/>
                <a:gd name="T10" fmla="*/ 2147483647 w 1209"/>
                <a:gd name="T11" fmla="*/ 2147483647 h 2010"/>
                <a:gd name="T12" fmla="*/ 2147483647 w 1209"/>
                <a:gd name="T13" fmla="*/ 2147483647 h 2010"/>
                <a:gd name="T14" fmla="*/ 2147483647 w 1209"/>
                <a:gd name="T15" fmla="*/ 2147483647 h 2010"/>
                <a:gd name="T16" fmla="*/ 2147483647 w 1209"/>
                <a:gd name="T17" fmla="*/ 2147483647 h 2010"/>
                <a:gd name="T18" fmla="*/ 2147483647 w 1209"/>
                <a:gd name="T19" fmla="*/ 2147483647 h 2010"/>
                <a:gd name="T20" fmla="*/ 0 w 1209"/>
                <a:gd name="T21" fmla="*/ 2147483647 h 2010"/>
                <a:gd name="T22" fmla="*/ 2147483647 w 1209"/>
                <a:gd name="T23" fmla="*/ 2147483647 h 2010"/>
                <a:gd name="T24" fmla="*/ 2147483647 w 1209"/>
                <a:gd name="T25" fmla="*/ 2147483647 h 2010"/>
                <a:gd name="T26" fmla="*/ 2147483647 w 1209"/>
                <a:gd name="T27" fmla="*/ 2147483647 h 2010"/>
                <a:gd name="T28" fmla="*/ 2147483647 w 1209"/>
                <a:gd name="T29" fmla="*/ 2147483647 h 2010"/>
                <a:gd name="T30" fmla="*/ 2147483647 w 1209"/>
                <a:gd name="T31" fmla="*/ 2147483647 h 2010"/>
                <a:gd name="T32" fmla="*/ 2147483647 w 1209"/>
                <a:gd name="T33" fmla="*/ 2147483647 h 2010"/>
                <a:gd name="T34" fmla="*/ 2147483647 w 1209"/>
                <a:gd name="T35" fmla="*/ 2147483647 h 2010"/>
                <a:gd name="T36" fmla="*/ 2147483647 w 1209"/>
                <a:gd name="T37" fmla="*/ 2147483647 h 2010"/>
                <a:gd name="T38" fmla="*/ 2147483647 w 1209"/>
                <a:gd name="T39" fmla="*/ 2147483647 h 2010"/>
                <a:gd name="T40" fmla="*/ 2147483647 w 1209"/>
                <a:gd name="T41" fmla="*/ 2147483647 h 2010"/>
                <a:gd name="T42" fmla="*/ 2147483647 w 1209"/>
                <a:gd name="T43" fmla="*/ 2147483647 h 2010"/>
                <a:gd name="T44" fmla="*/ 2147483647 w 1209"/>
                <a:gd name="T45" fmla="*/ 2147483647 h 2010"/>
                <a:gd name="T46" fmla="*/ 2147483647 w 1209"/>
                <a:gd name="T47" fmla="*/ 2147483647 h 2010"/>
                <a:gd name="T48" fmla="*/ 2147483647 w 1209"/>
                <a:gd name="T49" fmla="*/ 2147483647 h 2010"/>
                <a:gd name="T50" fmla="*/ 2147483647 w 1209"/>
                <a:gd name="T51" fmla="*/ 2147483647 h 2010"/>
                <a:gd name="T52" fmla="*/ 2147483647 w 1209"/>
                <a:gd name="T53" fmla="*/ 2147483647 h 2010"/>
                <a:gd name="T54" fmla="*/ 2147483647 w 1209"/>
                <a:gd name="T55" fmla="*/ 2147483647 h 2010"/>
                <a:gd name="T56" fmla="*/ 2147483647 w 1209"/>
                <a:gd name="T57" fmla="*/ 2147483647 h 2010"/>
                <a:gd name="T58" fmla="*/ 2147483647 w 1209"/>
                <a:gd name="T59" fmla="*/ 2147483647 h 2010"/>
                <a:gd name="T60" fmla="*/ 2147483647 w 1209"/>
                <a:gd name="T61" fmla="*/ 2147483647 h 2010"/>
                <a:gd name="T62" fmla="*/ 2147483647 w 1209"/>
                <a:gd name="T63" fmla="*/ 2147483647 h 2010"/>
                <a:gd name="T64" fmla="*/ 2147483647 w 1209"/>
                <a:gd name="T65" fmla="*/ 2147483647 h 2010"/>
                <a:gd name="T66" fmla="*/ 2147483647 w 1209"/>
                <a:gd name="T67" fmla="*/ 0 h 2010"/>
                <a:gd name="T68" fmla="*/ 2147483647 w 1209"/>
                <a:gd name="T69" fmla="*/ 2147483647 h 201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209"/>
                <a:gd name="T106" fmla="*/ 0 h 2010"/>
                <a:gd name="T107" fmla="*/ 1209 w 1209"/>
                <a:gd name="T108" fmla="*/ 2010 h 201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209" h="2010">
                  <a:moveTo>
                    <a:pt x="372" y="69"/>
                  </a:moveTo>
                  <a:lnTo>
                    <a:pt x="384" y="134"/>
                  </a:lnTo>
                  <a:lnTo>
                    <a:pt x="367" y="163"/>
                  </a:lnTo>
                  <a:lnTo>
                    <a:pt x="325" y="146"/>
                  </a:lnTo>
                  <a:lnTo>
                    <a:pt x="290" y="186"/>
                  </a:lnTo>
                  <a:lnTo>
                    <a:pt x="290" y="285"/>
                  </a:lnTo>
                  <a:lnTo>
                    <a:pt x="168" y="575"/>
                  </a:lnTo>
                  <a:lnTo>
                    <a:pt x="203" y="767"/>
                  </a:lnTo>
                  <a:lnTo>
                    <a:pt x="168" y="889"/>
                  </a:lnTo>
                  <a:lnTo>
                    <a:pt x="221" y="918"/>
                  </a:lnTo>
                  <a:lnTo>
                    <a:pt x="215" y="953"/>
                  </a:lnTo>
                  <a:lnTo>
                    <a:pt x="128" y="981"/>
                  </a:lnTo>
                  <a:lnTo>
                    <a:pt x="105" y="1476"/>
                  </a:lnTo>
                  <a:lnTo>
                    <a:pt x="111" y="1511"/>
                  </a:lnTo>
                  <a:lnTo>
                    <a:pt x="93" y="1563"/>
                  </a:lnTo>
                  <a:lnTo>
                    <a:pt x="64" y="1598"/>
                  </a:lnTo>
                  <a:lnTo>
                    <a:pt x="64" y="1644"/>
                  </a:lnTo>
                  <a:lnTo>
                    <a:pt x="29" y="1668"/>
                  </a:lnTo>
                  <a:lnTo>
                    <a:pt x="29" y="1685"/>
                  </a:lnTo>
                  <a:lnTo>
                    <a:pt x="64" y="1720"/>
                  </a:lnTo>
                  <a:lnTo>
                    <a:pt x="58" y="1783"/>
                  </a:lnTo>
                  <a:lnTo>
                    <a:pt x="0" y="1841"/>
                  </a:lnTo>
                  <a:lnTo>
                    <a:pt x="6" y="1923"/>
                  </a:lnTo>
                  <a:lnTo>
                    <a:pt x="70" y="1957"/>
                  </a:lnTo>
                  <a:lnTo>
                    <a:pt x="76" y="1987"/>
                  </a:lnTo>
                  <a:lnTo>
                    <a:pt x="128" y="2010"/>
                  </a:lnTo>
                  <a:lnTo>
                    <a:pt x="140" y="1998"/>
                  </a:lnTo>
                  <a:lnTo>
                    <a:pt x="186" y="2004"/>
                  </a:lnTo>
                  <a:lnTo>
                    <a:pt x="198" y="1980"/>
                  </a:lnTo>
                  <a:lnTo>
                    <a:pt x="186" y="1940"/>
                  </a:lnTo>
                  <a:lnTo>
                    <a:pt x="198" y="1905"/>
                  </a:lnTo>
                  <a:lnTo>
                    <a:pt x="349" y="1778"/>
                  </a:lnTo>
                  <a:lnTo>
                    <a:pt x="337" y="1691"/>
                  </a:lnTo>
                  <a:lnTo>
                    <a:pt x="285" y="1673"/>
                  </a:lnTo>
                  <a:lnTo>
                    <a:pt x="302" y="1598"/>
                  </a:lnTo>
                  <a:lnTo>
                    <a:pt x="378" y="1569"/>
                  </a:lnTo>
                  <a:lnTo>
                    <a:pt x="419" y="1435"/>
                  </a:lnTo>
                  <a:lnTo>
                    <a:pt x="500" y="1417"/>
                  </a:lnTo>
                  <a:lnTo>
                    <a:pt x="494" y="1389"/>
                  </a:lnTo>
                  <a:lnTo>
                    <a:pt x="459" y="1377"/>
                  </a:lnTo>
                  <a:lnTo>
                    <a:pt x="482" y="1342"/>
                  </a:lnTo>
                  <a:lnTo>
                    <a:pt x="587" y="1302"/>
                  </a:lnTo>
                  <a:lnTo>
                    <a:pt x="611" y="1232"/>
                  </a:lnTo>
                  <a:lnTo>
                    <a:pt x="604" y="1208"/>
                  </a:lnTo>
                  <a:lnTo>
                    <a:pt x="791" y="1185"/>
                  </a:lnTo>
                  <a:lnTo>
                    <a:pt x="883" y="1127"/>
                  </a:lnTo>
                  <a:lnTo>
                    <a:pt x="907" y="999"/>
                  </a:lnTo>
                  <a:lnTo>
                    <a:pt x="843" y="866"/>
                  </a:lnTo>
                  <a:lnTo>
                    <a:pt x="860" y="709"/>
                  </a:lnTo>
                  <a:lnTo>
                    <a:pt x="960" y="575"/>
                  </a:lnTo>
                  <a:lnTo>
                    <a:pt x="1204" y="453"/>
                  </a:lnTo>
                  <a:lnTo>
                    <a:pt x="1209" y="348"/>
                  </a:lnTo>
                  <a:lnTo>
                    <a:pt x="1169" y="343"/>
                  </a:lnTo>
                  <a:lnTo>
                    <a:pt x="1117" y="401"/>
                  </a:lnTo>
                  <a:lnTo>
                    <a:pt x="1005" y="465"/>
                  </a:lnTo>
                  <a:lnTo>
                    <a:pt x="883" y="441"/>
                  </a:lnTo>
                  <a:lnTo>
                    <a:pt x="872" y="401"/>
                  </a:lnTo>
                  <a:lnTo>
                    <a:pt x="960" y="308"/>
                  </a:lnTo>
                  <a:lnTo>
                    <a:pt x="878" y="226"/>
                  </a:lnTo>
                  <a:lnTo>
                    <a:pt x="826" y="221"/>
                  </a:lnTo>
                  <a:lnTo>
                    <a:pt x="808" y="163"/>
                  </a:lnTo>
                  <a:lnTo>
                    <a:pt x="726" y="151"/>
                  </a:lnTo>
                  <a:lnTo>
                    <a:pt x="674" y="41"/>
                  </a:lnTo>
                  <a:lnTo>
                    <a:pt x="611" y="29"/>
                  </a:lnTo>
                  <a:lnTo>
                    <a:pt x="581" y="76"/>
                  </a:lnTo>
                  <a:lnTo>
                    <a:pt x="564" y="69"/>
                  </a:lnTo>
                  <a:lnTo>
                    <a:pt x="512" y="6"/>
                  </a:lnTo>
                  <a:lnTo>
                    <a:pt x="459" y="0"/>
                  </a:lnTo>
                  <a:lnTo>
                    <a:pt x="407" y="58"/>
                  </a:lnTo>
                  <a:lnTo>
                    <a:pt x="372" y="6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5" name="Freeform 757"/>
            <p:cNvSpPr>
              <a:spLocks/>
            </p:cNvSpPr>
            <p:nvPr/>
          </p:nvSpPr>
          <p:spPr bwMode="auto">
            <a:xfrm>
              <a:off x="4245440" y="5216835"/>
              <a:ext cx="189791" cy="179835"/>
            </a:xfrm>
            <a:custGeom>
              <a:avLst/>
              <a:gdLst>
                <a:gd name="T0" fmla="*/ 2147483647 w 343"/>
                <a:gd name="T1" fmla="*/ 0 h 371"/>
                <a:gd name="T2" fmla="*/ 2147483647 w 343"/>
                <a:gd name="T3" fmla="*/ 2147483647 h 371"/>
                <a:gd name="T4" fmla="*/ 2147483647 w 343"/>
                <a:gd name="T5" fmla="*/ 2147483647 h 371"/>
                <a:gd name="T6" fmla="*/ 2147483647 w 343"/>
                <a:gd name="T7" fmla="*/ 2147483647 h 371"/>
                <a:gd name="T8" fmla="*/ 2147483647 w 343"/>
                <a:gd name="T9" fmla="*/ 2147483647 h 371"/>
                <a:gd name="T10" fmla="*/ 2147483647 w 343"/>
                <a:gd name="T11" fmla="*/ 2147483647 h 371"/>
                <a:gd name="T12" fmla="*/ 2147483647 w 343"/>
                <a:gd name="T13" fmla="*/ 2147483647 h 371"/>
                <a:gd name="T14" fmla="*/ 2147483647 w 343"/>
                <a:gd name="T15" fmla="*/ 2147483647 h 371"/>
                <a:gd name="T16" fmla="*/ 2147483647 w 343"/>
                <a:gd name="T17" fmla="*/ 2147483647 h 371"/>
                <a:gd name="T18" fmla="*/ 0 w 343"/>
                <a:gd name="T19" fmla="*/ 2147483647 h 371"/>
                <a:gd name="T20" fmla="*/ 2147483647 w 343"/>
                <a:gd name="T21" fmla="*/ 2147483647 h 371"/>
                <a:gd name="T22" fmla="*/ 2147483647 w 343"/>
                <a:gd name="T23" fmla="*/ 0 h 3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3"/>
                <a:gd name="T37" fmla="*/ 0 h 371"/>
                <a:gd name="T38" fmla="*/ 343 w 343"/>
                <a:gd name="T39" fmla="*/ 371 h 37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3" h="371">
                  <a:moveTo>
                    <a:pt x="117" y="0"/>
                  </a:moveTo>
                  <a:lnTo>
                    <a:pt x="162" y="35"/>
                  </a:lnTo>
                  <a:lnTo>
                    <a:pt x="169" y="93"/>
                  </a:lnTo>
                  <a:lnTo>
                    <a:pt x="221" y="99"/>
                  </a:lnTo>
                  <a:lnTo>
                    <a:pt x="291" y="162"/>
                  </a:lnTo>
                  <a:lnTo>
                    <a:pt x="284" y="204"/>
                  </a:lnTo>
                  <a:lnTo>
                    <a:pt x="343" y="279"/>
                  </a:lnTo>
                  <a:lnTo>
                    <a:pt x="244" y="371"/>
                  </a:lnTo>
                  <a:lnTo>
                    <a:pt x="87" y="343"/>
                  </a:lnTo>
                  <a:lnTo>
                    <a:pt x="0" y="291"/>
                  </a:lnTo>
                  <a:lnTo>
                    <a:pt x="17" y="134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6" name="Freeform 758"/>
            <p:cNvSpPr>
              <a:spLocks/>
            </p:cNvSpPr>
            <p:nvPr/>
          </p:nvSpPr>
          <p:spPr bwMode="auto">
            <a:xfrm>
              <a:off x="3905816" y="4562435"/>
              <a:ext cx="444510" cy="409623"/>
            </a:xfrm>
            <a:custGeom>
              <a:avLst/>
              <a:gdLst>
                <a:gd name="T0" fmla="*/ 0 w 820"/>
                <a:gd name="T1" fmla="*/ 2147483647 h 854"/>
                <a:gd name="T2" fmla="*/ 2147483647 w 820"/>
                <a:gd name="T3" fmla="*/ 2147483647 h 854"/>
                <a:gd name="T4" fmla="*/ 2147483647 w 820"/>
                <a:gd name="T5" fmla="*/ 2147483647 h 854"/>
                <a:gd name="T6" fmla="*/ 2147483647 w 820"/>
                <a:gd name="T7" fmla="*/ 2147483647 h 854"/>
                <a:gd name="T8" fmla="*/ 2147483647 w 820"/>
                <a:gd name="T9" fmla="*/ 2147483647 h 854"/>
                <a:gd name="T10" fmla="*/ 2147483647 w 820"/>
                <a:gd name="T11" fmla="*/ 2147483647 h 854"/>
                <a:gd name="T12" fmla="*/ 2147483647 w 820"/>
                <a:gd name="T13" fmla="*/ 2147483647 h 854"/>
                <a:gd name="T14" fmla="*/ 2147483647 w 820"/>
                <a:gd name="T15" fmla="*/ 2147483647 h 854"/>
                <a:gd name="T16" fmla="*/ 2147483647 w 820"/>
                <a:gd name="T17" fmla="*/ 2147483647 h 854"/>
                <a:gd name="T18" fmla="*/ 2147483647 w 820"/>
                <a:gd name="T19" fmla="*/ 2147483647 h 854"/>
                <a:gd name="T20" fmla="*/ 2147483647 w 820"/>
                <a:gd name="T21" fmla="*/ 2147483647 h 854"/>
                <a:gd name="T22" fmla="*/ 2147483647 w 820"/>
                <a:gd name="T23" fmla="*/ 2147483647 h 854"/>
                <a:gd name="T24" fmla="*/ 2147483647 w 820"/>
                <a:gd name="T25" fmla="*/ 2147483647 h 854"/>
                <a:gd name="T26" fmla="*/ 2147483647 w 820"/>
                <a:gd name="T27" fmla="*/ 2147483647 h 854"/>
                <a:gd name="T28" fmla="*/ 2147483647 w 820"/>
                <a:gd name="T29" fmla="*/ 2147483647 h 854"/>
                <a:gd name="T30" fmla="*/ 2147483647 w 820"/>
                <a:gd name="T31" fmla="*/ 2147483647 h 854"/>
                <a:gd name="T32" fmla="*/ 2147483647 w 820"/>
                <a:gd name="T33" fmla="*/ 2147483647 h 854"/>
                <a:gd name="T34" fmla="*/ 2147483647 w 820"/>
                <a:gd name="T35" fmla="*/ 2147483647 h 854"/>
                <a:gd name="T36" fmla="*/ 2147483647 w 820"/>
                <a:gd name="T37" fmla="*/ 2147483647 h 854"/>
                <a:gd name="T38" fmla="*/ 2147483647 w 820"/>
                <a:gd name="T39" fmla="*/ 2147483647 h 854"/>
                <a:gd name="T40" fmla="*/ 2147483647 w 820"/>
                <a:gd name="T41" fmla="*/ 2147483647 h 854"/>
                <a:gd name="T42" fmla="*/ 2147483647 w 820"/>
                <a:gd name="T43" fmla="*/ 2147483647 h 854"/>
                <a:gd name="T44" fmla="*/ 2147483647 w 820"/>
                <a:gd name="T45" fmla="*/ 2147483647 h 854"/>
                <a:gd name="T46" fmla="*/ 2147483647 w 820"/>
                <a:gd name="T47" fmla="*/ 2147483647 h 854"/>
                <a:gd name="T48" fmla="*/ 2147483647 w 820"/>
                <a:gd name="T49" fmla="*/ 2147483647 h 854"/>
                <a:gd name="T50" fmla="*/ 2147483647 w 820"/>
                <a:gd name="T51" fmla="*/ 2147483647 h 854"/>
                <a:gd name="T52" fmla="*/ 2147483647 w 820"/>
                <a:gd name="T53" fmla="*/ 2147483647 h 854"/>
                <a:gd name="T54" fmla="*/ 2147483647 w 820"/>
                <a:gd name="T55" fmla="*/ 2147483647 h 854"/>
                <a:gd name="T56" fmla="*/ 2147483647 w 820"/>
                <a:gd name="T57" fmla="*/ 2147483647 h 854"/>
                <a:gd name="T58" fmla="*/ 2147483647 w 820"/>
                <a:gd name="T59" fmla="*/ 0 h 854"/>
                <a:gd name="T60" fmla="*/ 2147483647 w 820"/>
                <a:gd name="T61" fmla="*/ 2147483647 h 854"/>
                <a:gd name="T62" fmla="*/ 2147483647 w 820"/>
                <a:gd name="T63" fmla="*/ 2147483647 h 854"/>
                <a:gd name="T64" fmla="*/ 2147483647 w 820"/>
                <a:gd name="T65" fmla="*/ 2147483647 h 854"/>
                <a:gd name="T66" fmla="*/ 2147483647 w 820"/>
                <a:gd name="T67" fmla="*/ 2147483647 h 854"/>
                <a:gd name="T68" fmla="*/ 2147483647 w 820"/>
                <a:gd name="T69" fmla="*/ 2147483647 h 854"/>
                <a:gd name="T70" fmla="*/ 2147483647 w 820"/>
                <a:gd name="T71" fmla="*/ 2147483647 h 854"/>
                <a:gd name="T72" fmla="*/ 2147483647 w 820"/>
                <a:gd name="T73" fmla="*/ 2147483647 h 854"/>
                <a:gd name="T74" fmla="*/ 2147483647 w 820"/>
                <a:gd name="T75" fmla="*/ 2147483647 h 854"/>
                <a:gd name="T76" fmla="*/ 0 w 820"/>
                <a:gd name="T77" fmla="*/ 2147483647 h 85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20"/>
                <a:gd name="T118" fmla="*/ 0 h 854"/>
                <a:gd name="T119" fmla="*/ 820 w 820"/>
                <a:gd name="T120" fmla="*/ 854 h 85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20" h="854">
                  <a:moveTo>
                    <a:pt x="0" y="460"/>
                  </a:moveTo>
                  <a:lnTo>
                    <a:pt x="58" y="471"/>
                  </a:lnTo>
                  <a:lnTo>
                    <a:pt x="117" y="809"/>
                  </a:lnTo>
                  <a:lnTo>
                    <a:pt x="157" y="854"/>
                  </a:lnTo>
                  <a:lnTo>
                    <a:pt x="197" y="843"/>
                  </a:lnTo>
                  <a:lnTo>
                    <a:pt x="244" y="779"/>
                  </a:lnTo>
                  <a:lnTo>
                    <a:pt x="297" y="785"/>
                  </a:lnTo>
                  <a:lnTo>
                    <a:pt x="349" y="854"/>
                  </a:lnTo>
                  <a:lnTo>
                    <a:pt x="366" y="854"/>
                  </a:lnTo>
                  <a:lnTo>
                    <a:pt x="396" y="814"/>
                  </a:lnTo>
                  <a:lnTo>
                    <a:pt x="466" y="826"/>
                  </a:lnTo>
                  <a:lnTo>
                    <a:pt x="506" y="727"/>
                  </a:lnTo>
                  <a:lnTo>
                    <a:pt x="611" y="687"/>
                  </a:lnTo>
                  <a:lnTo>
                    <a:pt x="750" y="687"/>
                  </a:lnTo>
                  <a:lnTo>
                    <a:pt x="750" y="727"/>
                  </a:lnTo>
                  <a:lnTo>
                    <a:pt x="785" y="744"/>
                  </a:lnTo>
                  <a:lnTo>
                    <a:pt x="790" y="704"/>
                  </a:lnTo>
                  <a:lnTo>
                    <a:pt x="820" y="669"/>
                  </a:lnTo>
                  <a:lnTo>
                    <a:pt x="779" y="512"/>
                  </a:lnTo>
                  <a:lnTo>
                    <a:pt x="686" y="483"/>
                  </a:lnTo>
                  <a:lnTo>
                    <a:pt x="668" y="413"/>
                  </a:lnTo>
                  <a:lnTo>
                    <a:pt x="640" y="396"/>
                  </a:lnTo>
                  <a:lnTo>
                    <a:pt x="645" y="373"/>
                  </a:lnTo>
                  <a:lnTo>
                    <a:pt x="675" y="349"/>
                  </a:lnTo>
                  <a:lnTo>
                    <a:pt x="500" y="198"/>
                  </a:lnTo>
                  <a:lnTo>
                    <a:pt x="407" y="181"/>
                  </a:lnTo>
                  <a:lnTo>
                    <a:pt x="349" y="111"/>
                  </a:lnTo>
                  <a:lnTo>
                    <a:pt x="396" y="87"/>
                  </a:lnTo>
                  <a:lnTo>
                    <a:pt x="407" y="7"/>
                  </a:lnTo>
                  <a:lnTo>
                    <a:pt x="366" y="0"/>
                  </a:lnTo>
                  <a:lnTo>
                    <a:pt x="197" y="30"/>
                  </a:lnTo>
                  <a:lnTo>
                    <a:pt x="192" y="18"/>
                  </a:lnTo>
                  <a:lnTo>
                    <a:pt x="134" y="18"/>
                  </a:lnTo>
                  <a:lnTo>
                    <a:pt x="110" y="70"/>
                  </a:lnTo>
                  <a:lnTo>
                    <a:pt x="47" y="59"/>
                  </a:lnTo>
                  <a:lnTo>
                    <a:pt x="117" y="221"/>
                  </a:lnTo>
                  <a:lnTo>
                    <a:pt x="58" y="331"/>
                  </a:lnTo>
                  <a:lnTo>
                    <a:pt x="58" y="408"/>
                  </a:lnTo>
                  <a:lnTo>
                    <a:pt x="0" y="46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7" name="Freeform 759"/>
            <p:cNvSpPr>
              <a:spLocks/>
            </p:cNvSpPr>
            <p:nvPr/>
          </p:nvSpPr>
          <p:spPr bwMode="auto">
            <a:xfrm>
              <a:off x="4155539" y="4892132"/>
              <a:ext cx="289680" cy="274747"/>
            </a:xfrm>
            <a:custGeom>
              <a:avLst/>
              <a:gdLst>
                <a:gd name="T0" fmla="*/ 2147483647 w 535"/>
                <a:gd name="T1" fmla="*/ 2147483647 h 563"/>
                <a:gd name="T2" fmla="*/ 2147483647 w 535"/>
                <a:gd name="T3" fmla="*/ 2147483647 h 563"/>
                <a:gd name="T4" fmla="*/ 2147483647 w 535"/>
                <a:gd name="T5" fmla="*/ 2147483647 h 563"/>
                <a:gd name="T6" fmla="*/ 2147483647 w 535"/>
                <a:gd name="T7" fmla="*/ 2147483647 h 563"/>
                <a:gd name="T8" fmla="*/ 2147483647 w 535"/>
                <a:gd name="T9" fmla="*/ 2147483647 h 563"/>
                <a:gd name="T10" fmla="*/ 2147483647 w 535"/>
                <a:gd name="T11" fmla="*/ 2147483647 h 563"/>
                <a:gd name="T12" fmla="*/ 2147483647 w 535"/>
                <a:gd name="T13" fmla="*/ 2147483647 h 563"/>
                <a:gd name="T14" fmla="*/ 2147483647 w 535"/>
                <a:gd name="T15" fmla="*/ 2147483647 h 563"/>
                <a:gd name="T16" fmla="*/ 2147483647 w 535"/>
                <a:gd name="T17" fmla="*/ 2147483647 h 563"/>
                <a:gd name="T18" fmla="*/ 2147483647 w 535"/>
                <a:gd name="T19" fmla="*/ 2147483647 h 563"/>
                <a:gd name="T20" fmla="*/ 2147483647 w 535"/>
                <a:gd name="T21" fmla="*/ 2147483647 h 563"/>
                <a:gd name="T22" fmla="*/ 2147483647 w 535"/>
                <a:gd name="T23" fmla="*/ 2147483647 h 563"/>
                <a:gd name="T24" fmla="*/ 2147483647 w 535"/>
                <a:gd name="T25" fmla="*/ 2147483647 h 563"/>
                <a:gd name="T26" fmla="*/ 2147483647 w 535"/>
                <a:gd name="T27" fmla="*/ 2147483647 h 563"/>
                <a:gd name="T28" fmla="*/ 2147483647 w 535"/>
                <a:gd name="T29" fmla="*/ 2147483647 h 563"/>
                <a:gd name="T30" fmla="*/ 2147483647 w 535"/>
                <a:gd name="T31" fmla="*/ 2147483647 h 563"/>
                <a:gd name="T32" fmla="*/ 2147483647 w 535"/>
                <a:gd name="T33" fmla="*/ 2147483647 h 563"/>
                <a:gd name="T34" fmla="*/ 2147483647 w 535"/>
                <a:gd name="T35" fmla="*/ 2147483647 h 563"/>
                <a:gd name="T36" fmla="*/ 0 w 535"/>
                <a:gd name="T37" fmla="*/ 2147483647 h 563"/>
                <a:gd name="T38" fmla="*/ 2147483647 w 535"/>
                <a:gd name="T39" fmla="*/ 2147483647 h 563"/>
                <a:gd name="T40" fmla="*/ 2147483647 w 535"/>
                <a:gd name="T41" fmla="*/ 0 h 563"/>
                <a:gd name="T42" fmla="*/ 2147483647 w 535"/>
                <a:gd name="T43" fmla="*/ 0 h 563"/>
                <a:gd name="T44" fmla="*/ 2147483647 w 535"/>
                <a:gd name="T45" fmla="*/ 2147483647 h 563"/>
                <a:gd name="T46" fmla="*/ 2147483647 w 535"/>
                <a:gd name="T47" fmla="*/ 2147483647 h 56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35"/>
                <a:gd name="T73" fmla="*/ 0 h 563"/>
                <a:gd name="T74" fmla="*/ 535 w 535"/>
                <a:gd name="T75" fmla="*/ 563 h 56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35" h="563">
                  <a:moveTo>
                    <a:pt x="326" y="57"/>
                  </a:moveTo>
                  <a:lnTo>
                    <a:pt x="309" y="162"/>
                  </a:lnTo>
                  <a:lnTo>
                    <a:pt x="343" y="202"/>
                  </a:lnTo>
                  <a:lnTo>
                    <a:pt x="384" y="191"/>
                  </a:lnTo>
                  <a:lnTo>
                    <a:pt x="495" y="267"/>
                  </a:lnTo>
                  <a:lnTo>
                    <a:pt x="483" y="331"/>
                  </a:lnTo>
                  <a:lnTo>
                    <a:pt x="535" y="366"/>
                  </a:lnTo>
                  <a:lnTo>
                    <a:pt x="523" y="446"/>
                  </a:lnTo>
                  <a:lnTo>
                    <a:pt x="495" y="441"/>
                  </a:lnTo>
                  <a:lnTo>
                    <a:pt x="443" y="499"/>
                  </a:lnTo>
                  <a:lnTo>
                    <a:pt x="331" y="563"/>
                  </a:lnTo>
                  <a:lnTo>
                    <a:pt x="209" y="539"/>
                  </a:lnTo>
                  <a:lnTo>
                    <a:pt x="198" y="499"/>
                  </a:lnTo>
                  <a:lnTo>
                    <a:pt x="286" y="411"/>
                  </a:lnTo>
                  <a:lnTo>
                    <a:pt x="209" y="331"/>
                  </a:lnTo>
                  <a:lnTo>
                    <a:pt x="152" y="319"/>
                  </a:lnTo>
                  <a:lnTo>
                    <a:pt x="134" y="267"/>
                  </a:lnTo>
                  <a:lnTo>
                    <a:pt x="52" y="255"/>
                  </a:lnTo>
                  <a:lnTo>
                    <a:pt x="0" y="139"/>
                  </a:lnTo>
                  <a:lnTo>
                    <a:pt x="47" y="40"/>
                  </a:lnTo>
                  <a:lnTo>
                    <a:pt x="152" y="0"/>
                  </a:lnTo>
                  <a:lnTo>
                    <a:pt x="291" y="0"/>
                  </a:lnTo>
                  <a:lnTo>
                    <a:pt x="291" y="40"/>
                  </a:lnTo>
                  <a:lnTo>
                    <a:pt x="326" y="5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8" name="Freeform 760"/>
            <p:cNvSpPr>
              <a:spLocks/>
            </p:cNvSpPr>
            <p:nvPr/>
          </p:nvSpPr>
          <p:spPr bwMode="auto">
            <a:xfrm>
              <a:off x="4315361" y="4022930"/>
              <a:ext cx="194785" cy="224795"/>
            </a:xfrm>
            <a:custGeom>
              <a:avLst/>
              <a:gdLst>
                <a:gd name="T0" fmla="*/ 2147483647 w 354"/>
                <a:gd name="T1" fmla="*/ 0 h 471"/>
                <a:gd name="T2" fmla="*/ 2147483647 w 354"/>
                <a:gd name="T3" fmla="*/ 2147483647 h 471"/>
                <a:gd name="T4" fmla="*/ 2147483647 w 354"/>
                <a:gd name="T5" fmla="*/ 2147483647 h 471"/>
                <a:gd name="T6" fmla="*/ 2147483647 w 354"/>
                <a:gd name="T7" fmla="*/ 2147483647 h 471"/>
                <a:gd name="T8" fmla="*/ 2147483647 w 354"/>
                <a:gd name="T9" fmla="*/ 2147483647 h 471"/>
                <a:gd name="T10" fmla="*/ 0 w 354"/>
                <a:gd name="T11" fmla="*/ 2147483647 h 471"/>
                <a:gd name="T12" fmla="*/ 2147483647 w 354"/>
                <a:gd name="T13" fmla="*/ 2147483647 h 471"/>
                <a:gd name="T14" fmla="*/ 2147483647 w 354"/>
                <a:gd name="T15" fmla="*/ 2147483647 h 471"/>
                <a:gd name="T16" fmla="*/ 2147483647 w 354"/>
                <a:gd name="T17" fmla="*/ 2147483647 h 471"/>
                <a:gd name="T18" fmla="*/ 2147483647 w 354"/>
                <a:gd name="T19" fmla="*/ 2147483647 h 471"/>
                <a:gd name="T20" fmla="*/ 2147483647 w 354"/>
                <a:gd name="T21" fmla="*/ 2147483647 h 471"/>
                <a:gd name="T22" fmla="*/ 2147483647 w 354"/>
                <a:gd name="T23" fmla="*/ 2147483647 h 471"/>
                <a:gd name="T24" fmla="*/ 2147483647 w 354"/>
                <a:gd name="T25" fmla="*/ 2147483647 h 471"/>
                <a:gd name="T26" fmla="*/ 2147483647 w 354"/>
                <a:gd name="T27" fmla="*/ 2147483647 h 471"/>
                <a:gd name="T28" fmla="*/ 2147483647 w 354"/>
                <a:gd name="T29" fmla="*/ 2147483647 h 471"/>
                <a:gd name="T30" fmla="*/ 2147483647 w 354"/>
                <a:gd name="T31" fmla="*/ 2147483647 h 471"/>
                <a:gd name="T32" fmla="*/ 2147483647 w 354"/>
                <a:gd name="T33" fmla="*/ 2147483647 h 471"/>
                <a:gd name="T34" fmla="*/ 2147483647 w 354"/>
                <a:gd name="T35" fmla="*/ 2147483647 h 471"/>
                <a:gd name="T36" fmla="*/ 2147483647 w 354"/>
                <a:gd name="T37" fmla="*/ 0 h 47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54"/>
                <a:gd name="T58" fmla="*/ 0 h 471"/>
                <a:gd name="T59" fmla="*/ 354 w 354"/>
                <a:gd name="T60" fmla="*/ 471 h 47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54" h="471">
                  <a:moveTo>
                    <a:pt x="134" y="0"/>
                  </a:moveTo>
                  <a:lnTo>
                    <a:pt x="69" y="6"/>
                  </a:lnTo>
                  <a:lnTo>
                    <a:pt x="34" y="23"/>
                  </a:lnTo>
                  <a:lnTo>
                    <a:pt x="58" y="70"/>
                  </a:lnTo>
                  <a:lnTo>
                    <a:pt x="29" y="98"/>
                  </a:lnTo>
                  <a:lnTo>
                    <a:pt x="0" y="98"/>
                  </a:lnTo>
                  <a:lnTo>
                    <a:pt x="12" y="168"/>
                  </a:lnTo>
                  <a:lnTo>
                    <a:pt x="69" y="192"/>
                  </a:lnTo>
                  <a:lnTo>
                    <a:pt x="64" y="232"/>
                  </a:lnTo>
                  <a:lnTo>
                    <a:pt x="87" y="250"/>
                  </a:lnTo>
                  <a:lnTo>
                    <a:pt x="87" y="424"/>
                  </a:lnTo>
                  <a:lnTo>
                    <a:pt x="111" y="471"/>
                  </a:lnTo>
                  <a:lnTo>
                    <a:pt x="308" y="436"/>
                  </a:lnTo>
                  <a:lnTo>
                    <a:pt x="285" y="360"/>
                  </a:lnTo>
                  <a:lnTo>
                    <a:pt x="221" y="325"/>
                  </a:lnTo>
                  <a:lnTo>
                    <a:pt x="233" y="244"/>
                  </a:lnTo>
                  <a:lnTo>
                    <a:pt x="354" y="151"/>
                  </a:lnTo>
                  <a:lnTo>
                    <a:pt x="238" y="1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59" name="Freeform 761"/>
            <p:cNvSpPr>
              <a:spLocks/>
            </p:cNvSpPr>
            <p:nvPr/>
          </p:nvSpPr>
          <p:spPr bwMode="auto">
            <a:xfrm>
              <a:off x="4435230" y="4092868"/>
              <a:ext cx="164819" cy="134876"/>
            </a:xfrm>
            <a:custGeom>
              <a:avLst/>
              <a:gdLst>
                <a:gd name="T0" fmla="*/ 2147483647 w 302"/>
                <a:gd name="T1" fmla="*/ 0 h 285"/>
                <a:gd name="T2" fmla="*/ 2147483647 w 302"/>
                <a:gd name="T3" fmla="*/ 2147483647 h 285"/>
                <a:gd name="T4" fmla="*/ 0 w 302"/>
                <a:gd name="T5" fmla="*/ 2147483647 h 285"/>
                <a:gd name="T6" fmla="*/ 2147483647 w 302"/>
                <a:gd name="T7" fmla="*/ 2147483647 h 285"/>
                <a:gd name="T8" fmla="*/ 2147483647 w 302"/>
                <a:gd name="T9" fmla="*/ 2147483647 h 285"/>
                <a:gd name="T10" fmla="*/ 2147483647 w 302"/>
                <a:gd name="T11" fmla="*/ 2147483647 h 285"/>
                <a:gd name="T12" fmla="*/ 2147483647 w 302"/>
                <a:gd name="T13" fmla="*/ 2147483647 h 285"/>
                <a:gd name="T14" fmla="*/ 2147483647 w 302"/>
                <a:gd name="T15" fmla="*/ 2147483647 h 285"/>
                <a:gd name="T16" fmla="*/ 2147483647 w 302"/>
                <a:gd name="T17" fmla="*/ 2147483647 h 285"/>
                <a:gd name="T18" fmla="*/ 2147483647 w 302"/>
                <a:gd name="T19" fmla="*/ 2147483647 h 285"/>
                <a:gd name="T20" fmla="*/ 2147483647 w 302"/>
                <a:gd name="T21" fmla="*/ 2147483647 h 285"/>
                <a:gd name="T22" fmla="*/ 2147483647 w 302"/>
                <a:gd name="T23" fmla="*/ 2147483647 h 285"/>
                <a:gd name="T24" fmla="*/ 2147483647 w 302"/>
                <a:gd name="T25" fmla="*/ 2147483647 h 285"/>
                <a:gd name="T26" fmla="*/ 2147483647 w 302"/>
                <a:gd name="T27" fmla="*/ 0 h 28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02"/>
                <a:gd name="T43" fmla="*/ 0 h 285"/>
                <a:gd name="T44" fmla="*/ 302 w 302"/>
                <a:gd name="T45" fmla="*/ 285 h 28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02" h="285">
                  <a:moveTo>
                    <a:pt x="133" y="0"/>
                  </a:moveTo>
                  <a:lnTo>
                    <a:pt x="12" y="93"/>
                  </a:lnTo>
                  <a:lnTo>
                    <a:pt x="0" y="174"/>
                  </a:lnTo>
                  <a:lnTo>
                    <a:pt x="64" y="209"/>
                  </a:lnTo>
                  <a:lnTo>
                    <a:pt x="87" y="285"/>
                  </a:lnTo>
                  <a:lnTo>
                    <a:pt x="133" y="250"/>
                  </a:lnTo>
                  <a:lnTo>
                    <a:pt x="185" y="285"/>
                  </a:lnTo>
                  <a:lnTo>
                    <a:pt x="255" y="285"/>
                  </a:lnTo>
                  <a:lnTo>
                    <a:pt x="296" y="180"/>
                  </a:lnTo>
                  <a:lnTo>
                    <a:pt x="272" y="134"/>
                  </a:lnTo>
                  <a:lnTo>
                    <a:pt x="302" y="87"/>
                  </a:lnTo>
                  <a:lnTo>
                    <a:pt x="244" y="76"/>
                  </a:lnTo>
                  <a:lnTo>
                    <a:pt x="162" y="6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0" name="Freeform 762"/>
            <p:cNvSpPr>
              <a:spLocks/>
            </p:cNvSpPr>
            <p:nvPr/>
          </p:nvSpPr>
          <p:spPr bwMode="auto">
            <a:xfrm>
              <a:off x="4575074" y="4137824"/>
              <a:ext cx="84905" cy="104904"/>
            </a:xfrm>
            <a:custGeom>
              <a:avLst/>
              <a:gdLst>
                <a:gd name="T0" fmla="*/ 2147483647 w 163"/>
                <a:gd name="T1" fmla="*/ 0 h 226"/>
                <a:gd name="T2" fmla="*/ 2147483647 w 163"/>
                <a:gd name="T3" fmla="*/ 2147483647 h 226"/>
                <a:gd name="T4" fmla="*/ 2147483647 w 163"/>
                <a:gd name="T5" fmla="*/ 2147483647 h 226"/>
                <a:gd name="T6" fmla="*/ 0 w 163"/>
                <a:gd name="T7" fmla="*/ 2147483647 h 226"/>
                <a:gd name="T8" fmla="*/ 2147483647 w 163"/>
                <a:gd name="T9" fmla="*/ 2147483647 h 226"/>
                <a:gd name="T10" fmla="*/ 2147483647 w 163"/>
                <a:gd name="T11" fmla="*/ 2147483647 h 226"/>
                <a:gd name="T12" fmla="*/ 2147483647 w 163"/>
                <a:gd name="T13" fmla="*/ 2147483647 h 226"/>
                <a:gd name="T14" fmla="*/ 2147483647 w 163"/>
                <a:gd name="T15" fmla="*/ 2147483647 h 226"/>
                <a:gd name="T16" fmla="*/ 2147483647 w 163"/>
                <a:gd name="T17" fmla="*/ 0 h 2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3"/>
                <a:gd name="T28" fmla="*/ 0 h 226"/>
                <a:gd name="T29" fmla="*/ 163 w 163"/>
                <a:gd name="T30" fmla="*/ 226 h 2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3" h="226">
                  <a:moveTo>
                    <a:pt x="47" y="0"/>
                  </a:moveTo>
                  <a:lnTo>
                    <a:pt x="17" y="47"/>
                  </a:lnTo>
                  <a:lnTo>
                    <a:pt x="41" y="93"/>
                  </a:lnTo>
                  <a:lnTo>
                    <a:pt x="0" y="198"/>
                  </a:lnTo>
                  <a:lnTo>
                    <a:pt x="35" y="226"/>
                  </a:lnTo>
                  <a:lnTo>
                    <a:pt x="76" y="221"/>
                  </a:lnTo>
                  <a:lnTo>
                    <a:pt x="163" y="93"/>
                  </a:lnTo>
                  <a:lnTo>
                    <a:pt x="82" y="1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1" name="Freeform 763"/>
            <p:cNvSpPr>
              <a:spLocks/>
            </p:cNvSpPr>
            <p:nvPr/>
          </p:nvSpPr>
          <p:spPr bwMode="auto">
            <a:xfrm>
              <a:off x="3780954" y="4097864"/>
              <a:ext cx="1458387" cy="1253847"/>
            </a:xfrm>
            <a:custGeom>
              <a:avLst/>
              <a:gdLst>
                <a:gd name="T0" fmla="*/ 2147483647 w 2685"/>
                <a:gd name="T1" fmla="*/ 2147483647 h 2603"/>
                <a:gd name="T2" fmla="*/ 2147483647 w 2685"/>
                <a:gd name="T3" fmla="*/ 2147483647 h 2603"/>
                <a:gd name="T4" fmla="*/ 2147483647 w 2685"/>
                <a:gd name="T5" fmla="*/ 2147483647 h 2603"/>
                <a:gd name="T6" fmla="*/ 2147483647 w 2685"/>
                <a:gd name="T7" fmla="*/ 2147483647 h 2603"/>
                <a:gd name="T8" fmla="*/ 2147483647 w 2685"/>
                <a:gd name="T9" fmla="*/ 2147483647 h 2603"/>
                <a:gd name="T10" fmla="*/ 2147483647 w 2685"/>
                <a:gd name="T11" fmla="*/ 2147483647 h 2603"/>
                <a:gd name="T12" fmla="*/ 2147483647 w 2685"/>
                <a:gd name="T13" fmla="*/ 2147483647 h 2603"/>
                <a:gd name="T14" fmla="*/ 2147483647 w 2685"/>
                <a:gd name="T15" fmla="*/ 2147483647 h 2603"/>
                <a:gd name="T16" fmla="*/ 2147483647 w 2685"/>
                <a:gd name="T17" fmla="*/ 2147483647 h 2603"/>
                <a:gd name="T18" fmla="*/ 2147483647 w 2685"/>
                <a:gd name="T19" fmla="*/ 2147483647 h 2603"/>
                <a:gd name="T20" fmla="*/ 2147483647 w 2685"/>
                <a:gd name="T21" fmla="*/ 2147483647 h 2603"/>
                <a:gd name="T22" fmla="*/ 2147483647 w 2685"/>
                <a:gd name="T23" fmla="*/ 2147483647 h 2603"/>
                <a:gd name="T24" fmla="*/ 2147483647 w 2685"/>
                <a:gd name="T25" fmla="*/ 2147483647 h 2603"/>
                <a:gd name="T26" fmla="*/ 2147483647 w 2685"/>
                <a:gd name="T27" fmla="*/ 2147483647 h 2603"/>
                <a:gd name="T28" fmla="*/ 2147483647 w 2685"/>
                <a:gd name="T29" fmla="*/ 2147483647 h 2603"/>
                <a:gd name="T30" fmla="*/ 2147483647 w 2685"/>
                <a:gd name="T31" fmla="*/ 2147483647 h 2603"/>
                <a:gd name="T32" fmla="*/ 2147483647 w 2685"/>
                <a:gd name="T33" fmla="*/ 2147483647 h 2603"/>
                <a:gd name="T34" fmla="*/ 2147483647 w 2685"/>
                <a:gd name="T35" fmla="*/ 2147483647 h 2603"/>
                <a:gd name="T36" fmla="*/ 2147483647 w 2685"/>
                <a:gd name="T37" fmla="*/ 2147483647 h 2603"/>
                <a:gd name="T38" fmla="*/ 2147483647 w 2685"/>
                <a:gd name="T39" fmla="*/ 2147483647 h 2603"/>
                <a:gd name="T40" fmla="*/ 2147483647 w 2685"/>
                <a:gd name="T41" fmla="*/ 2147483647 h 2603"/>
                <a:gd name="T42" fmla="*/ 2147483647 w 2685"/>
                <a:gd name="T43" fmla="*/ 2147483647 h 2603"/>
                <a:gd name="T44" fmla="*/ 2147483647 w 2685"/>
                <a:gd name="T45" fmla="*/ 2147483647 h 2603"/>
                <a:gd name="T46" fmla="*/ 2147483647 w 2685"/>
                <a:gd name="T47" fmla="*/ 2147483647 h 2603"/>
                <a:gd name="T48" fmla="*/ 2147483647 w 2685"/>
                <a:gd name="T49" fmla="*/ 2147483647 h 2603"/>
                <a:gd name="T50" fmla="*/ 2147483647 w 2685"/>
                <a:gd name="T51" fmla="*/ 2147483647 h 2603"/>
                <a:gd name="T52" fmla="*/ 2147483647 w 2685"/>
                <a:gd name="T53" fmla="*/ 2147483647 h 2603"/>
                <a:gd name="T54" fmla="*/ 2147483647 w 2685"/>
                <a:gd name="T55" fmla="*/ 2147483647 h 2603"/>
                <a:gd name="T56" fmla="*/ 2147483647 w 2685"/>
                <a:gd name="T57" fmla="*/ 2147483647 h 2603"/>
                <a:gd name="T58" fmla="*/ 2147483647 w 2685"/>
                <a:gd name="T59" fmla="*/ 2147483647 h 2603"/>
                <a:gd name="T60" fmla="*/ 2147483647 w 2685"/>
                <a:gd name="T61" fmla="*/ 2147483647 h 2603"/>
                <a:gd name="T62" fmla="*/ 2147483647 w 2685"/>
                <a:gd name="T63" fmla="*/ 2147483647 h 2603"/>
                <a:gd name="T64" fmla="*/ 2147483647 w 2685"/>
                <a:gd name="T65" fmla="*/ 2147483647 h 2603"/>
                <a:gd name="T66" fmla="*/ 2147483647 w 2685"/>
                <a:gd name="T67" fmla="*/ 2147483647 h 2603"/>
                <a:gd name="T68" fmla="*/ 2147483647 w 2685"/>
                <a:gd name="T69" fmla="*/ 2147483647 h 2603"/>
                <a:gd name="T70" fmla="*/ 2147483647 w 2685"/>
                <a:gd name="T71" fmla="*/ 2147483647 h 2603"/>
                <a:gd name="T72" fmla="*/ 2147483647 w 2685"/>
                <a:gd name="T73" fmla="*/ 2147483647 h 2603"/>
                <a:gd name="T74" fmla="*/ 2147483647 w 2685"/>
                <a:gd name="T75" fmla="*/ 2147483647 h 2603"/>
                <a:gd name="T76" fmla="*/ 2147483647 w 2685"/>
                <a:gd name="T77" fmla="*/ 2147483647 h 2603"/>
                <a:gd name="T78" fmla="*/ 2147483647 w 2685"/>
                <a:gd name="T79" fmla="*/ 2147483647 h 2603"/>
                <a:gd name="T80" fmla="*/ 2147483647 w 2685"/>
                <a:gd name="T81" fmla="*/ 2147483647 h 2603"/>
                <a:gd name="T82" fmla="*/ 2147483647 w 2685"/>
                <a:gd name="T83" fmla="*/ 2147483647 h 2603"/>
                <a:gd name="T84" fmla="*/ 2147483647 w 2685"/>
                <a:gd name="T85" fmla="*/ 2147483647 h 2603"/>
                <a:gd name="T86" fmla="*/ 2147483647 w 2685"/>
                <a:gd name="T87" fmla="*/ 2147483647 h 2603"/>
                <a:gd name="T88" fmla="*/ 2147483647 w 2685"/>
                <a:gd name="T89" fmla="*/ 2147483647 h 2603"/>
                <a:gd name="T90" fmla="*/ 2147483647 w 2685"/>
                <a:gd name="T91" fmla="*/ 2147483647 h 2603"/>
                <a:gd name="T92" fmla="*/ 2147483647 w 2685"/>
                <a:gd name="T93" fmla="*/ 2147483647 h 2603"/>
                <a:gd name="T94" fmla="*/ 2147483647 w 2685"/>
                <a:gd name="T95" fmla="*/ 2147483647 h 2603"/>
                <a:gd name="T96" fmla="*/ 2147483647 w 2685"/>
                <a:gd name="T97" fmla="*/ 2147483647 h 2603"/>
                <a:gd name="T98" fmla="*/ 2147483647 w 2685"/>
                <a:gd name="T99" fmla="*/ 2147483647 h 2603"/>
                <a:gd name="T100" fmla="*/ 2147483647 w 2685"/>
                <a:gd name="T101" fmla="*/ 2147483647 h 2603"/>
                <a:gd name="T102" fmla="*/ 2147483647 w 2685"/>
                <a:gd name="T103" fmla="*/ 2147483647 h 2603"/>
                <a:gd name="T104" fmla="*/ 2147483647 w 2685"/>
                <a:gd name="T105" fmla="*/ 2147483647 h 2603"/>
                <a:gd name="T106" fmla="*/ 2147483647 w 2685"/>
                <a:gd name="T107" fmla="*/ 2147483647 h 2603"/>
                <a:gd name="T108" fmla="*/ 2147483647 w 2685"/>
                <a:gd name="T109" fmla="*/ 0 h 2603"/>
                <a:gd name="T110" fmla="*/ 2147483647 w 2685"/>
                <a:gd name="T111" fmla="*/ 2147483647 h 2603"/>
                <a:gd name="T112" fmla="*/ 2147483647 w 2685"/>
                <a:gd name="T113" fmla="*/ 2147483647 h 2603"/>
                <a:gd name="T114" fmla="*/ 2147483647 w 2685"/>
                <a:gd name="T115" fmla="*/ 2147483647 h 2603"/>
                <a:gd name="T116" fmla="*/ 2147483647 w 2685"/>
                <a:gd name="T117" fmla="*/ 2147483647 h 2603"/>
                <a:gd name="T118" fmla="*/ 2147483647 w 2685"/>
                <a:gd name="T119" fmla="*/ 2147483647 h 2603"/>
                <a:gd name="T120" fmla="*/ 2147483647 w 2685"/>
                <a:gd name="T121" fmla="*/ 2147483647 h 26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685"/>
                <a:gd name="T184" fmla="*/ 0 h 2603"/>
                <a:gd name="T185" fmla="*/ 2685 w 2685"/>
                <a:gd name="T186" fmla="*/ 2603 h 26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685" h="2603">
                  <a:moveTo>
                    <a:pt x="1633" y="163"/>
                  </a:moveTo>
                  <a:lnTo>
                    <a:pt x="1662" y="192"/>
                  </a:lnTo>
                  <a:lnTo>
                    <a:pt x="1715" y="308"/>
                  </a:lnTo>
                  <a:lnTo>
                    <a:pt x="1760" y="343"/>
                  </a:lnTo>
                  <a:lnTo>
                    <a:pt x="1580" y="523"/>
                  </a:lnTo>
                  <a:lnTo>
                    <a:pt x="1673" y="512"/>
                  </a:lnTo>
                  <a:lnTo>
                    <a:pt x="1737" y="477"/>
                  </a:lnTo>
                  <a:lnTo>
                    <a:pt x="1790" y="488"/>
                  </a:lnTo>
                  <a:lnTo>
                    <a:pt x="1772" y="535"/>
                  </a:lnTo>
                  <a:lnTo>
                    <a:pt x="1703" y="540"/>
                  </a:lnTo>
                  <a:lnTo>
                    <a:pt x="1778" y="582"/>
                  </a:lnTo>
                  <a:lnTo>
                    <a:pt x="1854" y="523"/>
                  </a:lnTo>
                  <a:lnTo>
                    <a:pt x="2022" y="535"/>
                  </a:lnTo>
                  <a:lnTo>
                    <a:pt x="2028" y="570"/>
                  </a:lnTo>
                  <a:lnTo>
                    <a:pt x="2057" y="570"/>
                  </a:lnTo>
                  <a:lnTo>
                    <a:pt x="2046" y="622"/>
                  </a:lnTo>
                  <a:lnTo>
                    <a:pt x="2086" y="640"/>
                  </a:lnTo>
                  <a:lnTo>
                    <a:pt x="2069" y="662"/>
                  </a:lnTo>
                  <a:lnTo>
                    <a:pt x="2191" y="669"/>
                  </a:lnTo>
                  <a:lnTo>
                    <a:pt x="2284" y="721"/>
                  </a:lnTo>
                  <a:lnTo>
                    <a:pt x="2348" y="680"/>
                  </a:lnTo>
                  <a:lnTo>
                    <a:pt x="2395" y="704"/>
                  </a:lnTo>
                  <a:lnTo>
                    <a:pt x="2545" y="872"/>
                  </a:lnTo>
                  <a:lnTo>
                    <a:pt x="2587" y="884"/>
                  </a:lnTo>
                  <a:lnTo>
                    <a:pt x="2644" y="860"/>
                  </a:lnTo>
                  <a:lnTo>
                    <a:pt x="2679" y="894"/>
                  </a:lnTo>
                  <a:lnTo>
                    <a:pt x="2685" y="1081"/>
                  </a:lnTo>
                  <a:lnTo>
                    <a:pt x="2644" y="1156"/>
                  </a:lnTo>
                  <a:lnTo>
                    <a:pt x="2580" y="1180"/>
                  </a:lnTo>
                  <a:lnTo>
                    <a:pt x="2400" y="1342"/>
                  </a:lnTo>
                  <a:lnTo>
                    <a:pt x="2348" y="1372"/>
                  </a:lnTo>
                  <a:lnTo>
                    <a:pt x="2336" y="1494"/>
                  </a:lnTo>
                  <a:lnTo>
                    <a:pt x="2290" y="1592"/>
                  </a:lnTo>
                  <a:lnTo>
                    <a:pt x="2266" y="1703"/>
                  </a:lnTo>
                  <a:lnTo>
                    <a:pt x="2051" y="1975"/>
                  </a:lnTo>
                  <a:lnTo>
                    <a:pt x="2004" y="1993"/>
                  </a:lnTo>
                  <a:lnTo>
                    <a:pt x="1917" y="1982"/>
                  </a:lnTo>
                  <a:lnTo>
                    <a:pt x="1795" y="2045"/>
                  </a:lnTo>
                  <a:lnTo>
                    <a:pt x="1743" y="2034"/>
                  </a:lnTo>
                  <a:lnTo>
                    <a:pt x="1558" y="2127"/>
                  </a:lnTo>
                  <a:lnTo>
                    <a:pt x="1516" y="2306"/>
                  </a:lnTo>
                  <a:lnTo>
                    <a:pt x="1319" y="2521"/>
                  </a:lnTo>
                  <a:lnTo>
                    <a:pt x="1279" y="2521"/>
                  </a:lnTo>
                  <a:lnTo>
                    <a:pt x="1342" y="2382"/>
                  </a:lnTo>
                  <a:lnTo>
                    <a:pt x="1313" y="2394"/>
                  </a:lnTo>
                  <a:lnTo>
                    <a:pt x="1203" y="2603"/>
                  </a:lnTo>
                  <a:lnTo>
                    <a:pt x="1144" y="2528"/>
                  </a:lnTo>
                  <a:lnTo>
                    <a:pt x="1151" y="2486"/>
                  </a:lnTo>
                  <a:lnTo>
                    <a:pt x="1081" y="2423"/>
                  </a:lnTo>
                  <a:lnTo>
                    <a:pt x="1034" y="2417"/>
                  </a:lnTo>
                  <a:lnTo>
                    <a:pt x="1029" y="2359"/>
                  </a:lnTo>
                  <a:lnTo>
                    <a:pt x="977" y="2324"/>
                  </a:lnTo>
                  <a:lnTo>
                    <a:pt x="1226" y="2196"/>
                  </a:lnTo>
                  <a:lnTo>
                    <a:pt x="1226" y="2104"/>
                  </a:lnTo>
                  <a:lnTo>
                    <a:pt x="1214" y="2097"/>
                  </a:lnTo>
                  <a:lnTo>
                    <a:pt x="1226" y="2017"/>
                  </a:lnTo>
                  <a:lnTo>
                    <a:pt x="1174" y="1982"/>
                  </a:lnTo>
                  <a:lnTo>
                    <a:pt x="1186" y="1918"/>
                  </a:lnTo>
                  <a:lnTo>
                    <a:pt x="1075" y="1842"/>
                  </a:lnTo>
                  <a:lnTo>
                    <a:pt x="1034" y="1853"/>
                  </a:lnTo>
                  <a:lnTo>
                    <a:pt x="1000" y="1825"/>
                  </a:lnTo>
                  <a:lnTo>
                    <a:pt x="1022" y="1668"/>
                  </a:lnTo>
                  <a:lnTo>
                    <a:pt x="1052" y="1633"/>
                  </a:lnTo>
                  <a:lnTo>
                    <a:pt x="1011" y="1476"/>
                  </a:lnTo>
                  <a:lnTo>
                    <a:pt x="918" y="1447"/>
                  </a:lnTo>
                  <a:lnTo>
                    <a:pt x="900" y="1383"/>
                  </a:lnTo>
                  <a:lnTo>
                    <a:pt x="877" y="1360"/>
                  </a:lnTo>
                  <a:lnTo>
                    <a:pt x="877" y="1342"/>
                  </a:lnTo>
                  <a:lnTo>
                    <a:pt x="918" y="1313"/>
                  </a:lnTo>
                  <a:lnTo>
                    <a:pt x="726" y="1156"/>
                  </a:lnTo>
                  <a:lnTo>
                    <a:pt x="639" y="1145"/>
                  </a:lnTo>
                  <a:lnTo>
                    <a:pt x="581" y="1069"/>
                  </a:lnTo>
                  <a:lnTo>
                    <a:pt x="628" y="1051"/>
                  </a:lnTo>
                  <a:lnTo>
                    <a:pt x="639" y="971"/>
                  </a:lnTo>
                  <a:lnTo>
                    <a:pt x="598" y="964"/>
                  </a:lnTo>
                  <a:lnTo>
                    <a:pt x="429" y="994"/>
                  </a:lnTo>
                  <a:lnTo>
                    <a:pt x="424" y="976"/>
                  </a:lnTo>
                  <a:lnTo>
                    <a:pt x="366" y="982"/>
                  </a:lnTo>
                  <a:lnTo>
                    <a:pt x="342" y="1034"/>
                  </a:lnTo>
                  <a:lnTo>
                    <a:pt x="284" y="1023"/>
                  </a:lnTo>
                  <a:lnTo>
                    <a:pt x="215" y="988"/>
                  </a:lnTo>
                  <a:lnTo>
                    <a:pt x="232" y="918"/>
                  </a:lnTo>
                  <a:lnTo>
                    <a:pt x="203" y="889"/>
                  </a:lnTo>
                  <a:lnTo>
                    <a:pt x="122" y="918"/>
                  </a:lnTo>
                  <a:lnTo>
                    <a:pt x="87" y="860"/>
                  </a:lnTo>
                  <a:lnTo>
                    <a:pt x="23" y="901"/>
                  </a:lnTo>
                  <a:lnTo>
                    <a:pt x="0" y="784"/>
                  </a:lnTo>
                  <a:lnTo>
                    <a:pt x="52" y="692"/>
                  </a:lnTo>
                  <a:lnTo>
                    <a:pt x="58" y="640"/>
                  </a:lnTo>
                  <a:lnTo>
                    <a:pt x="262" y="529"/>
                  </a:lnTo>
                  <a:lnTo>
                    <a:pt x="360" y="326"/>
                  </a:lnTo>
                  <a:lnTo>
                    <a:pt x="314" y="285"/>
                  </a:lnTo>
                  <a:lnTo>
                    <a:pt x="319" y="239"/>
                  </a:lnTo>
                  <a:lnTo>
                    <a:pt x="384" y="192"/>
                  </a:lnTo>
                  <a:lnTo>
                    <a:pt x="360" y="186"/>
                  </a:lnTo>
                  <a:lnTo>
                    <a:pt x="342" y="174"/>
                  </a:lnTo>
                  <a:lnTo>
                    <a:pt x="349" y="146"/>
                  </a:lnTo>
                  <a:lnTo>
                    <a:pt x="377" y="151"/>
                  </a:lnTo>
                  <a:lnTo>
                    <a:pt x="429" y="186"/>
                  </a:lnTo>
                  <a:lnTo>
                    <a:pt x="476" y="186"/>
                  </a:lnTo>
                  <a:lnTo>
                    <a:pt x="511" y="239"/>
                  </a:lnTo>
                  <a:lnTo>
                    <a:pt x="656" y="268"/>
                  </a:lnTo>
                  <a:lnTo>
                    <a:pt x="778" y="174"/>
                  </a:lnTo>
                  <a:lnTo>
                    <a:pt x="691" y="52"/>
                  </a:lnTo>
                  <a:lnTo>
                    <a:pt x="720" y="29"/>
                  </a:lnTo>
                  <a:lnTo>
                    <a:pt x="843" y="105"/>
                  </a:lnTo>
                  <a:lnTo>
                    <a:pt x="872" y="87"/>
                  </a:lnTo>
                  <a:lnTo>
                    <a:pt x="965" y="99"/>
                  </a:lnTo>
                  <a:lnTo>
                    <a:pt x="1000" y="24"/>
                  </a:lnTo>
                  <a:lnTo>
                    <a:pt x="1000" y="0"/>
                  </a:lnTo>
                  <a:lnTo>
                    <a:pt x="1057" y="24"/>
                  </a:lnTo>
                  <a:lnTo>
                    <a:pt x="1052" y="59"/>
                  </a:lnTo>
                  <a:lnTo>
                    <a:pt x="1075" y="82"/>
                  </a:lnTo>
                  <a:lnTo>
                    <a:pt x="1075" y="256"/>
                  </a:lnTo>
                  <a:lnTo>
                    <a:pt x="1099" y="303"/>
                  </a:lnTo>
                  <a:lnTo>
                    <a:pt x="1296" y="268"/>
                  </a:lnTo>
                  <a:lnTo>
                    <a:pt x="1342" y="233"/>
                  </a:lnTo>
                  <a:lnTo>
                    <a:pt x="1401" y="268"/>
                  </a:lnTo>
                  <a:lnTo>
                    <a:pt x="1470" y="268"/>
                  </a:lnTo>
                  <a:lnTo>
                    <a:pt x="1499" y="296"/>
                  </a:lnTo>
                  <a:lnTo>
                    <a:pt x="1540" y="291"/>
                  </a:lnTo>
                  <a:lnTo>
                    <a:pt x="1633" y="16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2" name="Freeform 764"/>
            <p:cNvSpPr>
              <a:spLocks/>
            </p:cNvSpPr>
            <p:nvPr/>
          </p:nvSpPr>
          <p:spPr bwMode="auto">
            <a:xfrm rot="20717457">
              <a:off x="1638321" y="1210520"/>
              <a:ext cx="54938" cy="19982"/>
            </a:xfrm>
            <a:custGeom>
              <a:avLst/>
              <a:gdLst>
                <a:gd name="T0" fmla="*/ 2147483647 w 99"/>
                <a:gd name="T1" fmla="*/ 2147483647 h 46"/>
                <a:gd name="T2" fmla="*/ 2147483647 w 99"/>
                <a:gd name="T3" fmla="*/ 0 h 46"/>
                <a:gd name="T4" fmla="*/ 0 w 99"/>
                <a:gd name="T5" fmla="*/ 2147483647 h 46"/>
                <a:gd name="T6" fmla="*/ 2147483647 w 99"/>
                <a:gd name="T7" fmla="*/ 2147483647 h 46"/>
                <a:gd name="T8" fmla="*/ 2147483647 w 99"/>
                <a:gd name="T9" fmla="*/ 2147483647 h 46"/>
                <a:gd name="T10" fmla="*/ 2147483647 w 99"/>
                <a:gd name="T11" fmla="*/ 2147483647 h 46"/>
                <a:gd name="T12" fmla="*/ 2147483647 w 99"/>
                <a:gd name="T13" fmla="*/ 214748364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9"/>
                <a:gd name="T22" fmla="*/ 0 h 46"/>
                <a:gd name="T23" fmla="*/ 99 w 99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9" h="46">
                  <a:moveTo>
                    <a:pt x="64" y="11"/>
                  </a:moveTo>
                  <a:lnTo>
                    <a:pt x="12" y="0"/>
                  </a:lnTo>
                  <a:lnTo>
                    <a:pt x="0" y="11"/>
                  </a:lnTo>
                  <a:lnTo>
                    <a:pt x="12" y="40"/>
                  </a:lnTo>
                  <a:lnTo>
                    <a:pt x="64" y="46"/>
                  </a:lnTo>
                  <a:lnTo>
                    <a:pt x="99" y="17"/>
                  </a:lnTo>
                  <a:lnTo>
                    <a:pt x="64" y="1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3" name="Freeform 765"/>
            <p:cNvSpPr>
              <a:spLocks/>
            </p:cNvSpPr>
            <p:nvPr/>
          </p:nvSpPr>
          <p:spPr bwMode="auto">
            <a:xfrm rot="20717457">
              <a:off x="1548420" y="1415329"/>
              <a:ext cx="59933" cy="24978"/>
            </a:xfrm>
            <a:custGeom>
              <a:avLst/>
              <a:gdLst>
                <a:gd name="T0" fmla="*/ 2147483647 w 110"/>
                <a:gd name="T1" fmla="*/ 0 h 52"/>
                <a:gd name="T2" fmla="*/ 0 w 110"/>
                <a:gd name="T3" fmla="*/ 2147483647 h 52"/>
                <a:gd name="T4" fmla="*/ 2147483647 w 110"/>
                <a:gd name="T5" fmla="*/ 2147483647 h 52"/>
                <a:gd name="T6" fmla="*/ 2147483647 w 110"/>
                <a:gd name="T7" fmla="*/ 2147483647 h 52"/>
                <a:gd name="T8" fmla="*/ 2147483647 w 110"/>
                <a:gd name="T9" fmla="*/ 2147483647 h 52"/>
                <a:gd name="T10" fmla="*/ 2147483647 w 110"/>
                <a:gd name="T11" fmla="*/ 0 h 52"/>
                <a:gd name="T12" fmla="*/ 2147483647 w 110"/>
                <a:gd name="T13" fmla="*/ 0 h 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0"/>
                <a:gd name="T22" fmla="*/ 0 h 52"/>
                <a:gd name="T23" fmla="*/ 110 w 110"/>
                <a:gd name="T24" fmla="*/ 52 h 5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0" h="52">
                  <a:moveTo>
                    <a:pt x="58" y="0"/>
                  </a:moveTo>
                  <a:lnTo>
                    <a:pt x="0" y="24"/>
                  </a:lnTo>
                  <a:lnTo>
                    <a:pt x="23" y="41"/>
                  </a:lnTo>
                  <a:lnTo>
                    <a:pt x="105" y="52"/>
                  </a:lnTo>
                  <a:lnTo>
                    <a:pt x="110" y="17"/>
                  </a:lnTo>
                  <a:lnTo>
                    <a:pt x="81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4" name="Freeform 766"/>
            <p:cNvSpPr>
              <a:spLocks/>
            </p:cNvSpPr>
            <p:nvPr/>
          </p:nvSpPr>
          <p:spPr bwMode="auto">
            <a:xfrm rot="20717457">
              <a:off x="4170522" y="1879904"/>
              <a:ext cx="234742" cy="194821"/>
            </a:xfrm>
            <a:custGeom>
              <a:avLst/>
              <a:gdLst>
                <a:gd name="T0" fmla="*/ 2147483647 w 436"/>
                <a:gd name="T1" fmla="*/ 0 h 424"/>
                <a:gd name="T2" fmla="*/ 2147483647 w 436"/>
                <a:gd name="T3" fmla="*/ 2147483647 h 424"/>
                <a:gd name="T4" fmla="*/ 0 w 436"/>
                <a:gd name="T5" fmla="*/ 2147483647 h 424"/>
                <a:gd name="T6" fmla="*/ 2147483647 w 436"/>
                <a:gd name="T7" fmla="*/ 2147483647 h 424"/>
                <a:gd name="T8" fmla="*/ 2147483647 w 436"/>
                <a:gd name="T9" fmla="*/ 2147483647 h 424"/>
                <a:gd name="T10" fmla="*/ 2147483647 w 436"/>
                <a:gd name="T11" fmla="*/ 2147483647 h 424"/>
                <a:gd name="T12" fmla="*/ 2147483647 w 436"/>
                <a:gd name="T13" fmla="*/ 2147483647 h 424"/>
                <a:gd name="T14" fmla="*/ 2147483647 w 436"/>
                <a:gd name="T15" fmla="*/ 2147483647 h 424"/>
                <a:gd name="T16" fmla="*/ 2147483647 w 436"/>
                <a:gd name="T17" fmla="*/ 2147483647 h 424"/>
                <a:gd name="T18" fmla="*/ 2147483647 w 436"/>
                <a:gd name="T19" fmla="*/ 2147483647 h 424"/>
                <a:gd name="T20" fmla="*/ 2147483647 w 436"/>
                <a:gd name="T21" fmla="*/ 2147483647 h 424"/>
                <a:gd name="T22" fmla="*/ 2147483647 w 436"/>
                <a:gd name="T23" fmla="*/ 2147483647 h 424"/>
                <a:gd name="T24" fmla="*/ 2147483647 w 436"/>
                <a:gd name="T25" fmla="*/ 2147483647 h 424"/>
                <a:gd name="T26" fmla="*/ 2147483647 w 436"/>
                <a:gd name="T27" fmla="*/ 2147483647 h 424"/>
                <a:gd name="T28" fmla="*/ 2147483647 w 436"/>
                <a:gd name="T29" fmla="*/ 2147483647 h 424"/>
                <a:gd name="T30" fmla="*/ 2147483647 w 436"/>
                <a:gd name="T31" fmla="*/ 2147483647 h 424"/>
                <a:gd name="T32" fmla="*/ 2147483647 w 436"/>
                <a:gd name="T33" fmla="*/ 2147483647 h 424"/>
                <a:gd name="T34" fmla="*/ 2147483647 w 436"/>
                <a:gd name="T35" fmla="*/ 2147483647 h 424"/>
                <a:gd name="T36" fmla="*/ 2147483647 w 436"/>
                <a:gd name="T37" fmla="*/ 2147483647 h 424"/>
                <a:gd name="T38" fmla="*/ 2147483647 w 436"/>
                <a:gd name="T39" fmla="*/ 0 h 4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36"/>
                <a:gd name="T61" fmla="*/ 0 h 424"/>
                <a:gd name="T62" fmla="*/ 436 w 436"/>
                <a:gd name="T63" fmla="*/ 424 h 4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36" h="424">
                  <a:moveTo>
                    <a:pt x="180" y="0"/>
                  </a:moveTo>
                  <a:lnTo>
                    <a:pt x="105" y="198"/>
                  </a:lnTo>
                  <a:lnTo>
                    <a:pt x="0" y="250"/>
                  </a:lnTo>
                  <a:lnTo>
                    <a:pt x="81" y="255"/>
                  </a:lnTo>
                  <a:lnTo>
                    <a:pt x="81" y="360"/>
                  </a:lnTo>
                  <a:lnTo>
                    <a:pt x="162" y="389"/>
                  </a:lnTo>
                  <a:lnTo>
                    <a:pt x="255" y="342"/>
                  </a:lnTo>
                  <a:lnTo>
                    <a:pt x="279" y="354"/>
                  </a:lnTo>
                  <a:lnTo>
                    <a:pt x="337" y="401"/>
                  </a:lnTo>
                  <a:lnTo>
                    <a:pt x="394" y="372"/>
                  </a:lnTo>
                  <a:lnTo>
                    <a:pt x="412" y="424"/>
                  </a:lnTo>
                  <a:lnTo>
                    <a:pt x="436" y="255"/>
                  </a:lnTo>
                  <a:lnTo>
                    <a:pt x="384" y="273"/>
                  </a:lnTo>
                  <a:lnTo>
                    <a:pt x="412" y="203"/>
                  </a:lnTo>
                  <a:lnTo>
                    <a:pt x="360" y="163"/>
                  </a:lnTo>
                  <a:lnTo>
                    <a:pt x="366" y="145"/>
                  </a:lnTo>
                  <a:lnTo>
                    <a:pt x="255" y="122"/>
                  </a:lnTo>
                  <a:lnTo>
                    <a:pt x="197" y="151"/>
                  </a:lnTo>
                  <a:lnTo>
                    <a:pt x="227" y="35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5" name="Freeform 767"/>
            <p:cNvSpPr>
              <a:spLocks/>
            </p:cNvSpPr>
            <p:nvPr/>
          </p:nvSpPr>
          <p:spPr bwMode="auto">
            <a:xfrm rot="20717457">
              <a:off x="4055649" y="2029765"/>
              <a:ext cx="64929" cy="24978"/>
            </a:xfrm>
            <a:custGeom>
              <a:avLst/>
              <a:gdLst>
                <a:gd name="T0" fmla="*/ 2147483647 w 122"/>
                <a:gd name="T1" fmla="*/ 0 h 53"/>
                <a:gd name="T2" fmla="*/ 2147483647 w 122"/>
                <a:gd name="T3" fmla="*/ 2147483647 h 53"/>
                <a:gd name="T4" fmla="*/ 0 w 122"/>
                <a:gd name="T5" fmla="*/ 2147483647 h 53"/>
                <a:gd name="T6" fmla="*/ 0 w 122"/>
                <a:gd name="T7" fmla="*/ 2147483647 h 53"/>
                <a:gd name="T8" fmla="*/ 2147483647 w 122"/>
                <a:gd name="T9" fmla="*/ 2147483647 h 53"/>
                <a:gd name="T10" fmla="*/ 2147483647 w 122"/>
                <a:gd name="T11" fmla="*/ 2147483647 h 53"/>
                <a:gd name="T12" fmla="*/ 2147483647 w 122"/>
                <a:gd name="T13" fmla="*/ 2147483647 h 53"/>
                <a:gd name="T14" fmla="*/ 2147483647 w 122"/>
                <a:gd name="T15" fmla="*/ 0 h 5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2"/>
                <a:gd name="T25" fmla="*/ 0 h 53"/>
                <a:gd name="T26" fmla="*/ 122 w 122"/>
                <a:gd name="T27" fmla="*/ 53 h 5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2" h="53">
                  <a:moveTo>
                    <a:pt x="93" y="0"/>
                  </a:moveTo>
                  <a:lnTo>
                    <a:pt x="30" y="7"/>
                  </a:lnTo>
                  <a:lnTo>
                    <a:pt x="0" y="7"/>
                  </a:lnTo>
                  <a:lnTo>
                    <a:pt x="0" y="24"/>
                  </a:lnTo>
                  <a:lnTo>
                    <a:pt x="82" y="35"/>
                  </a:lnTo>
                  <a:lnTo>
                    <a:pt x="99" y="53"/>
                  </a:lnTo>
                  <a:lnTo>
                    <a:pt x="122" y="3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6" name="Freeform 768"/>
            <p:cNvSpPr>
              <a:spLocks/>
            </p:cNvSpPr>
            <p:nvPr/>
          </p:nvSpPr>
          <p:spPr bwMode="auto">
            <a:xfrm rot="20717457">
              <a:off x="4105593" y="2139662"/>
              <a:ext cx="34962" cy="24978"/>
            </a:xfrm>
            <a:custGeom>
              <a:avLst/>
              <a:gdLst>
                <a:gd name="T0" fmla="*/ 2147483647 w 75"/>
                <a:gd name="T1" fmla="*/ 0 h 47"/>
                <a:gd name="T2" fmla="*/ 0 w 75"/>
                <a:gd name="T3" fmla="*/ 2147483647 h 47"/>
                <a:gd name="T4" fmla="*/ 2147483647 w 75"/>
                <a:gd name="T5" fmla="*/ 2147483647 h 47"/>
                <a:gd name="T6" fmla="*/ 2147483647 w 75"/>
                <a:gd name="T7" fmla="*/ 2147483647 h 47"/>
                <a:gd name="T8" fmla="*/ 2147483647 w 75"/>
                <a:gd name="T9" fmla="*/ 2147483647 h 47"/>
                <a:gd name="T10" fmla="*/ 2147483647 w 75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47"/>
                <a:gd name="T20" fmla="*/ 75 w 75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47">
                  <a:moveTo>
                    <a:pt x="40" y="0"/>
                  </a:moveTo>
                  <a:lnTo>
                    <a:pt x="0" y="24"/>
                  </a:lnTo>
                  <a:lnTo>
                    <a:pt x="17" y="42"/>
                  </a:lnTo>
                  <a:lnTo>
                    <a:pt x="75" y="47"/>
                  </a:lnTo>
                  <a:lnTo>
                    <a:pt x="69" y="12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7" name="Freeform 769"/>
            <p:cNvSpPr>
              <a:spLocks/>
            </p:cNvSpPr>
            <p:nvPr/>
          </p:nvSpPr>
          <p:spPr bwMode="auto">
            <a:xfrm rot="20717457">
              <a:off x="4190498" y="2119681"/>
              <a:ext cx="49944" cy="49952"/>
            </a:xfrm>
            <a:custGeom>
              <a:avLst/>
              <a:gdLst>
                <a:gd name="T0" fmla="*/ 2147483647 w 87"/>
                <a:gd name="T1" fmla="*/ 2147483647 h 105"/>
                <a:gd name="T2" fmla="*/ 0 w 87"/>
                <a:gd name="T3" fmla="*/ 2147483647 h 105"/>
                <a:gd name="T4" fmla="*/ 2147483647 w 87"/>
                <a:gd name="T5" fmla="*/ 0 h 105"/>
                <a:gd name="T6" fmla="*/ 2147483647 w 87"/>
                <a:gd name="T7" fmla="*/ 2147483647 h 105"/>
                <a:gd name="T8" fmla="*/ 2147483647 w 87"/>
                <a:gd name="T9" fmla="*/ 2147483647 h 105"/>
                <a:gd name="T10" fmla="*/ 2147483647 w 87"/>
                <a:gd name="T11" fmla="*/ 2147483647 h 105"/>
                <a:gd name="T12" fmla="*/ 2147483647 w 87"/>
                <a:gd name="T13" fmla="*/ 2147483647 h 105"/>
                <a:gd name="T14" fmla="*/ 2147483647 w 87"/>
                <a:gd name="T15" fmla="*/ 2147483647 h 105"/>
                <a:gd name="T16" fmla="*/ 2147483647 w 87"/>
                <a:gd name="T17" fmla="*/ 2147483647 h 1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05"/>
                <a:gd name="T29" fmla="*/ 87 w 87"/>
                <a:gd name="T30" fmla="*/ 105 h 1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05">
                  <a:moveTo>
                    <a:pt x="17" y="100"/>
                  </a:moveTo>
                  <a:lnTo>
                    <a:pt x="0" y="59"/>
                  </a:lnTo>
                  <a:lnTo>
                    <a:pt x="28" y="0"/>
                  </a:lnTo>
                  <a:lnTo>
                    <a:pt x="52" y="12"/>
                  </a:lnTo>
                  <a:lnTo>
                    <a:pt x="40" y="47"/>
                  </a:lnTo>
                  <a:lnTo>
                    <a:pt x="87" y="70"/>
                  </a:lnTo>
                  <a:lnTo>
                    <a:pt x="75" y="105"/>
                  </a:lnTo>
                  <a:lnTo>
                    <a:pt x="28" y="100"/>
                  </a:lnTo>
                  <a:lnTo>
                    <a:pt x="17" y="10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8" name="Freeform 770"/>
            <p:cNvSpPr>
              <a:spLocks/>
            </p:cNvSpPr>
            <p:nvPr/>
          </p:nvSpPr>
          <p:spPr bwMode="auto">
            <a:xfrm rot="20717457">
              <a:off x="2087825" y="2019773"/>
              <a:ext cx="44951" cy="104904"/>
            </a:xfrm>
            <a:custGeom>
              <a:avLst/>
              <a:gdLst>
                <a:gd name="T0" fmla="*/ 2147483647 w 76"/>
                <a:gd name="T1" fmla="*/ 2147483647 h 232"/>
                <a:gd name="T2" fmla="*/ 2147483647 w 76"/>
                <a:gd name="T3" fmla="*/ 2147483647 h 232"/>
                <a:gd name="T4" fmla="*/ 2147483647 w 76"/>
                <a:gd name="T5" fmla="*/ 2147483647 h 232"/>
                <a:gd name="T6" fmla="*/ 2147483647 w 76"/>
                <a:gd name="T7" fmla="*/ 0 h 232"/>
                <a:gd name="T8" fmla="*/ 0 w 76"/>
                <a:gd name="T9" fmla="*/ 0 h 232"/>
                <a:gd name="T10" fmla="*/ 2147483647 w 76"/>
                <a:gd name="T11" fmla="*/ 2147483647 h 232"/>
                <a:gd name="T12" fmla="*/ 0 w 76"/>
                <a:gd name="T13" fmla="*/ 2147483647 h 232"/>
                <a:gd name="T14" fmla="*/ 2147483647 w 76"/>
                <a:gd name="T15" fmla="*/ 2147483647 h 232"/>
                <a:gd name="T16" fmla="*/ 2147483647 w 76"/>
                <a:gd name="T17" fmla="*/ 2147483647 h 232"/>
                <a:gd name="T18" fmla="*/ 2147483647 w 76"/>
                <a:gd name="T19" fmla="*/ 2147483647 h 232"/>
                <a:gd name="T20" fmla="*/ 2147483647 w 76"/>
                <a:gd name="T21" fmla="*/ 2147483647 h 2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6"/>
                <a:gd name="T34" fmla="*/ 0 h 232"/>
                <a:gd name="T35" fmla="*/ 76 w 76"/>
                <a:gd name="T36" fmla="*/ 232 h 2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6" h="232">
                  <a:moveTo>
                    <a:pt x="70" y="214"/>
                  </a:moveTo>
                  <a:lnTo>
                    <a:pt x="59" y="157"/>
                  </a:lnTo>
                  <a:lnTo>
                    <a:pt x="76" y="58"/>
                  </a:lnTo>
                  <a:lnTo>
                    <a:pt x="59" y="0"/>
                  </a:lnTo>
                  <a:lnTo>
                    <a:pt x="0" y="0"/>
                  </a:lnTo>
                  <a:lnTo>
                    <a:pt x="47" y="46"/>
                  </a:lnTo>
                  <a:lnTo>
                    <a:pt x="0" y="127"/>
                  </a:lnTo>
                  <a:lnTo>
                    <a:pt x="29" y="174"/>
                  </a:lnTo>
                  <a:lnTo>
                    <a:pt x="41" y="220"/>
                  </a:lnTo>
                  <a:lnTo>
                    <a:pt x="64" y="232"/>
                  </a:lnTo>
                  <a:lnTo>
                    <a:pt x="70" y="21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69" name="Freeform 771"/>
            <p:cNvSpPr>
              <a:spLocks/>
            </p:cNvSpPr>
            <p:nvPr/>
          </p:nvSpPr>
          <p:spPr bwMode="auto">
            <a:xfrm rot="20717457">
              <a:off x="3301483" y="1565193"/>
              <a:ext cx="139847" cy="84923"/>
            </a:xfrm>
            <a:custGeom>
              <a:avLst/>
              <a:gdLst>
                <a:gd name="T0" fmla="*/ 2147483647 w 256"/>
                <a:gd name="T1" fmla="*/ 0 h 187"/>
                <a:gd name="T2" fmla="*/ 2147483647 w 256"/>
                <a:gd name="T3" fmla="*/ 2147483647 h 187"/>
                <a:gd name="T4" fmla="*/ 0 w 256"/>
                <a:gd name="T5" fmla="*/ 2147483647 h 187"/>
                <a:gd name="T6" fmla="*/ 2147483647 w 256"/>
                <a:gd name="T7" fmla="*/ 2147483647 h 187"/>
                <a:gd name="T8" fmla="*/ 2147483647 w 256"/>
                <a:gd name="T9" fmla="*/ 2147483647 h 187"/>
                <a:gd name="T10" fmla="*/ 2147483647 w 256"/>
                <a:gd name="T11" fmla="*/ 2147483647 h 187"/>
                <a:gd name="T12" fmla="*/ 2147483647 w 256"/>
                <a:gd name="T13" fmla="*/ 2147483647 h 187"/>
                <a:gd name="T14" fmla="*/ 2147483647 w 256"/>
                <a:gd name="T15" fmla="*/ 2147483647 h 187"/>
                <a:gd name="T16" fmla="*/ 2147483647 w 256"/>
                <a:gd name="T17" fmla="*/ 2147483647 h 187"/>
                <a:gd name="T18" fmla="*/ 2147483647 w 256"/>
                <a:gd name="T19" fmla="*/ 2147483647 h 187"/>
                <a:gd name="T20" fmla="*/ 2147483647 w 256"/>
                <a:gd name="T21" fmla="*/ 2147483647 h 187"/>
                <a:gd name="T22" fmla="*/ 2147483647 w 256"/>
                <a:gd name="T23" fmla="*/ 2147483647 h 187"/>
                <a:gd name="T24" fmla="*/ 2147483647 w 256"/>
                <a:gd name="T25" fmla="*/ 0 h 187"/>
                <a:gd name="T26" fmla="*/ 2147483647 w 256"/>
                <a:gd name="T27" fmla="*/ 0 h 18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56"/>
                <a:gd name="T43" fmla="*/ 0 h 187"/>
                <a:gd name="T44" fmla="*/ 256 w 256"/>
                <a:gd name="T45" fmla="*/ 187 h 18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56" h="187">
                  <a:moveTo>
                    <a:pt x="29" y="0"/>
                  </a:moveTo>
                  <a:lnTo>
                    <a:pt x="41" y="30"/>
                  </a:lnTo>
                  <a:lnTo>
                    <a:pt x="0" y="122"/>
                  </a:lnTo>
                  <a:lnTo>
                    <a:pt x="69" y="187"/>
                  </a:lnTo>
                  <a:lnTo>
                    <a:pt x="111" y="169"/>
                  </a:lnTo>
                  <a:lnTo>
                    <a:pt x="104" y="122"/>
                  </a:lnTo>
                  <a:lnTo>
                    <a:pt x="157" y="169"/>
                  </a:lnTo>
                  <a:lnTo>
                    <a:pt x="215" y="187"/>
                  </a:lnTo>
                  <a:lnTo>
                    <a:pt x="256" y="164"/>
                  </a:lnTo>
                  <a:lnTo>
                    <a:pt x="238" y="111"/>
                  </a:lnTo>
                  <a:lnTo>
                    <a:pt x="191" y="117"/>
                  </a:lnTo>
                  <a:lnTo>
                    <a:pt x="157" y="47"/>
                  </a:lnTo>
                  <a:lnTo>
                    <a:pt x="8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0" name="Freeform 772"/>
            <p:cNvSpPr>
              <a:spLocks/>
            </p:cNvSpPr>
            <p:nvPr/>
          </p:nvSpPr>
          <p:spPr bwMode="auto">
            <a:xfrm rot="20717457">
              <a:off x="3351427" y="1680087"/>
              <a:ext cx="29966" cy="34967"/>
            </a:xfrm>
            <a:custGeom>
              <a:avLst/>
              <a:gdLst>
                <a:gd name="T0" fmla="*/ 2147483647 w 52"/>
                <a:gd name="T1" fmla="*/ 0 h 70"/>
                <a:gd name="T2" fmla="*/ 0 w 52"/>
                <a:gd name="T3" fmla="*/ 2147483647 h 70"/>
                <a:gd name="T4" fmla="*/ 0 w 52"/>
                <a:gd name="T5" fmla="*/ 2147483647 h 70"/>
                <a:gd name="T6" fmla="*/ 2147483647 w 52"/>
                <a:gd name="T7" fmla="*/ 2147483647 h 70"/>
                <a:gd name="T8" fmla="*/ 2147483647 w 52"/>
                <a:gd name="T9" fmla="*/ 2147483647 h 70"/>
                <a:gd name="T10" fmla="*/ 2147483647 w 52"/>
                <a:gd name="T11" fmla="*/ 2147483647 h 70"/>
                <a:gd name="T12" fmla="*/ 2147483647 w 52"/>
                <a:gd name="T13" fmla="*/ 0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0"/>
                <a:gd name="T23" fmla="*/ 52 w 52"/>
                <a:gd name="T24" fmla="*/ 70 h 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0">
                  <a:moveTo>
                    <a:pt x="41" y="0"/>
                  </a:moveTo>
                  <a:lnTo>
                    <a:pt x="0" y="5"/>
                  </a:lnTo>
                  <a:lnTo>
                    <a:pt x="0" y="70"/>
                  </a:lnTo>
                  <a:lnTo>
                    <a:pt x="24" y="52"/>
                  </a:lnTo>
                  <a:lnTo>
                    <a:pt x="47" y="47"/>
                  </a:lnTo>
                  <a:lnTo>
                    <a:pt x="52" y="29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1" name="Freeform 773"/>
            <p:cNvSpPr>
              <a:spLocks/>
            </p:cNvSpPr>
            <p:nvPr/>
          </p:nvSpPr>
          <p:spPr bwMode="auto">
            <a:xfrm rot="20717457">
              <a:off x="2662188" y="1185542"/>
              <a:ext cx="164819" cy="109898"/>
            </a:xfrm>
            <a:custGeom>
              <a:avLst/>
              <a:gdLst>
                <a:gd name="T0" fmla="*/ 2147483647 w 309"/>
                <a:gd name="T1" fmla="*/ 0 h 244"/>
                <a:gd name="T2" fmla="*/ 2147483647 w 309"/>
                <a:gd name="T3" fmla="*/ 2147483647 h 244"/>
                <a:gd name="T4" fmla="*/ 0 w 309"/>
                <a:gd name="T5" fmla="*/ 2147483647 h 244"/>
                <a:gd name="T6" fmla="*/ 2147483647 w 309"/>
                <a:gd name="T7" fmla="*/ 2147483647 h 244"/>
                <a:gd name="T8" fmla="*/ 2147483647 w 309"/>
                <a:gd name="T9" fmla="*/ 2147483647 h 244"/>
                <a:gd name="T10" fmla="*/ 2147483647 w 309"/>
                <a:gd name="T11" fmla="*/ 2147483647 h 244"/>
                <a:gd name="T12" fmla="*/ 2147483647 w 309"/>
                <a:gd name="T13" fmla="*/ 2147483647 h 244"/>
                <a:gd name="T14" fmla="*/ 2147483647 w 309"/>
                <a:gd name="T15" fmla="*/ 2147483647 h 244"/>
                <a:gd name="T16" fmla="*/ 2147483647 w 309"/>
                <a:gd name="T17" fmla="*/ 0 h 2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244"/>
                <a:gd name="T29" fmla="*/ 309 w 309"/>
                <a:gd name="T30" fmla="*/ 244 h 24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244">
                  <a:moveTo>
                    <a:pt x="187" y="0"/>
                  </a:moveTo>
                  <a:lnTo>
                    <a:pt x="88" y="105"/>
                  </a:lnTo>
                  <a:lnTo>
                    <a:pt x="0" y="128"/>
                  </a:lnTo>
                  <a:lnTo>
                    <a:pt x="18" y="232"/>
                  </a:lnTo>
                  <a:lnTo>
                    <a:pt x="100" y="244"/>
                  </a:lnTo>
                  <a:lnTo>
                    <a:pt x="145" y="175"/>
                  </a:lnTo>
                  <a:lnTo>
                    <a:pt x="309" y="180"/>
                  </a:lnTo>
                  <a:lnTo>
                    <a:pt x="245" y="18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2" name="Freeform 774"/>
            <p:cNvSpPr>
              <a:spLocks/>
            </p:cNvSpPr>
            <p:nvPr/>
          </p:nvSpPr>
          <p:spPr bwMode="auto">
            <a:xfrm rot="20717457">
              <a:off x="2762078" y="1250483"/>
              <a:ext cx="229747" cy="224795"/>
            </a:xfrm>
            <a:custGeom>
              <a:avLst/>
              <a:gdLst>
                <a:gd name="T0" fmla="*/ 2147483647 w 424"/>
                <a:gd name="T1" fmla="*/ 2147483647 h 476"/>
                <a:gd name="T2" fmla="*/ 2147483647 w 424"/>
                <a:gd name="T3" fmla="*/ 0 h 476"/>
                <a:gd name="T4" fmla="*/ 2147483647 w 424"/>
                <a:gd name="T5" fmla="*/ 2147483647 h 476"/>
                <a:gd name="T6" fmla="*/ 2147483647 w 424"/>
                <a:gd name="T7" fmla="*/ 2147483647 h 476"/>
                <a:gd name="T8" fmla="*/ 2147483647 w 424"/>
                <a:gd name="T9" fmla="*/ 2147483647 h 476"/>
                <a:gd name="T10" fmla="*/ 2147483647 w 424"/>
                <a:gd name="T11" fmla="*/ 2147483647 h 476"/>
                <a:gd name="T12" fmla="*/ 0 w 424"/>
                <a:gd name="T13" fmla="*/ 2147483647 h 476"/>
                <a:gd name="T14" fmla="*/ 2147483647 w 424"/>
                <a:gd name="T15" fmla="*/ 2147483647 h 476"/>
                <a:gd name="T16" fmla="*/ 2147483647 w 424"/>
                <a:gd name="T17" fmla="*/ 2147483647 h 476"/>
                <a:gd name="T18" fmla="*/ 2147483647 w 424"/>
                <a:gd name="T19" fmla="*/ 2147483647 h 476"/>
                <a:gd name="T20" fmla="*/ 2147483647 w 424"/>
                <a:gd name="T21" fmla="*/ 2147483647 h 476"/>
                <a:gd name="T22" fmla="*/ 2147483647 w 424"/>
                <a:gd name="T23" fmla="*/ 2147483647 h 476"/>
                <a:gd name="T24" fmla="*/ 2147483647 w 424"/>
                <a:gd name="T25" fmla="*/ 2147483647 h 476"/>
                <a:gd name="T26" fmla="*/ 2147483647 w 424"/>
                <a:gd name="T27" fmla="*/ 2147483647 h 476"/>
                <a:gd name="T28" fmla="*/ 2147483647 w 424"/>
                <a:gd name="T29" fmla="*/ 2147483647 h 476"/>
                <a:gd name="T30" fmla="*/ 2147483647 w 424"/>
                <a:gd name="T31" fmla="*/ 2147483647 h 476"/>
                <a:gd name="T32" fmla="*/ 2147483647 w 424"/>
                <a:gd name="T33" fmla="*/ 2147483647 h 476"/>
                <a:gd name="T34" fmla="*/ 2147483647 w 424"/>
                <a:gd name="T35" fmla="*/ 2147483647 h 476"/>
                <a:gd name="T36" fmla="*/ 2147483647 w 424"/>
                <a:gd name="T37" fmla="*/ 2147483647 h 476"/>
                <a:gd name="T38" fmla="*/ 2147483647 w 424"/>
                <a:gd name="T39" fmla="*/ 2147483647 h 476"/>
                <a:gd name="T40" fmla="*/ 2147483647 w 424"/>
                <a:gd name="T41" fmla="*/ 2147483647 h 476"/>
                <a:gd name="T42" fmla="*/ 2147483647 w 424"/>
                <a:gd name="T43" fmla="*/ 2147483647 h 4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24"/>
                <a:gd name="T67" fmla="*/ 0 h 476"/>
                <a:gd name="T68" fmla="*/ 424 w 424"/>
                <a:gd name="T69" fmla="*/ 476 h 47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24" h="476">
                  <a:moveTo>
                    <a:pt x="197" y="6"/>
                  </a:moveTo>
                  <a:lnTo>
                    <a:pt x="75" y="0"/>
                  </a:lnTo>
                  <a:lnTo>
                    <a:pt x="70" y="35"/>
                  </a:lnTo>
                  <a:lnTo>
                    <a:pt x="63" y="94"/>
                  </a:lnTo>
                  <a:lnTo>
                    <a:pt x="46" y="146"/>
                  </a:lnTo>
                  <a:lnTo>
                    <a:pt x="105" y="209"/>
                  </a:lnTo>
                  <a:lnTo>
                    <a:pt x="0" y="209"/>
                  </a:lnTo>
                  <a:lnTo>
                    <a:pt x="75" y="279"/>
                  </a:lnTo>
                  <a:lnTo>
                    <a:pt x="105" y="383"/>
                  </a:lnTo>
                  <a:lnTo>
                    <a:pt x="244" y="395"/>
                  </a:lnTo>
                  <a:lnTo>
                    <a:pt x="354" y="476"/>
                  </a:lnTo>
                  <a:lnTo>
                    <a:pt x="407" y="436"/>
                  </a:lnTo>
                  <a:lnTo>
                    <a:pt x="384" y="395"/>
                  </a:lnTo>
                  <a:lnTo>
                    <a:pt x="419" y="401"/>
                  </a:lnTo>
                  <a:lnTo>
                    <a:pt x="372" y="267"/>
                  </a:lnTo>
                  <a:lnTo>
                    <a:pt x="424" y="111"/>
                  </a:lnTo>
                  <a:lnTo>
                    <a:pt x="384" y="76"/>
                  </a:lnTo>
                  <a:lnTo>
                    <a:pt x="342" y="174"/>
                  </a:lnTo>
                  <a:lnTo>
                    <a:pt x="349" y="162"/>
                  </a:lnTo>
                  <a:lnTo>
                    <a:pt x="314" y="87"/>
                  </a:lnTo>
                  <a:lnTo>
                    <a:pt x="238" y="59"/>
                  </a:lnTo>
                  <a:lnTo>
                    <a:pt x="197" y="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3" name="Freeform 775"/>
            <p:cNvSpPr>
              <a:spLocks/>
            </p:cNvSpPr>
            <p:nvPr/>
          </p:nvSpPr>
          <p:spPr bwMode="auto">
            <a:xfrm rot="20717457">
              <a:off x="3011803" y="1255475"/>
              <a:ext cx="89901" cy="104904"/>
            </a:xfrm>
            <a:custGeom>
              <a:avLst/>
              <a:gdLst>
                <a:gd name="T0" fmla="*/ 0 w 163"/>
                <a:gd name="T1" fmla="*/ 2147483647 h 233"/>
                <a:gd name="T2" fmla="*/ 2147483647 w 163"/>
                <a:gd name="T3" fmla="*/ 2147483647 h 233"/>
                <a:gd name="T4" fmla="*/ 2147483647 w 163"/>
                <a:gd name="T5" fmla="*/ 2147483647 h 233"/>
                <a:gd name="T6" fmla="*/ 2147483647 w 163"/>
                <a:gd name="T7" fmla="*/ 2147483647 h 233"/>
                <a:gd name="T8" fmla="*/ 2147483647 w 163"/>
                <a:gd name="T9" fmla="*/ 2147483647 h 233"/>
                <a:gd name="T10" fmla="*/ 2147483647 w 163"/>
                <a:gd name="T11" fmla="*/ 2147483647 h 233"/>
                <a:gd name="T12" fmla="*/ 2147483647 w 163"/>
                <a:gd name="T13" fmla="*/ 2147483647 h 233"/>
                <a:gd name="T14" fmla="*/ 2147483647 w 163"/>
                <a:gd name="T15" fmla="*/ 0 h 233"/>
                <a:gd name="T16" fmla="*/ 2147483647 w 163"/>
                <a:gd name="T17" fmla="*/ 2147483647 h 233"/>
                <a:gd name="T18" fmla="*/ 2147483647 w 163"/>
                <a:gd name="T19" fmla="*/ 2147483647 h 233"/>
                <a:gd name="T20" fmla="*/ 0 w 163"/>
                <a:gd name="T21" fmla="*/ 2147483647 h 2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3"/>
                <a:gd name="T34" fmla="*/ 0 h 233"/>
                <a:gd name="T35" fmla="*/ 163 w 163"/>
                <a:gd name="T36" fmla="*/ 233 h 2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3" h="233">
                  <a:moveTo>
                    <a:pt x="0" y="82"/>
                  </a:moveTo>
                  <a:lnTo>
                    <a:pt x="52" y="163"/>
                  </a:lnTo>
                  <a:lnTo>
                    <a:pt x="29" y="233"/>
                  </a:lnTo>
                  <a:lnTo>
                    <a:pt x="70" y="233"/>
                  </a:lnTo>
                  <a:lnTo>
                    <a:pt x="151" y="180"/>
                  </a:lnTo>
                  <a:lnTo>
                    <a:pt x="163" y="145"/>
                  </a:lnTo>
                  <a:lnTo>
                    <a:pt x="146" y="18"/>
                  </a:lnTo>
                  <a:lnTo>
                    <a:pt x="94" y="0"/>
                  </a:lnTo>
                  <a:lnTo>
                    <a:pt x="64" y="70"/>
                  </a:lnTo>
                  <a:lnTo>
                    <a:pt x="29" y="58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4" name="Freeform 776"/>
            <p:cNvSpPr>
              <a:spLocks/>
            </p:cNvSpPr>
            <p:nvPr/>
          </p:nvSpPr>
          <p:spPr bwMode="auto">
            <a:xfrm rot="20717457">
              <a:off x="3116687" y="1240490"/>
              <a:ext cx="64929" cy="69935"/>
            </a:xfrm>
            <a:custGeom>
              <a:avLst/>
              <a:gdLst>
                <a:gd name="T0" fmla="*/ 2147483647 w 116"/>
                <a:gd name="T1" fmla="*/ 2147483647 h 150"/>
                <a:gd name="T2" fmla="*/ 0 w 116"/>
                <a:gd name="T3" fmla="*/ 2147483647 h 150"/>
                <a:gd name="T4" fmla="*/ 2147483647 w 116"/>
                <a:gd name="T5" fmla="*/ 2147483647 h 150"/>
                <a:gd name="T6" fmla="*/ 2147483647 w 116"/>
                <a:gd name="T7" fmla="*/ 2147483647 h 150"/>
                <a:gd name="T8" fmla="*/ 2147483647 w 116"/>
                <a:gd name="T9" fmla="*/ 0 h 150"/>
                <a:gd name="T10" fmla="*/ 2147483647 w 116"/>
                <a:gd name="T11" fmla="*/ 0 h 150"/>
                <a:gd name="T12" fmla="*/ 2147483647 w 116"/>
                <a:gd name="T13" fmla="*/ 2147483647 h 1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6"/>
                <a:gd name="T22" fmla="*/ 0 h 150"/>
                <a:gd name="T23" fmla="*/ 116 w 116"/>
                <a:gd name="T24" fmla="*/ 150 h 15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6" h="150">
                  <a:moveTo>
                    <a:pt x="11" y="46"/>
                  </a:moveTo>
                  <a:lnTo>
                    <a:pt x="0" y="145"/>
                  </a:lnTo>
                  <a:lnTo>
                    <a:pt x="58" y="150"/>
                  </a:lnTo>
                  <a:lnTo>
                    <a:pt x="116" y="46"/>
                  </a:lnTo>
                  <a:lnTo>
                    <a:pt x="75" y="0"/>
                  </a:lnTo>
                  <a:lnTo>
                    <a:pt x="29" y="0"/>
                  </a:lnTo>
                  <a:lnTo>
                    <a:pt x="11" y="4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5" name="Freeform 777"/>
            <p:cNvSpPr>
              <a:spLocks/>
            </p:cNvSpPr>
            <p:nvPr/>
          </p:nvSpPr>
          <p:spPr bwMode="auto">
            <a:xfrm rot="20717457">
              <a:off x="3226564" y="1195531"/>
              <a:ext cx="539405" cy="494546"/>
            </a:xfrm>
            <a:custGeom>
              <a:avLst/>
              <a:gdLst>
                <a:gd name="T0" fmla="*/ 2147483647 w 987"/>
                <a:gd name="T1" fmla="*/ 2147483647 h 1074"/>
                <a:gd name="T2" fmla="*/ 0 w 987"/>
                <a:gd name="T3" fmla="*/ 2147483647 h 1074"/>
                <a:gd name="T4" fmla="*/ 2147483647 w 987"/>
                <a:gd name="T5" fmla="*/ 2147483647 h 1074"/>
                <a:gd name="T6" fmla="*/ 2147483647 w 987"/>
                <a:gd name="T7" fmla="*/ 2147483647 h 1074"/>
                <a:gd name="T8" fmla="*/ 2147483647 w 987"/>
                <a:gd name="T9" fmla="*/ 2147483647 h 1074"/>
                <a:gd name="T10" fmla="*/ 2147483647 w 987"/>
                <a:gd name="T11" fmla="*/ 2147483647 h 1074"/>
                <a:gd name="T12" fmla="*/ 2147483647 w 987"/>
                <a:gd name="T13" fmla="*/ 2147483647 h 1074"/>
                <a:gd name="T14" fmla="*/ 2147483647 w 987"/>
                <a:gd name="T15" fmla="*/ 2147483647 h 1074"/>
                <a:gd name="T16" fmla="*/ 2147483647 w 987"/>
                <a:gd name="T17" fmla="*/ 2147483647 h 1074"/>
                <a:gd name="T18" fmla="*/ 2147483647 w 987"/>
                <a:gd name="T19" fmla="*/ 2147483647 h 1074"/>
                <a:gd name="T20" fmla="*/ 2147483647 w 987"/>
                <a:gd name="T21" fmla="*/ 2147483647 h 1074"/>
                <a:gd name="T22" fmla="*/ 2147483647 w 987"/>
                <a:gd name="T23" fmla="*/ 2147483647 h 1074"/>
                <a:gd name="T24" fmla="*/ 2147483647 w 987"/>
                <a:gd name="T25" fmla="*/ 2147483647 h 1074"/>
                <a:gd name="T26" fmla="*/ 2147483647 w 987"/>
                <a:gd name="T27" fmla="*/ 2147483647 h 1074"/>
                <a:gd name="T28" fmla="*/ 2147483647 w 987"/>
                <a:gd name="T29" fmla="*/ 2147483647 h 1074"/>
                <a:gd name="T30" fmla="*/ 2147483647 w 987"/>
                <a:gd name="T31" fmla="*/ 2147483647 h 1074"/>
                <a:gd name="T32" fmla="*/ 2147483647 w 987"/>
                <a:gd name="T33" fmla="*/ 2147483647 h 1074"/>
                <a:gd name="T34" fmla="*/ 2147483647 w 987"/>
                <a:gd name="T35" fmla="*/ 2147483647 h 1074"/>
                <a:gd name="T36" fmla="*/ 2147483647 w 987"/>
                <a:gd name="T37" fmla="*/ 2147483647 h 1074"/>
                <a:gd name="T38" fmla="*/ 2147483647 w 987"/>
                <a:gd name="T39" fmla="*/ 2147483647 h 1074"/>
                <a:gd name="T40" fmla="*/ 2147483647 w 987"/>
                <a:gd name="T41" fmla="*/ 2147483647 h 1074"/>
                <a:gd name="T42" fmla="*/ 2147483647 w 987"/>
                <a:gd name="T43" fmla="*/ 2147483647 h 1074"/>
                <a:gd name="T44" fmla="*/ 2147483647 w 987"/>
                <a:gd name="T45" fmla="*/ 2147483647 h 1074"/>
                <a:gd name="T46" fmla="*/ 2147483647 w 987"/>
                <a:gd name="T47" fmla="*/ 2147483647 h 1074"/>
                <a:gd name="T48" fmla="*/ 2147483647 w 987"/>
                <a:gd name="T49" fmla="*/ 2147483647 h 1074"/>
                <a:gd name="T50" fmla="*/ 2147483647 w 987"/>
                <a:gd name="T51" fmla="*/ 2147483647 h 1074"/>
                <a:gd name="T52" fmla="*/ 2147483647 w 987"/>
                <a:gd name="T53" fmla="*/ 2147483647 h 1074"/>
                <a:gd name="T54" fmla="*/ 2147483647 w 987"/>
                <a:gd name="T55" fmla="*/ 2147483647 h 1074"/>
                <a:gd name="T56" fmla="*/ 2147483647 w 987"/>
                <a:gd name="T57" fmla="*/ 2147483647 h 1074"/>
                <a:gd name="T58" fmla="*/ 2147483647 w 987"/>
                <a:gd name="T59" fmla="*/ 2147483647 h 1074"/>
                <a:gd name="T60" fmla="*/ 2147483647 w 987"/>
                <a:gd name="T61" fmla="*/ 2147483647 h 1074"/>
                <a:gd name="T62" fmla="*/ 2147483647 w 987"/>
                <a:gd name="T63" fmla="*/ 2147483647 h 10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7"/>
                <a:gd name="T97" fmla="*/ 0 h 1074"/>
                <a:gd name="T98" fmla="*/ 987 w 987"/>
                <a:gd name="T99" fmla="*/ 1074 h 10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7" h="1074">
                  <a:moveTo>
                    <a:pt x="110" y="0"/>
                  </a:moveTo>
                  <a:lnTo>
                    <a:pt x="93" y="52"/>
                  </a:lnTo>
                  <a:lnTo>
                    <a:pt x="16" y="80"/>
                  </a:lnTo>
                  <a:lnTo>
                    <a:pt x="0" y="133"/>
                  </a:lnTo>
                  <a:lnTo>
                    <a:pt x="58" y="197"/>
                  </a:lnTo>
                  <a:lnTo>
                    <a:pt x="28" y="226"/>
                  </a:lnTo>
                  <a:lnTo>
                    <a:pt x="86" y="284"/>
                  </a:lnTo>
                  <a:lnTo>
                    <a:pt x="191" y="296"/>
                  </a:lnTo>
                  <a:lnTo>
                    <a:pt x="330" y="377"/>
                  </a:lnTo>
                  <a:lnTo>
                    <a:pt x="342" y="336"/>
                  </a:lnTo>
                  <a:lnTo>
                    <a:pt x="307" y="267"/>
                  </a:lnTo>
                  <a:lnTo>
                    <a:pt x="377" y="296"/>
                  </a:lnTo>
                  <a:lnTo>
                    <a:pt x="394" y="359"/>
                  </a:lnTo>
                  <a:lnTo>
                    <a:pt x="494" y="377"/>
                  </a:lnTo>
                  <a:lnTo>
                    <a:pt x="522" y="418"/>
                  </a:lnTo>
                  <a:lnTo>
                    <a:pt x="482" y="470"/>
                  </a:lnTo>
                  <a:lnTo>
                    <a:pt x="586" y="523"/>
                  </a:lnTo>
                  <a:lnTo>
                    <a:pt x="563" y="592"/>
                  </a:lnTo>
                  <a:lnTo>
                    <a:pt x="539" y="610"/>
                  </a:lnTo>
                  <a:lnTo>
                    <a:pt x="557" y="714"/>
                  </a:lnTo>
                  <a:lnTo>
                    <a:pt x="499" y="755"/>
                  </a:lnTo>
                  <a:lnTo>
                    <a:pt x="435" y="725"/>
                  </a:lnTo>
                  <a:lnTo>
                    <a:pt x="424" y="865"/>
                  </a:lnTo>
                  <a:lnTo>
                    <a:pt x="529" y="859"/>
                  </a:lnTo>
                  <a:lnTo>
                    <a:pt x="557" y="836"/>
                  </a:lnTo>
                  <a:lnTo>
                    <a:pt x="668" y="976"/>
                  </a:lnTo>
                  <a:lnTo>
                    <a:pt x="714" y="976"/>
                  </a:lnTo>
                  <a:lnTo>
                    <a:pt x="738" y="1011"/>
                  </a:lnTo>
                  <a:lnTo>
                    <a:pt x="947" y="1074"/>
                  </a:lnTo>
                  <a:lnTo>
                    <a:pt x="941" y="1028"/>
                  </a:lnTo>
                  <a:lnTo>
                    <a:pt x="842" y="952"/>
                  </a:lnTo>
                  <a:lnTo>
                    <a:pt x="825" y="912"/>
                  </a:lnTo>
                  <a:lnTo>
                    <a:pt x="953" y="993"/>
                  </a:lnTo>
                  <a:lnTo>
                    <a:pt x="970" y="946"/>
                  </a:lnTo>
                  <a:lnTo>
                    <a:pt x="918" y="865"/>
                  </a:lnTo>
                  <a:lnTo>
                    <a:pt x="923" y="847"/>
                  </a:lnTo>
                  <a:lnTo>
                    <a:pt x="825" y="772"/>
                  </a:lnTo>
                  <a:lnTo>
                    <a:pt x="842" y="720"/>
                  </a:lnTo>
                  <a:lnTo>
                    <a:pt x="784" y="673"/>
                  </a:lnTo>
                  <a:lnTo>
                    <a:pt x="930" y="714"/>
                  </a:lnTo>
                  <a:lnTo>
                    <a:pt x="930" y="772"/>
                  </a:lnTo>
                  <a:lnTo>
                    <a:pt x="947" y="778"/>
                  </a:lnTo>
                  <a:lnTo>
                    <a:pt x="965" y="702"/>
                  </a:lnTo>
                  <a:lnTo>
                    <a:pt x="987" y="673"/>
                  </a:lnTo>
                  <a:lnTo>
                    <a:pt x="975" y="586"/>
                  </a:lnTo>
                  <a:lnTo>
                    <a:pt x="895" y="580"/>
                  </a:lnTo>
                  <a:lnTo>
                    <a:pt x="860" y="523"/>
                  </a:lnTo>
                  <a:lnTo>
                    <a:pt x="749" y="488"/>
                  </a:lnTo>
                  <a:lnTo>
                    <a:pt x="714" y="435"/>
                  </a:lnTo>
                  <a:lnTo>
                    <a:pt x="738" y="389"/>
                  </a:lnTo>
                  <a:lnTo>
                    <a:pt x="703" y="313"/>
                  </a:lnTo>
                  <a:lnTo>
                    <a:pt x="633" y="284"/>
                  </a:lnTo>
                  <a:lnTo>
                    <a:pt x="539" y="249"/>
                  </a:lnTo>
                  <a:lnTo>
                    <a:pt x="529" y="174"/>
                  </a:lnTo>
                  <a:lnTo>
                    <a:pt x="435" y="197"/>
                  </a:lnTo>
                  <a:lnTo>
                    <a:pt x="412" y="145"/>
                  </a:lnTo>
                  <a:lnTo>
                    <a:pt x="319" y="174"/>
                  </a:lnTo>
                  <a:lnTo>
                    <a:pt x="302" y="104"/>
                  </a:lnTo>
                  <a:lnTo>
                    <a:pt x="382" y="92"/>
                  </a:lnTo>
                  <a:lnTo>
                    <a:pt x="278" y="57"/>
                  </a:lnTo>
                  <a:lnTo>
                    <a:pt x="191" y="63"/>
                  </a:lnTo>
                  <a:lnTo>
                    <a:pt x="168" y="179"/>
                  </a:lnTo>
                  <a:lnTo>
                    <a:pt x="133" y="122"/>
                  </a:lnTo>
                  <a:lnTo>
                    <a:pt x="150" y="5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6" name="Freeform 778"/>
            <p:cNvSpPr>
              <a:spLocks/>
            </p:cNvSpPr>
            <p:nvPr/>
          </p:nvSpPr>
          <p:spPr bwMode="auto">
            <a:xfrm rot="20717457">
              <a:off x="3121683" y="1120601"/>
              <a:ext cx="189791" cy="99908"/>
            </a:xfrm>
            <a:custGeom>
              <a:avLst/>
              <a:gdLst>
                <a:gd name="T0" fmla="*/ 0 w 354"/>
                <a:gd name="T1" fmla="*/ 2147483647 h 227"/>
                <a:gd name="T2" fmla="*/ 2147483647 w 354"/>
                <a:gd name="T3" fmla="*/ 2147483647 h 227"/>
                <a:gd name="T4" fmla="*/ 2147483647 w 354"/>
                <a:gd name="T5" fmla="*/ 2147483647 h 227"/>
                <a:gd name="T6" fmla="*/ 2147483647 w 354"/>
                <a:gd name="T7" fmla="*/ 2147483647 h 227"/>
                <a:gd name="T8" fmla="*/ 2147483647 w 354"/>
                <a:gd name="T9" fmla="*/ 2147483647 h 227"/>
                <a:gd name="T10" fmla="*/ 2147483647 w 354"/>
                <a:gd name="T11" fmla="*/ 2147483647 h 227"/>
                <a:gd name="T12" fmla="*/ 2147483647 w 354"/>
                <a:gd name="T13" fmla="*/ 2147483647 h 227"/>
                <a:gd name="T14" fmla="*/ 0 w 354"/>
                <a:gd name="T15" fmla="*/ 0 h 227"/>
                <a:gd name="T16" fmla="*/ 0 w 354"/>
                <a:gd name="T17" fmla="*/ 2147483647 h 2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4"/>
                <a:gd name="T28" fmla="*/ 0 h 227"/>
                <a:gd name="T29" fmla="*/ 354 w 354"/>
                <a:gd name="T30" fmla="*/ 227 h 2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4" h="227">
                  <a:moveTo>
                    <a:pt x="0" y="41"/>
                  </a:moveTo>
                  <a:lnTo>
                    <a:pt x="52" y="82"/>
                  </a:lnTo>
                  <a:lnTo>
                    <a:pt x="52" y="197"/>
                  </a:lnTo>
                  <a:lnTo>
                    <a:pt x="354" y="227"/>
                  </a:lnTo>
                  <a:lnTo>
                    <a:pt x="354" y="169"/>
                  </a:lnTo>
                  <a:lnTo>
                    <a:pt x="162" y="122"/>
                  </a:lnTo>
                  <a:lnTo>
                    <a:pt x="57" y="18"/>
                  </a:lnTo>
                  <a:lnTo>
                    <a:pt x="0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7" name="Freeform 779"/>
            <p:cNvSpPr>
              <a:spLocks/>
            </p:cNvSpPr>
            <p:nvPr/>
          </p:nvSpPr>
          <p:spPr bwMode="auto">
            <a:xfrm rot="20717457">
              <a:off x="2856973" y="1130592"/>
              <a:ext cx="149834" cy="89916"/>
            </a:xfrm>
            <a:custGeom>
              <a:avLst/>
              <a:gdLst>
                <a:gd name="T0" fmla="*/ 2147483647 w 284"/>
                <a:gd name="T1" fmla="*/ 0 h 185"/>
                <a:gd name="T2" fmla="*/ 2147483647 w 284"/>
                <a:gd name="T3" fmla="*/ 2147483647 h 185"/>
                <a:gd name="T4" fmla="*/ 2147483647 w 284"/>
                <a:gd name="T5" fmla="*/ 2147483647 h 185"/>
                <a:gd name="T6" fmla="*/ 2147483647 w 284"/>
                <a:gd name="T7" fmla="*/ 2147483647 h 185"/>
                <a:gd name="T8" fmla="*/ 2147483647 w 284"/>
                <a:gd name="T9" fmla="*/ 2147483647 h 185"/>
                <a:gd name="T10" fmla="*/ 2147483647 w 284"/>
                <a:gd name="T11" fmla="*/ 2147483647 h 185"/>
                <a:gd name="T12" fmla="*/ 2147483647 w 284"/>
                <a:gd name="T13" fmla="*/ 2147483647 h 185"/>
                <a:gd name="T14" fmla="*/ 0 w 284"/>
                <a:gd name="T15" fmla="*/ 2147483647 h 185"/>
                <a:gd name="T16" fmla="*/ 2147483647 w 284"/>
                <a:gd name="T17" fmla="*/ 0 h 1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4"/>
                <a:gd name="T28" fmla="*/ 0 h 185"/>
                <a:gd name="T29" fmla="*/ 284 w 284"/>
                <a:gd name="T30" fmla="*/ 185 h 18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4" h="185">
                  <a:moveTo>
                    <a:pt x="63" y="0"/>
                  </a:moveTo>
                  <a:lnTo>
                    <a:pt x="202" y="52"/>
                  </a:lnTo>
                  <a:lnTo>
                    <a:pt x="284" y="122"/>
                  </a:lnTo>
                  <a:lnTo>
                    <a:pt x="197" y="185"/>
                  </a:lnTo>
                  <a:lnTo>
                    <a:pt x="110" y="162"/>
                  </a:lnTo>
                  <a:lnTo>
                    <a:pt x="52" y="133"/>
                  </a:lnTo>
                  <a:lnTo>
                    <a:pt x="45" y="92"/>
                  </a:lnTo>
                  <a:lnTo>
                    <a:pt x="0" y="5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8" name="Freeform 780"/>
            <p:cNvSpPr>
              <a:spLocks/>
            </p:cNvSpPr>
            <p:nvPr/>
          </p:nvSpPr>
          <p:spPr bwMode="auto">
            <a:xfrm rot="20717457">
              <a:off x="3016797" y="1150575"/>
              <a:ext cx="64929" cy="69935"/>
            </a:xfrm>
            <a:custGeom>
              <a:avLst/>
              <a:gdLst>
                <a:gd name="T0" fmla="*/ 2147483647 w 127"/>
                <a:gd name="T1" fmla="*/ 0 h 134"/>
                <a:gd name="T2" fmla="*/ 2147483647 w 127"/>
                <a:gd name="T3" fmla="*/ 2147483647 h 134"/>
                <a:gd name="T4" fmla="*/ 0 w 127"/>
                <a:gd name="T5" fmla="*/ 2147483647 h 134"/>
                <a:gd name="T6" fmla="*/ 2147483647 w 127"/>
                <a:gd name="T7" fmla="*/ 2147483647 h 134"/>
                <a:gd name="T8" fmla="*/ 2147483647 w 127"/>
                <a:gd name="T9" fmla="*/ 2147483647 h 134"/>
                <a:gd name="T10" fmla="*/ 2147483647 w 127"/>
                <a:gd name="T11" fmla="*/ 2147483647 h 134"/>
                <a:gd name="T12" fmla="*/ 2147483647 w 127"/>
                <a:gd name="T13" fmla="*/ 2147483647 h 134"/>
                <a:gd name="T14" fmla="*/ 2147483647 w 127"/>
                <a:gd name="T15" fmla="*/ 2147483647 h 134"/>
                <a:gd name="T16" fmla="*/ 2147483647 w 127"/>
                <a:gd name="T17" fmla="*/ 2147483647 h 134"/>
                <a:gd name="T18" fmla="*/ 2147483647 w 127"/>
                <a:gd name="T19" fmla="*/ 0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7"/>
                <a:gd name="T31" fmla="*/ 0 h 134"/>
                <a:gd name="T32" fmla="*/ 127 w 127"/>
                <a:gd name="T33" fmla="*/ 134 h 1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7" h="134">
                  <a:moveTo>
                    <a:pt x="92" y="0"/>
                  </a:moveTo>
                  <a:lnTo>
                    <a:pt x="17" y="24"/>
                  </a:lnTo>
                  <a:lnTo>
                    <a:pt x="0" y="65"/>
                  </a:lnTo>
                  <a:lnTo>
                    <a:pt x="40" y="77"/>
                  </a:lnTo>
                  <a:lnTo>
                    <a:pt x="40" y="117"/>
                  </a:lnTo>
                  <a:lnTo>
                    <a:pt x="98" y="134"/>
                  </a:lnTo>
                  <a:lnTo>
                    <a:pt x="127" y="129"/>
                  </a:lnTo>
                  <a:lnTo>
                    <a:pt x="98" y="77"/>
                  </a:lnTo>
                  <a:lnTo>
                    <a:pt x="127" y="6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79" name="Freeform 781"/>
            <p:cNvSpPr>
              <a:spLocks/>
            </p:cNvSpPr>
            <p:nvPr/>
          </p:nvSpPr>
          <p:spPr bwMode="auto">
            <a:xfrm rot="20717457">
              <a:off x="2797040" y="1145578"/>
              <a:ext cx="24972" cy="19982"/>
            </a:xfrm>
            <a:custGeom>
              <a:avLst/>
              <a:gdLst>
                <a:gd name="T0" fmla="*/ 2147483647 w 47"/>
                <a:gd name="T1" fmla="*/ 0 h 35"/>
                <a:gd name="T2" fmla="*/ 0 w 47"/>
                <a:gd name="T3" fmla="*/ 0 h 35"/>
                <a:gd name="T4" fmla="*/ 2147483647 w 47"/>
                <a:gd name="T5" fmla="*/ 2147483647 h 35"/>
                <a:gd name="T6" fmla="*/ 2147483647 w 47"/>
                <a:gd name="T7" fmla="*/ 2147483647 h 35"/>
                <a:gd name="T8" fmla="*/ 2147483647 w 47"/>
                <a:gd name="T9" fmla="*/ 0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7"/>
                <a:gd name="T16" fmla="*/ 0 h 35"/>
                <a:gd name="T17" fmla="*/ 47 w 47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7" h="35">
                  <a:moveTo>
                    <a:pt x="29" y="0"/>
                  </a:moveTo>
                  <a:lnTo>
                    <a:pt x="0" y="0"/>
                  </a:lnTo>
                  <a:lnTo>
                    <a:pt x="17" y="35"/>
                  </a:lnTo>
                  <a:lnTo>
                    <a:pt x="47" y="23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0" name="Freeform 782"/>
            <p:cNvSpPr>
              <a:spLocks/>
            </p:cNvSpPr>
            <p:nvPr/>
          </p:nvSpPr>
          <p:spPr bwMode="auto">
            <a:xfrm rot="20717457">
              <a:off x="3121683" y="1185542"/>
              <a:ext cx="9990" cy="19982"/>
            </a:xfrm>
            <a:custGeom>
              <a:avLst/>
              <a:gdLst>
                <a:gd name="T0" fmla="*/ 2147483647 w 24"/>
                <a:gd name="T1" fmla="*/ 2147483647 h 41"/>
                <a:gd name="T2" fmla="*/ 2147483647 w 24"/>
                <a:gd name="T3" fmla="*/ 0 h 41"/>
                <a:gd name="T4" fmla="*/ 0 w 24"/>
                <a:gd name="T5" fmla="*/ 2147483647 h 41"/>
                <a:gd name="T6" fmla="*/ 2147483647 w 24"/>
                <a:gd name="T7" fmla="*/ 2147483647 h 41"/>
                <a:gd name="T8" fmla="*/ 2147483647 w 24"/>
                <a:gd name="T9" fmla="*/ 2147483647 h 4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41"/>
                <a:gd name="T17" fmla="*/ 24 w 24"/>
                <a:gd name="T18" fmla="*/ 41 h 4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41">
                  <a:moveTo>
                    <a:pt x="24" y="18"/>
                  </a:moveTo>
                  <a:lnTo>
                    <a:pt x="12" y="0"/>
                  </a:lnTo>
                  <a:lnTo>
                    <a:pt x="0" y="41"/>
                  </a:lnTo>
                  <a:lnTo>
                    <a:pt x="17" y="41"/>
                  </a:lnTo>
                  <a:lnTo>
                    <a:pt x="24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1" name="Freeform 783"/>
            <p:cNvSpPr>
              <a:spLocks/>
            </p:cNvSpPr>
            <p:nvPr/>
          </p:nvSpPr>
          <p:spPr bwMode="auto">
            <a:xfrm rot="20717457">
              <a:off x="3451317" y="1420325"/>
              <a:ext cx="34962" cy="49952"/>
            </a:xfrm>
            <a:custGeom>
              <a:avLst/>
              <a:gdLst>
                <a:gd name="T0" fmla="*/ 2147483647 w 70"/>
                <a:gd name="T1" fmla="*/ 2147483647 h 104"/>
                <a:gd name="T2" fmla="*/ 2147483647 w 70"/>
                <a:gd name="T3" fmla="*/ 2147483647 h 104"/>
                <a:gd name="T4" fmla="*/ 2147483647 w 70"/>
                <a:gd name="T5" fmla="*/ 0 h 104"/>
                <a:gd name="T6" fmla="*/ 2147483647 w 70"/>
                <a:gd name="T7" fmla="*/ 2147483647 h 104"/>
                <a:gd name="T8" fmla="*/ 2147483647 w 70"/>
                <a:gd name="T9" fmla="*/ 2147483647 h 104"/>
                <a:gd name="T10" fmla="*/ 0 w 70"/>
                <a:gd name="T11" fmla="*/ 2147483647 h 104"/>
                <a:gd name="T12" fmla="*/ 2147483647 w 70"/>
                <a:gd name="T13" fmla="*/ 2147483647 h 104"/>
                <a:gd name="T14" fmla="*/ 2147483647 w 70"/>
                <a:gd name="T15" fmla="*/ 2147483647 h 1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0"/>
                <a:gd name="T25" fmla="*/ 0 h 104"/>
                <a:gd name="T26" fmla="*/ 70 w 70"/>
                <a:gd name="T27" fmla="*/ 104 h 1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0" h="104">
                  <a:moveTo>
                    <a:pt x="58" y="92"/>
                  </a:moveTo>
                  <a:lnTo>
                    <a:pt x="70" y="47"/>
                  </a:lnTo>
                  <a:lnTo>
                    <a:pt x="23" y="0"/>
                  </a:lnTo>
                  <a:lnTo>
                    <a:pt x="12" y="12"/>
                  </a:lnTo>
                  <a:lnTo>
                    <a:pt x="17" y="58"/>
                  </a:lnTo>
                  <a:lnTo>
                    <a:pt x="0" y="104"/>
                  </a:lnTo>
                  <a:lnTo>
                    <a:pt x="47" y="104"/>
                  </a:lnTo>
                  <a:lnTo>
                    <a:pt x="58" y="9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2" name="Freeform 784"/>
            <p:cNvSpPr>
              <a:spLocks/>
            </p:cNvSpPr>
            <p:nvPr/>
          </p:nvSpPr>
          <p:spPr bwMode="auto">
            <a:xfrm rot="20717457">
              <a:off x="1628330" y="1060655"/>
              <a:ext cx="819095" cy="834231"/>
            </a:xfrm>
            <a:custGeom>
              <a:avLst/>
              <a:gdLst>
                <a:gd name="T0" fmla="*/ 2147483647 w 1518"/>
                <a:gd name="T1" fmla="*/ 2147483647 h 1801"/>
                <a:gd name="T2" fmla="*/ 2147483647 w 1518"/>
                <a:gd name="T3" fmla="*/ 2147483647 h 1801"/>
                <a:gd name="T4" fmla="*/ 2147483647 w 1518"/>
                <a:gd name="T5" fmla="*/ 2147483647 h 1801"/>
                <a:gd name="T6" fmla="*/ 2147483647 w 1518"/>
                <a:gd name="T7" fmla="*/ 2147483647 h 1801"/>
                <a:gd name="T8" fmla="*/ 2147483647 w 1518"/>
                <a:gd name="T9" fmla="*/ 2147483647 h 1801"/>
                <a:gd name="T10" fmla="*/ 2147483647 w 1518"/>
                <a:gd name="T11" fmla="*/ 2147483647 h 1801"/>
                <a:gd name="T12" fmla="*/ 2147483647 w 1518"/>
                <a:gd name="T13" fmla="*/ 2147483647 h 1801"/>
                <a:gd name="T14" fmla="*/ 2147483647 w 1518"/>
                <a:gd name="T15" fmla="*/ 2147483647 h 1801"/>
                <a:gd name="T16" fmla="*/ 2147483647 w 1518"/>
                <a:gd name="T17" fmla="*/ 2147483647 h 1801"/>
                <a:gd name="T18" fmla="*/ 2147483647 w 1518"/>
                <a:gd name="T19" fmla="*/ 2147483647 h 1801"/>
                <a:gd name="T20" fmla="*/ 2147483647 w 1518"/>
                <a:gd name="T21" fmla="*/ 2147483647 h 1801"/>
                <a:gd name="T22" fmla="*/ 2147483647 w 1518"/>
                <a:gd name="T23" fmla="*/ 2147483647 h 1801"/>
                <a:gd name="T24" fmla="*/ 2147483647 w 1518"/>
                <a:gd name="T25" fmla="*/ 2147483647 h 1801"/>
                <a:gd name="T26" fmla="*/ 2147483647 w 1518"/>
                <a:gd name="T27" fmla="*/ 2147483647 h 1801"/>
                <a:gd name="T28" fmla="*/ 2147483647 w 1518"/>
                <a:gd name="T29" fmla="*/ 0 h 1801"/>
                <a:gd name="T30" fmla="*/ 2147483647 w 1518"/>
                <a:gd name="T31" fmla="*/ 2147483647 h 1801"/>
                <a:gd name="T32" fmla="*/ 2147483647 w 1518"/>
                <a:gd name="T33" fmla="*/ 2147483647 h 1801"/>
                <a:gd name="T34" fmla="*/ 2147483647 w 1518"/>
                <a:gd name="T35" fmla="*/ 2147483647 h 1801"/>
                <a:gd name="T36" fmla="*/ 2147483647 w 1518"/>
                <a:gd name="T37" fmla="*/ 2147483647 h 1801"/>
                <a:gd name="T38" fmla="*/ 2147483647 w 1518"/>
                <a:gd name="T39" fmla="*/ 2147483647 h 1801"/>
                <a:gd name="T40" fmla="*/ 2147483647 w 1518"/>
                <a:gd name="T41" fmla="*/ 2147483647 h 1801"/>
                <a:gd name="T42" fmla="*/ 2147483647 w 1518"/>
                <a:gd name="T43" fmla="*/ 2147483647 h 1801"/>
                <a:gd name="T44" fmla="*/ 2147483647 w 1518"/>
                <a:gd name="T45" fmla="*/ 2147483647 h 1801"/>
                <a:gd name="T46" fmla="*/ 2147483647 w 1518"/>
                <a:gd name="T47" fmla="*/ 2147483647 h 1801"/>
                <a:gd name="T48" fmla="*/ 2147483647 w 1518"/>
                <a:gd name="T49" fmla="*/ 2147483647 h 1801"/>
                <a:gd name="T50" fmla="*/ 2147483647 w 1518"/>
                <a:gd name="T51" fmla="*/ 2147483647 h 1801"/>
                <a:gd name="T52" fmla="*/ 2147483647 w 1518"/>
                <a:gd name="T53" fmla="*/ 2147483647 h 1801"/>
                <a:gd name="T54" fmla="*/ 2147483647 w 1518"/>
                <a:gd name="T55" fmla="*/ 2147483647 h 1801"/>
                <a:gd name="T56" fmla="*/ 2147483647 w 1518"/>
                <a:gd name="T57" fmla="*/ 2147483647 h 1801"/>
                <a:gd name="T58" fmla="*/ 2147483647 w 1518"/>
                <a:gd name="T59" fmla="*/ 2147483647 h 1801"/>
                <a:gd name="T60" fmla="*/ 2147483647 w 1518"/>
                <a:gd name="T61" fmla="*/ 2147483647 h 1801"/>
                <a:gd name="T62" fmla="*/ 2147483647 w 1518"/>
                <a:gd name="T63" fmla="*/ 2147483647 h 1801"/>
                <a:gd name="T64" fmla="*/ 2147483647 w 1518"/>
                <a:gd name="T65" fmla="*/ 2147483647 h 1801"/>
                <a:gd name="T66" fmla="*/ 2147483647 w 1518"/>
                <a:gd name="T67" fmla="*/ 2147483647 h 1801"/>
                <a:gd name="T68" fmla="*/ 0 w 1518"/>
                <a:gd name="T69" fmla="*/ 2147483647 h 1801"/>
                <a:gd name="T70" fmla="*/ 2147483647 w 1518"/>
                <a:gd name="T71" fmla="*/ 2147483647 h 1801"/>
                <a:gd name="T72" fmla="*/ 2147483647 w 1518"/>
                <a:gd name="T73" fmla="*/ 2147483647 h 1801"/>
                <a:gd name="T74" fmla="*/ 2147483647 w 1518"/>
                <a:gd name="T75" fmla="*/ 2147483647 h 1801"/>
                <a:gd name="T76" fmla="*/ 2147483647 w 1518"/>
                <a:gd name="T77" fmla="*/ 2147483647 h 1801"/>
                <a:gd name="T78" fmla="*/ 2147483647 w 1518"/>
                <a:gd name="T79" fmla="*/ 2147483647 h 1801"/>
                <a:gd name="T80" fmla="*/ 2147483647 w 1518"/>
                <a:gd name="T81" fmla="*/ 2147483647 h 1801"/>
                <a:gd name="T82" fmla="*/ 2147483647 w 1518"/>
                <a:gd name="T83" fmla="*/ 2147483647 h 1801"/>
                <a:gd name="T84" fmla="*/ 2147483647 w 1518"/>
                <a:gd name="T85" fmla="*/ 2147483647 h 1801"/>
                <a:gd name="T86" fmla="*/ 2147483647 w 1518"/>
                <a:gd name="T87" fmla="*/ 2147483647 h 1801"/>
                <a:gd name="T88" fmla="*/ 2147483647 w 1518"/>
                <a:gd name="T89" fmla="*/ 2147483647 h 1801"/>
                <a:gd name="T90" fmla="*/ 2147483647 w 1518"/>
                <a:gd name="T91" fmla="*/ 2147483647 h 1801"/>
                <a:gd name="T92" fmla="*/ 2147483647 w 1518"/>
                <a:gd name="T93" fmla="*/ 2147483647 h 1801"/>
                <a:gd name="T94" fmla="*/ 2147483647 w 1518"/>
                <a:gd name="T95" fmla="*/ 2147483647 h 1801"/>
                <a:gd name="T96" fmla="*/ 2147483647 w 1518"/>
                <a:gd name="T97" fmla="*/ 2147483647 h 1801"/>
                <a:gd name="T98" fmla="*/ 2147483647 w 1518"/>
                <a:gd name="T99" fmla="*/ 2147483647 h 1801"/>
                <a:gd name="T100" fmla="*/ 2147483647 w 1518"/>
                <a:gd name="T101" fmla="*/ 2147483647 h 1801"/>
                <a:gd name="T102" fmla="*/ 2147483647 w 1518"/>
                <a:gd name="T103" fmla="*/ 2147483647 h 1801"/>
                <a:gd name="T104" fmla="*/ 2147483647 w 1518"/>
                <a:gd name="T105" fmla="*/ 2147483647 h 180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18"/>
                <a:gd name="T160" fmla="*/ 0 h 1801"/>
                <a:gd name="T161" fmla="*/ 1518 w 1518"/>
                <a:gd name="T162" fmla="*/ 1801 h 180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18" h="1801">
                  <a:moveTo>
                    <a:pt x="762" y="1801"/>
                  </a:moveTo>
                  <a:lnTo>
                    <a:pt x="907" y="1766"/>
                  </a:lnTo>
                  <a:lnTo>
                    <a:pt x="937" y="1301"/>
                  </a:lnTo>
                  <a:lnTo>
                    <a:pt x="872" y="1254"/>
                  </a:lnTo>
                  <a:lnTo>
                    <a:pt x="855" y="1150"/>
                  </a:lnTo>
                  <a:lnTo>
                    <a:pt x="919" y="1011"/>
                  </a:lnTo>
                  <a:lnTo>
                    <a:pt x="1518" y="604"/>
                  </a:lnTo>
                  <a:lnTo>
                    <a:pt x="1506" y="546"/>
                  </a:lnTo>
                  <a:lnTo>
                    <a:pt x="1436" y="465"/>
                  </a:lnTo>
                  <a:lnTo>
                    <a:pt x="1436" y="407"/>
                  </a:lnTo>
                  <a:lnTo>
                    <a:pt x="1378" y="325"/>
                  </a:lnTo>
                  <a:lnTo>
                    <a:pt x="1395" y="210"/>
                  </a:lnTo>
                  <a:lnTo>
                    <a:pt x="1326" y="122"/>
                  </a:lnTo>
                  <a:lnTo>
                    <a:pt x="1151" y="105"/>
                  </a:lnTo>
                  <a:lnTo>
                    <a:pt x="1047" y="0"/>
                  </a:lnTo>
                  <a:lnTo>
                    <a:pt x="907" y="151"/>
                  </a:lnTo>
                  <a:lnTo>
                    <a:pt x="919" y="180"/>
                  </a:lnTo>
                  <a:lnTo>
                    <a:pt x="867" y="215"/>
                  </a:lnTo>
                  <a:lnTo>
                    <a:pt x="843" y="175"/>
                  </a:lnTo>
                  <a:lnTo>
                    <a:pt x="849" y="110"/>
                  </a:lnTo>
                  <a:lnTo>
                    <a:pt x="803" y="29"/>
                  </a:lnTo>
                  <a:lnTo>
                    <a:pt x="703" y="58"/>
                  </a:lnTo>
                  <a:lnTo>
                    <a:pt x="663" y="180"/>
                  </a:lnTo>
                  <a:lnTo>
                    <a:pt x="698" y="255"/>
                  </a:lnTo>
                  <a:lnTo>
                    <a:pt x="651" y="267"/>
                  </a:lnTo>
                  <a:lnTo>
                    <a:pt x="471" y="163"/>
                  </a:lnTo>
                  <a:lnTo>
                    <a:pt x="267" y="279"/>
                  </a:lnTo>
                  <a:lnTo>
                    <a:pt x="256" y="372"/>
                  </a:lnTo>
                  <a:lnTo>
                    <a:pt x="291" y="384"/>
                  </a:lnTo>
                  <a:lnTo>
                    <a:pt x="198" y="447"/>
                  </a:lnTo>
                  <a:lnTo>
                    <a:pt x="262" y="477"/>
                  </a:lnTo>
                  <a:lnTo>
                    <a:pt x="232" y="541"/>
                  </a:lnTo>
                  <a:lnTo>
                    <a:pt x="297" y="628"/>
                  </a:lnTo>
                  <a:lnTo>
                    <a:pt x="7" y="611"/>
                  </a:lnTo>
                  <a:lnTo>
                    <a:pt x="0" y="639"/>
                  </a:lnTo>
                  <a:lnTo>
                    <a:pt x="344" y="721"/>
                  </a:lnTo>
                  <a:lnTo>
                    <a:pt x="546" y="738"/>
                  </a:lnTo>
                  <a:lnTo>
                    <a:pt x="454" y="802"/>
                  </a:lnTo>
                  <a:lnTo>
                    <a:pt x="511" y="872"/>
                  </a:lnTo>
                  <a:lnTo>
                    <a:pt x="623" y="872"/>
                  </a:lnTo>
                  <a:lnTo>
                    <a:pt x="640" y="808"/>
                  </a:lnTo>
                  <a:lnTo>
                    <a:pt x="686" y="843"/>
                  </a:lnTo>
                  <a:lnTo>
                    <a:pt x="668" y="912"/>
                  </a:lnTo>
                  <a:lnTo>
                    <a:pt x="698" y="924"/>
                  </a:lnTo>
                  <a:lnTo>
                    <a:pt x="698" y="994"/>
                  </a:lnTo>
                  <a:lnTo>
                    <a:pt x="762" y="1075"/>
                  </a:lnTo>
                  <a:lnTo>
                    <a:pt x="780" y="1167"/>
                  </a:lnTo>
                  <a:lnTo>
                    <a:pt x="762" y="1237"/>
                  </a:lnTo>
                  <a:lnTo>
                    <a:pt x="797" y="1336"/>
                  </a:lnTo>
                  <a:lnTo>
                    <a:pt x="843" y="1366"/>
                  </a:lnTo>
                  <a:lnTo>
                    <a:pt x="872" y="1411"/>
                  </a:lnTo>
                  <a:lnTo>
                    <a:pt x="780" y="1603"/>
                  </a:lnTo>
                  <a:lnTo>
                    <a:pt x="762" y="180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3" name="Freeform 785"/>
            <p:cNvSpPr>
              <a:spLocks/>
            </p:cNvSpPr>
            <p:nvPr/>
          </p:nvSpPr>
          <p:spPr bwMode="auto">
            <a:xfrm rot="20717457">
              <a:off x="2137768" y="1065651"/>
              <a:ext cx="2017771" cy="1518605"/>
            </a:xfrm>
            <a:custGeom>
              <a:avLst/>
              <a:gdLst>
                <a:gd name="T0" fmla="*/ 2147483647 w 3724"/>
                <a:gd name="T1" fmla="*/ 2147483647 h 3264"/>
                <a:gd name="T2" fmla="*/ 2147483647 w 3724"/>
                <a:gd name="T3" fmla="*/ 2147483647 h 3264"/>
                <a:gd name="T4" fmla="*/ 2147483647 w 3724"/>
                <a:gd name="T5" fmla="*/ 2147483647 h 3264"/>
                <a:gd name="T6" fmla="*/ 2147483647 w 3724"/>
                <a:gd name="T7" fmla="*/ 2147483647 h 3264"/>
                <a:gd name="T8" fmla="*/ 2147483647 w 3724"/>
                <a:gd name="T9" fmla="*/ 2147483647 h 3264"/>
                <a:gd name="T10" fmla="*/ 2147483647 w 3724"/>
                <a:gd name="T11" fmla="*/ 2147483647 h 3264"/>
                <a:gd name="T12" fmla="*/ 2147483647 w 3724"/>
                <a:gd name="T13" fmla="*/ 2147483647 h 3264"/>
                <a:gd name="T14" fmla="*/ 2147483647 w 3724"/>
                <a:gd name="T15" fmla="*/ 2147483647 h 3264"/>
                <a:gd name="T16" fmla="*/ 2147483647 w 3724"/>
                <a:gd name="T17" fmla="*/ 2147483647 h 3264"/>
                <a:gd name="T18" fmla="*/ 2147483647 w 3724"/>
                <a:gd name="T19" fmla="*/ 2147483647 h 3264"/>
                <a:gd name="T20" fmla="*/ 2147483647 w 3724"/>
                <a:gd name="T21" fmla="*/ 2147483647 h 3264"/>
                <a:gd name="T22" fmla="*/ 2147483647 w 3724"/>
                <a:gd name="T23" fmla="*/ 2147483647 h 3264"/>
                <a:gd name="T24" fmla="*/ 2147483647 w 3724"/>
                <a:gd name="T25" fmla="*/ 2147483647 h 3264"/>
                <a:gd name="T26" fmla="*/ 2147483647 w 3724"/>
                <a:gd name="T27" fmla="*/ 2147483647 h 3264"/>
                <a:gd name="T28" fmla="*/ 2147483647 w 3724"/>
                <a:gd name="T29" fmla="*/ 2147483647 h 3264"/>
                <a:gd name="T30" fmla="*/ 2147483647 w 3724"/>
                <a:gd name="T31" fmla="*/ 2147483647 h 3264"/>
                <a:gd name="T32" fmla="*/ 2147483647 w 3724"/>
                <a:gd name="T33" fmla="*/ 2147483647 h 3264"/>
                <a:gd name="T34" fmla="*/ 2147483647 w 3724"/>
                <a:gd name="T35" fmla="*/ 2147483647 h 3264"/>
                <a:gd name="T36" fmla="*/ 2147483647 w 3724"/>
                <a:gd name="T37" fmla="*/ 2147483647 h 3264"/>
                <a:gd name="T38" fmla="*/ 2147483647 w 3724"/>
                <a:gd name="T39" fmla="*/ 2147483647 h 3264"/>
                <a:gd name="T40" fmla="*/ 2147483647 w 3724"/>
                <a:gd name="T41" fmla="*/ 2147483647 h 3264"/>
                <a:gd name="T42" fmla="*/ 2147483647 w 3724"/>
                <a:gd name="T43" fmla="*/ 2147483647 h 3264"/>
                <a:gd name="T44" fmla="*/ 2147483647 w 3724"/>
                <a:gd name="T45" fmla="*/ 2147483647 h 3264"/>
                <a:gd name="T46" fmla="*/ 2147483647 w 3724"/>
                <a:gd name="T47" fmla="*/ 2147483647 h 3264"/>
                <a:gd name="T48" fmla="*/ 2147483647 w 3724"/>
                <a:gd name="T49" fmla="*/ 2147483647 h 3264"/>
                <a:gd name="T50" fmla="*/ 2147483647 w 3724"/>
                <a:gd name="T51" fmla="*/ 2147483647 h 3264"/>
                <a:gd name="T52" fmla="*/ 2147483647 w 3724"/>
                <a:gd name="T53" fmla="*/ 2147483647 h 3264"/>
                <a:gd name="T54" fmla="*/ 2147483647 w 3724"/>
                <a:gd name="T55" fmla="*/ 2147483647 h 3264"/>
                <a:gd name="T56" fmla="*/ 2147483647 w 3724"/>
                <a:gd name="T57" fmla="*/ 2147483647 h 3264"/>
                <a:gd name="T58" fmla="*/ 2147483647 w 3724"/>
                <a:gd name="T59" fmla="*/ 2147483647 h 3264"/>
                <a:gd name="T60" fmla="*/ 2147483647 w 3724"/>
                <a:gd name="T61" fmla="*/ 2147483647 h 3264"/>
                <a:gd name="T62" fmla="*/ 2147483647 w 3724"/>
                <a:gd name="T63" fmla="*/ 2147483647 h 3264"/>
                <a:gd name="T64" fmla="*/ 2147483647 w 3724"/>
                <a:gd name="T65" fmla="*/ 2147483647 h 3264"/>
                <a:gd name="T66" fmla="*/ 2147483647 w 3724"/>
                <a:gd name="T67" fmla="*/ 2147483647 h 3264"/>
                <a:gd name="T68" fmla="*/ 2147483647 w 3724"/>
                <a:gd name="T69" fmla="*/ 2147483647 h 3264"/>
                <a:gd name="T70" fmla="*/ 2147483647 w 3724"/>
                <a:gd name="T71" fmla="*/ 2147483647 h 3264"/>
                <a:gd name="T72" fmla="*/ 2147483647 w 3724"/>
                <a:gd name="T73" fmla="*/ 2147483647 h 3264"/>
                <a:gd name="T74" fmla="*/ 2147483647 w 3724"/>
                <a:gd name="T75" fmla="*/ 2147483647 h 3264"/>
                <a:gd name="T76" fmla="*/ 2147483647 w 3724"/>
                <a:gd name="T77" fmla="*/ 2147483647 h 3264"/>
                <a:gd name="T78" fmla="*/ 2147483647 w 3724"/>
                <a:gd name="T79" fmla="*/ 2147483647 h 3264"/>
                <a:gd name="T80" fmla="*/ 2147483647 w 3724"/>
                <a:gd name="T81" fmla="*/ 2147483647 h 3264"/>
                <a:gd name="T82" fmla="*/ 2147483647 w 3724"/>
                <a:gd name="T83" fmla="*/ 2147483647 h 3264"/>
                <a:gd name="T84" fmla="*/ 2147483647 w 3724"/>
                <a:gd name="T85" fmla="*/ 2147483647 h 3264"/>
                <a:gd name="T86" fmla="*/ 2147483647 w 3724"/>
                <a:gd name="T87" fmla="*/ 2147483647 h 3264"/>
                <a:gd name="T88" fmla="*/ 2147483647 w 3724"/>
                <a:gd name="T89" fmla="*/ 2147483647 h 3264"/>
                <a:gd name="T90" fmla="*/ 2147483647 w 3724"/>
                <a:gd name="T91" fmla="*/ 2147483647 h 3264"/>
                <a:gd name="T92" fmla="*/ 2147483647 w 3724"/>
                <a:gd name="T93" fmla="*/ 2147483647 h 3264"/>
                <a:gd name="T94" fmla="*/ 2147483647 w 3724"/>
                <a:gd name="T95" fmla="*/ 2147483647 h 3264"/>
                <a:gd name="T96" fmla="*/ 2147483647 w 3724"/>
                <a:gd name="T97" fmla="*/ 2147483647 h 3264"/>
                <a:gd name="T98" fmla="*/ 2147483647 w 3724"/>
                <a:gd name="T99" fmla="*/ 2147483647 h 3264"/>
                <a:gd name="T100" fmla="*/ 2147483647 w 3724"/>
                <a:gd name="T101" fmla="*/ 2147483647 h 326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24"/>
                <a:gd name="T154" fmla="*/ 0 h 3264"/>
                <a:gd name="T155" fmla="*/ 3724 w 3724"/>
                <a:gd name="T156" fmla="*/ 3264 h 326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24" h="3264">
                  <a:moveTo>
                    <a:pt x="3248" y="3056"/>
                  </a:moveTo>
                  <a:lnTo>
                    <a:pt x="3196" y="3049"/>
                  </a:lnTo>
                  <a:lnTo>
                    <a:pt x="3150" y="2968"/>
                  </a:lnTo>
                  <a:lnTo>
                    <a:pt x="3185" y="2904"/>
                  </a:lnTo>
                  <a:lnTo>
                    <a:pt x="3190" y="2887"/>
                  </a:lnTo>
                  <a:lnTo>
                    <a:pt x="3115" y="2881"/>
                  </a:lnTo>
                  <a:lnTo>
                    <a:pt x="2981" y="3026"/>
                  </a:lnTo>
                  <a:lnTo>
                    <a:pt x="2795" y="3061"/>
                  </a:lnTo>
                  <a:lnTo>
                    <a:pt x="2662" y="3131"/>
                  </a:lnTo>
                  <a:lnTo>
                    <a:pt x="2574" y="3096"/>
                  </a:lnTo>
                  <a:lnTo>
                    <a:pt x="2470" y="3212"/>
                  </a:lnTo>
                  <a:lnTo>
                    <a:pt x="2278" y="3264"/>
                  </a:lnTo>
                  <a:lnTo>
                    <a:pt x="2237" y="3264"/>
                  </a:lnTo>
                  <a:lnTo>
                    <a:pt x="2266" y="3212"/>
                  </a:lnTo>
                  <a:lnTo>
                    <a:pt x="2359" y="3148"/>
                  </a:lnTo>
                  <a:lnTo>
                    <a:pt x="2365" y="3078"/>
                  </a:lnTo>
                  <a:lnTo>
                    <a:pt x="2400" y="3148"/>
                  </a:lnTo>
                  <a:lnTo>
                    <a:pt x="2435" y="3166"/>
                  </a:lnTo>
                  <a:lnTo>
                    <a:pt x="2428" y="3026"/>
                  </a:lnTo>
                  <a:lnTo>
                    <a:pt x="2226" y="2916"/>
                  </a:lnTo>
                  <a:lnTo>
                    <a:pt x="2168" y="2800"/>
                  </a:lnTo>
                  <a:lnTo>
                    <a:pt x="2104" y="2695"/>
                  </a:lnTo>
                  <a:lnTo>
                    <a:pt x="2004" y="2637"/>
                  </a:lnTo>
                  <a:lnTo>
                    <a:pt x="1894" y="2678"/>
                  </a:lnTo>
                  <a:lnTo>
                    <a:pt x="1069" y="2352"/>
                  </a:lnTo>
                  <a:lnTo>
                    <a:pt x="506" y="2073"/>
                  </a:lnTo>
                  <a:lnTo>
                    <a:pt x="46" y="1823"/>
                  </a:lnTo>
                  <a:lnTo>
                    <a:pt x="17" y="1725"/>
                  </a:lnTo>
                  <a:lnTo>
                    <a:pt x="5" y="1656"/>
                  </a:lnTo>
                  <a:lnTo>
                    <a:pt x="35" y="1586"/>
                  </a:lnTo>
                  <a:lnTo>
                    <a:pt x="0" y="1551"/>
                  </a:lnTo>
                  <a:lnTo>
                    <a:pt x="70" y="1300"/>
                  </a:lnTo>
                  <a:lnTo>
                    <a:pt x="46" y="1260"/>
                  </a:lnTo>
                  <a:lnTo>
                    <a:pt x="58" y="1185"/>
                  </a:lnTo>
                  <a:lnTo>
                    <a:pt x="192" y="1173"/>
                  </a:lnTo>
                  <a:lnTo>
                    <a:pt x="227" y="708"/>
                  </a:lnTo>
                  <a:lnTo>
                    <a:pt x="162" y="650"/>
                  </a:lnTo>
                  <a:lnTo>
                    <a:pt x="145" y="545"/>
                  </a:lnTo>
                  <a:lnTo>
                    <a:pt x="209" y="418"/>
                  </a:lnTo>
                  <a:lnTo>
                    <a:pt x="808" y="0"/>
                  </a:lnTo>
                  <a:lnTo>
                    <a:pt x="848" y="151"/>
                  </a:lnTo>
                  <a:lnTo>
                    <a:pt x="1028" y="197"/>
                  </a:lnTo>
                  <a:lnTo>
                    <a:pt x="1045" y="266"/>
                  </a:lnTo>
                  <a:lnTo>
                    <a:pt x="1139" y="244"/>
                  </a:lnTo>
                  <a:lnTo>
                    <a:pt x="1156" y="273"/>
                  </a:lnTo>
                  <a:lnTo>
                    <a:pt x="1115" y="331"/>
                  </a:lnTo>
                  <a:lnTo>
                    <a:pt x="1174" y="360"/>
                  </a:lnTo>
                  <a:lnTo>
                    <a:pt x="1284" y="446"/>
                  </a:lnTo>
                  <a:lnTo>
                    <a:pt x="1301" y="540"/>
                  </a:lnTo>
                  <a:lnTo>
                    <a:pt x="1394" y="575"/>
                  </a:lnTo>
                  <a:lnTo>
                    <a:pt x="1359" y="621"/>
                  </a:lnTo>
                  <a:lnTo>
                    <a:pt x="1366" y="662"/>
                  </a:lnTo>
                  <a:lnTo>
                    <a:pt x="1534" y="743"/>
                  </a:lnTo>
                  <a:lnTo>
                    <a:pt x="1545" y="807"/>
                  </a:lnTo>
                  <a:lnTo>
                    <a:pt x="1627" y="801"/>
                  </a:lnTo>
                  <a:lnTo>
                    <a:pt x="1603" y="732"/>
                  </a:lnTo>
                  <a:lnTo>
                    <a:pt x="1697" y="767"/>
                  </a:lnTo>
                  <a:lnTo>
                    <a:pt x="1807" y="894"/>
                  </a:lnTo>
                  <a:lnTo>
                    <a:pt x="1859" y="854"/>
                  </a:lnTo>
                  <a:lnTo>
                    <a:pt x="1847" y="801"/>
                  </a:lnTo>
                  <a:lnTo>
                    <a:pt x="1859" y="767"/>
                  </a:lnTo>
                  <a:lnTo>
                    <a:pt x="1935" y="772"/>
                  </a:lnTo>
                  <a:lnTo>
                    <a:pt x="1952" y="801"/>
                  </a:lnTo>
                  <a:lnTo>
                    <a:pt x="1929" y="941"/>
                  </a:lnTo>
                  <a:lnTo>
                    <a:pt x="1947" y="946"/>
                  </a:lnTo>
                  <a:lnTo>
                    <a:pt x="1970" y="911"/>
                  </a:lnTo>
                  <a:lnTo>
                    <a:pt x="2016" y="917"/>
                  </a:lnTo>
                  <a:lnTo>
                    <a:pt x="2011" y="882"/>
                  </a:lnTo>
                  <a:lnTo>
                    <a:pt x="2051" y="836"/>
                  </a:lnTo>
                  <a:lnTo>
                    <a:pt x="1987" y="714"/>
                  </a:lnTo>
                  <a:lnTo>
                    <a:pt x="2039" y="633"/>
                  </a:lnTo>
                  <a:lnTo>
                    <a:pt x="2074" y="645"/>
                  </a:lnTo>
                  <a:lnTo>
                    <a:pt x="2126" y="737"/>
                  </a:lnTo>
                  <a:lnTo>
                    <a:pt x="2109" y="777"/>
                  </a:lnTo>
                  <a:lnTo>
                    <a:pt x="2126" y="894"/>
                  </a:lnTo>
                  <a:lnTo>
                    <a:pt x="2196" y="894"/>
                  </a:lnTo>
                  <a:lnTo>
                    <a:pt x="2226" y="911"/>
                  </a:lnTo>
                  <a:lnTo>
                    <a:pt x="2214" y="952"/>
                  </a:lnTo>
                  <a:lnTo>
                    <a:pt x="2243" y="1028"/>
                  </a:lnTo>
                  <a:lnTo>
                    <a:pt x="2341" y="941"/>
                  </a:lnTo>
                  <a:lnTo>
                    <a:pt x="2330" y="854"/>
                  </a:lnTo>
                  <a:lnTo>
                    <a:pt x="2423" y="882"/>
                  </a:lnTo>
                  <a:lnTo>
                    <a:pt x="2446" y="1045"/>
                  </a:lnTo>
                  <a:lnTo>
                    <a:pt x="2400" y="1138"/>
                  </a:lnTo>
                  <a:lnTo>
                    <a:pt x="2278" y="1121"/>
                  </a:lnTo>
                  <a:lnTo>
                    <a:pt x="2226" y="1178"/>
                  </a:lnTo>
                  <a:lnTo>
                    <a:pt x="2144" y="1178"/>
                  </a:lnTo>
                  <a:lnTo>
                    <a:pt x="2184" y="1225"/>
                  </a:lnTo>
                  <a:lnTo>
                    <a:pt x="2138" y="1300"/>
                  </a:lnTo>
                  <a:lnTo>
                    <a:pt x="2098" y="1290"/>
                  </a:lnTo>
                  <a:lnTo>
                    <a:pt x="2081" y="1318"/>
                  </a:lnTo>
                  <a:lnTo>
                    <a:pt x="2028" y="1324"/>
                  </a:lnTo>
                  <a:lnTo>
                    <a:pt x="2039" y="1370"/>
                  </a:lnTo>
                  <a:lnTo>
                    <a:pt x="1859" y="1499"/>
                  </a:lnTo>
                  <a:lnTo>
                    <a:pt x="1772" y="1644"/>
                  </a:lnTo>
                  <a:lnTo>
                    <a:pt x="1871" y="1748"/>
                  </a:lnTo>
                  <a:lnTo>
                    <a:pt x="1871" y="1858"/>
                  </a:lnTo>
                  <a:lnTo>
                    <a:pt x="2069" y="1933"/>
                  </a:lnTo>
                  <a:lnTo>
                    <a:pt x="2219" y="2085"/>
                  </a:lnTo>
                  <a:lnTo>
                    <a:pt x="2353" y="2114"/>
                  </a:lnTo>
                  <a:lnTo>
                    <a:pt x="2324" y="2195"/>
                  </a:lnTo>
                  <a:lnTo>
                    <a:pt x="2400" y="2219"/>
                  </a:lnTo>
                  <a:lnTo>
                    <a:pt x="2365" y="2306"/>
                  </a:lnTo>
                  <a:lnTo>
                    <a:pt x="2463" y="2445"/>
                  </a:lnTo>
                  <a:lnTo>
                    <a:pt x="2545" y="2434"/>
                  </a:lnTo>
                  <a:lnTo>
                    <a:pt x="2550" y="2311"/>
                  </a:lnTo>
                  <a:lnTo>
                    <a:pt x="2458" y="2230"/>
                  </a:lnTo>
                  <a:lnTo>
                    <a:pt x="2481" y="2149"/>
                  </a:lnTo>
                  <a:lnTo>
                    <a:pt x="2597" y="2055"/>
                  </a:lnTo>
                  <a:lnTo>
                    <a:pt x="2562" y="1858"/>
                  </a:lnTo>
                  <a:lnTo>
                    <a:pt x="2510" y="1841"/>
                  </a:lnTo>
                  <a:lnTo>
                    <a:pt x="2516" y="1783"/>
                  </a:lnTo>
                  <a:lnTo>
                    <a:pt x="2585" y="1713"/>
                  </a:lnTo>
                  <a:lnTo>
                    <a:pt x="2562" y="1661"/>
                  </a:lnTo>
                  <a:lnTo>
                    <a:pt x="2557" y="1510"/>
                  </a:lnTo>
                  <a:lnTo>
                    <a:pt x="2697" y="1527"/>
                  </a:lnTo>
                  <a:lnTo>
                    <a:pt x="2766" y="1504"/>
                  </a:lnTo>
                  <a:lnTo>
                    <a:pt x="2847" y="1562"/>
                  </a:lnTo>
                  <a:lnTo>
                    <a:pt x="2864" y="1603"/>
                  </a:lnTo>
                  <a:lnTo>
                    <a:pt x="2964" y="1684"/>
                  </a:lnTo>
                  <a:lnTo>
                    <a:pt x="2981" y="1812"/>
                  </a:lnTo>
                  <a:lnTo>
                    <a:pt x="3028" y="1841"/>
                  </a:lnTo>
                  <a:lnTo>
                    <a:pt x="3091" y="1853"/>
                  </a:lnTo>
                  <a:lnTo>
                    <a:pt x="3150" y="1708"/>
                  </a:lnTo>
                  <a:lnTo>
                    <a:pt x="3255" y="1864"/>
                  </a:lnTo>
                  <a:lnTo>
                    <a:pt x="3342" y="1899"/>
                  </a:lnTo>
                  <a:lnTo>
                    <a:pt x="3335" y="1975"/>
                  </a:lnTo>
                  <a:lnTo>
                    <a:pt x="3429" y="2090"/>
                  </a:lnTo>
                  <a:lnTo>
                    <a:pt x="3614" y="2090"/>
                  </a:lnTo>
                  <a:lnTo>
                    <a:pt x="3661" y="2132"/>
                  </a:lnTo>
                  <a:lnTo>
                    <a:pt x="3667" y="2224"/>
                  </a:lnTo>
                  <a:lnTo>
                    <a:pt x="3724" y="2299"/>
                  </a:lnTo>
                  <a:lnTo>
                    <a:pt x="3724" y="2352"/>
                  </a:lnTo>
                  <a:lnTo>
                    <a:pt x="3679" y="2376"/>
                  </a:lnTo>
                  <a:lnTo>
                    <a:pt x="3586" y="2498"/>
                  </a:lnTo>
                  <a:lnTo>
                    <a:pt x="3446" y="2544"/>
                  </a:lnTo>
                  <a:lnTo>
                    <a:pt x="3272" y="2550"/>
                  </a:lnTo>
                  <a:lnTo>
                    <a:pt x="3138" y="2695"/>
                  </a:lnTo>
                  <a:lnTo>
                    <a:pt x="3033" y="2753"/>
                  </a:lnTo>
                  <a:lnTo>
                    <a:pt x="2969" y="2834"/>
                  </a:lnTo>
                  <a:lnTo>
                    <a:pt x="3074" y="2829"/>
                  </a:lnTo>
                  <a:lnTo>
                    <a:pt x="3255" y="2678"/>
                  </a:lnTo>
                  <a:lnTo>
                    <a:pt x="3272" y="2666"/>
                  </a:lnTo>
                  <a:lnTo>
                    <a:pt x="3335" y="2707"/>
                  </a:lnTo>
                  <a:lnTo>
                    <a:pt x="3370" y="2759"/>
                  </a:lnTo>
                  <a:lnTo>
                    <a:pt x="3312" y="2800"/>
                  </a:lnTo>
                  <a:lnTo>
                    <a:pt x="3347" y="2805"/>
                  </a:lnTo>
                  <a:lnTo>
                    <a:pt x="3342" y="2881"/>
                  </a:lnTo>
                  <a:lnTo>
                    <a:pt x="3562" y="2956"/>
                  </a:lnTo>
                  <a:lnTo>
                    <a:pt x="3469" y="3014"/>
                  </a:lnTo>
                  <a:lnTo>
                    <a:pt x="3347" y="3160"/>
                  </a:lnTo>
                  <a:lnTo>
                    <a:pt x="3312" y="3108"/>
                  </a:lnTo>
                  <a:lnTo>
                    <a:pt x="3370" y="3009"/>
                  </a:lnTo>
                  <a:lnTo>
                    <a:pt x="3272" y="3044"/>
                  </a:lnTo>
                  <a:lnTo>
                    <a:pt x="3248" y="305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4" name="Freeform 786"/>
            <p:cNvSpPr>
              <a:spLocks/>
            </p:cNvSpPr>
            <p:nvPr/>
          </p:nvSpPr>
          <p:spPr bwMode="auto">
            <a:xfrm rot="20717457">
              <a:off x="2057855" y="1929856"/>
              <a:ext cx="2047738" cy="1388721"/>
            </a:xfrm>
            <a:custGeom>
              <a:avLst/>
              <a:gdLst>
                <a:gd name="T0" fmla="*/ 2147483647 w 3767"/>
                <a:gd name="T1" fmla="*/ 2147483647 h 2992"/>
                <a:gd name="T2" fmla="*/ 2147483647 w 3767"/>
                <a:gd name="T3" fmla="*/ 2147483647 h 2992"/>
                <a:gd name="T4" fmla="*/ 2147483647 w 3767"/>
                <a:gd name="T5" fmla="*/ 2147483647 h 2992"/>
                <a:gd name="T6" fmla="*/ 2147483647 w 3767"/>
                <a:gd name="T7" fmla="*/ 2147483647 h 2992"/>
                <a:gd name="T8" fmla="*/ 0 w 3767"/>
                <a:gd name="T9" fmla="*/ 2147483647 h 2992"/>
                <a:gd name="T10" fmla="*/ 2147483647 w 3767"/>
                <a:gd name="T11" fmla="*/ 2147483647 h 2992"/>
                <a:gd name="T12" fmla="*/ 2147483647 w 3767"/>
                <a:gd name="T13" fmla="*/ 2147483647 h 2992"/>
                <a:gd name="T14" fmla="*/ 2147483647 w 3767"/>
                <a:gd name="T15" fmla="*/ 2147483647 h 2992"/>
                <a:gd name="T16" fmla="*/ 2147483647 w 3767"/>
                <a:gd name="T17" fmla="*/ 2147483647 h 2992"/>
                <a:gd name="T18" fmla="*/ 2147483647 w 3767"/>
                <a:gd name="T19" fmla="*/ 2147483647 h 2992"/>
                <a:gd name="T20" fmla="*/ 2147483647 w 3767"/>
                <a:gd name="T21" fmla="*/ 2147483647 h 2992"/>
                <a:gd name="T22" fmla="*/ 2147483647 w 3767"/>
                <a:gd name="T23" fmla="*/ 2147483647 h 2992"/>
                <a:gd name="T24" fmla="*/ 2147483647 w 3767"/>
                <a:gd name="T25" fmla="*/ 2147483647 h 2992"/>
                <a:gd name="T26" fmla="*/ 2147483647 w 3767"/>
                <a:gd name="T27" fmla="*/ 2147483647 h 2992"/>
                <a:gd name="T28" fmla="*/ 2147483647 w 3767"/>
                <a:gd name="T29" fmla="*/ 2147483647 h 2992"/>
                <a:gd name="T30" fmla="*/ 2147483647 w 3767"/>
                <a:gd name="T31" fmla="*/ 2147483647 h 2992"/>
                <a:gd name="T32" fmla="*/ 2147483647 w 3767"/>
                <a:gd name="T33" fmla="*/ 2147483647 h 2992"/>
                <a:gd name="T34" fmla="*/ 2147483647 w 3767"/>
                <a:gd name="T35" fmla="*/ 2147483647 h 2992"/>
                <a:gd name="T36" fmla="*/ 2147483647 w 3767"/>
                <a:gd name="T37" fmla="*/ 2147483647 h 2992"/>
                <a:gd name="T38" fmla="*/ 2147483647 w 3767"/>
                <a:gd name="T39" fmla="*/ 2147483647 h 2992"/>
                <a:gd name="T40" fmla="*/ 2147483647 w 3767"/>
                <a:gd name="T41" fmla="*/ 2147483647 h 2992"/>
                <a:gd name="T42" fmla="*/ 2147483647 w 3767"/>
                <a:gd name="T43" fmla="*/ 2147483647 h 2992"/>
                <a:gd name="T44" fmla="*/ 2147483647 w 3767"/>
                <a:gd name="T45" fmla="*/ 2147483647 h 2992"/>
                <a:gd name="T46" fmla="*/ 2147483647 w 3767"/>
                <a:gd name="T47" fmla="*/ 2147483647 h 2992"/>
                <a:gd name="T48" fmla="*/ 2147483647 w 3767"/>
                <a:gd name="T49" fmla="*/ 2147483647 h 2992"/>
                <a:gd name="T50" fmla="*/ 2147483647 w 3767"/>
                <a:gd name="T51" fmla="*/ 2147483647 h 2992"/>
                <a:gd name="T52" fmla="*/ 2147483647 w 3767"/>
                <a:gd name="T53" fmla="*/ 2147483647 h 2992"/>
                <a:gd name="T54" fmla="*/ 2147483647 w 3767"/>
                <a:gd name="T55" fmla="*/ 2147483647 h 2992"/>
                <a:gd name="T56" fmla="*/ 2147483647 w 3767"/>
                <a:gd name="T57" fmla="*/ 2147483647 h 2992"/>
                <a:gd name="T58" fmla="*/ 2147483647 w 3767"/>
                <a:gd name="T59" fmla="*/ 2147483647 h 2992"/>
                <a:gd name="T60" fmla="*/ 2147483647 w 3767"/>
                <a:gd name="T61" fmla="*/ 2147483647 h 2992"/>
                <a:gd name="T62" fmla="*/ 2147483647 w 3767"/>
                <a:gd name="T63" fmla="*/ 2147483647 h 2992"/>
                <a:gd name="T64" fmla="*/ 2147483647 w 3767"/>
                <a:gd name="T65" fmla="*/ 2147483647 h 2992"/>
                <a:gd name="T66" fmla="*/ 2147483647 w 3767"/>
                <a:gd name="T67" fmla="*/ 2147483647 h 2992"/>
                <a:gd name="T68" fmla="*/ 2147483647 w 3767"/>
                <a:gd name="T69" fmla="*/ 2147483647 h 2992"/>
                <a:gd name="T70" fmla="*/ 2147483647 w 3767"/>
                <a:gd name="T71" fmla="*/ 2147483647 h 2992"/>
                <a:gd name="T72" fmla="*/ 2147483647 w 3767"/>
                <a:gd name="T73" fmla="*/ 2147483647 h 2992"/>
                <a:gd name="T74" fmla="*/ 2147483647 w 3767"/>
                <a:gd name="T75" fmla="*/ 2147483647 h 2992"/>
                <a:gd name="T76" fmla="*/ 2147483647 w 3767"/>
                <a:gd name="T77" fmla="*/ 2147483647 h 2992"/>
                <a:gd name="T78" fmla="*/ 2147483647 w 3767"/>
                <a:gd name="T79" fmla="*/ 2147483647 h 2992"/>
                <a:gd name="T80" fmla="*/ 2147483647 w 3767"/>
                <a:gd name="T81" fmla="*/ 2147483647 h 2992"/>
                <a:gd name="T82" fmla="*/ 2147483647 w 3767"/>
                <a:gd name="T83" fmla="*/ 2147483647 h 2992"/>
                <a:gd name="T84" fmla="*/ 2147483647 w 3767"/>
                <a:gd name="T85" fmla="*/ 2147483647 h 2992"/>
                <a:gd name="T86" fmla="*/ 2147483647 w 3767"/>
                <a:gd name="T87" fmla="*/ 2147483647 h 2992"/>
                <a:gd name="T88" fmla="*/ 2147483647 w 3767"/>
                <a:gd name="T89" fmla="*/ 2147483647 h 2992"/>
                <a:gd name="T90" fmla="*/ 2147483647 w 3767"/>
                <a:gd name="T91" fmla="*/ 2147483647 h 2992"/>
                <a:gd name="T92" fmla="*/ 2147483647 w 3767"/>
                <a:gd name="T93" fmla="*/ 2147483647 h 2992"/>
                <a:gd name="T94" fmla="*/ 2147483647 w 3767"/>
                <a:gd name="T95" fmla="*/ 2147483647 h 2992"/>
                <a:gd name="T96" fmla="*/ 2147483647 w 3767"/>
                <a:gd name="T97" fmla="*/ 2147483647 h 2992"/>
                <a:gd name="T98" fmla="*/ 2147483647 w 3767"/>
                <a:gd name="T99" fmla="*/ 2147483647 h 2992"/>
                <a:gd name="T100" fmla="*/ 2147483647 w 3767"/>
                <a:gd name="T101" fmla="*/ 2147483647 h 2992"/>
                <a:gd name="T102" fmla="*/ 2147483647 w 3767"/>
                <a:gd name="T103" fmla="*/ 2147483647 h 2992"/>
                <a:gd name="T104" fmla="*/ 2147483647 w 3767"/>
                <a:gd name="T105" fmla="*/ 2147483647 h 2992"/>
                <a:gd name="T106" fmla="*/ 2147483647 w 3767"/>
                <a:gd name="T107" fmla="*/ 2147483647 h 2992"/>
                <a:gd name="T108" fmla="*/ 2147483647 w 3767"/>
                <a:gd name="T109" fmla="*/ 2147483647 h 2992"/>
                <a:gd name="T110" fmla="*/ 2147483647 w 3767"/>
                <a:gd name="T111" fmla="*/ 2147483647 h 2992"/>
                <a:gd name="T112" fmla="*/ 2147483647 w 3767"/>
                <a:gd name="T113" fmla="*/ 2147483647 h 2992"/>
                <a:gd name="T114" fmla="*/ 2147483647 w 3767"/>
                <a:gd name="T115" fmla="*/ 2147483647 h 2992"/>
                <a:gd name="T116" fmla="*/ 2147483647 w 3767"/>
                <a:gd name="T117" fmla="*/ 2147483647 h 2992"/>
                <a:gd name="T118" fmla="*/ 2147483647 w 3767"/>
                <a:gd name="T119" fmla="*/ 2147483647 h 29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67"/>
                <a:gd name="T181" fmla="*/ 0 h 2992"/>
                <a:gd name="T182" fmla="*/ 3767 w 3767"/>
                <a:gd name="T183" fmla="*/ 2992 h 29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67" h="2992">
                  <a:moveTo>
                    <a:pt x="570" y="59"/>
                  </a:moveTo>
                  <a:lnTo>
                    <a:pt x="505" y="52"/>
                  </a:lnTo>
                  <a:lnTo>
                    <a:pt x="425" y="0"/>
                  </a:lnTo>
                  <a:lnTo>
                    <a:pt x="413" y="140"/>
                  </a:lnTo>
                  <a:lnTo>
                    <a:pt x="296" y="314"/>
                  </a:lnTo>
                  <a:lnTo>
                    <a:pt x="174" y="361"/>
                  </a:lnTo>
                  <a:lnTo>
                    <a:pt x="157" y="465"/>
                  </a:lnTo>
                  <a:lnTo>
                    <a:pt x="69" y="535"/>
                  </a:lnTo>
                  <a:lnTo>
                    <a:pt x="12" y="802"/>
                  </a:lnTo>
                  <a:lnTo>
                    <a:pt x="0" y="1116"/>
                  </a:lnTo>
                  <a:lnTo>
                    <a:pt x="122" y="1302"/>
                  </a:lnTo>
                  <a:lnTo>
                    <a:pt x="128" y="1360"/>
                  </a:lnTo>
                  <a:lnTo>
                    <a:pt x="320" y="1487"/>
                  </a:lnTo>
                  <a:lnTo>
                    <a:pt x="442" y="1726"/>
                  </a:lnTo>
                  <a:lnTo>
                    <a:pt x="697" y="1830"/>
                  </a:lnTo>
                  <a:lnTo>
                    <a:pt x="709" y="1796"/>
                  </a:lnTo>
                  <a:lnTo>
                    <a:pt x="831" y="1836"/>
                  </a:lnTo>
                  <a:lnTo>
                    <a:pt x="896" y="1946"/>
                  </a:lnTo>
                  <a:lnTo>
                    <a:pt x="906" y="2080"/>
                  </a:lnTo>
                  <a:lnTo>
                    <a:pt x="959" y="2162"/>
                  </a:lnTo>
                  <a:lnTo>
                    <a:pt x="1116" y="2162"/>
                  </a:lnTo>
                  <a:lnTo>
                    <a:pt x="1180" y="2423"/>
                  </a:lnTo>
                  <a:lnTo>
                    <a:pt x="1255" y="2551"/>
                  </a:lnTo>
                  <a:lnTo>
                    <a:pt x="1320" y="2591"/>
                  </a:lnTo>
                  <a:lnTo>
                    <a:pt x="1372" y="2399"/>
                  </a:lnTo>
                  <a:lnTo>
                    <a:pt x="1424" y="2353"/>
                  </a:lnTo>
                  <a:lnTo>
                    <a:pt x="1703" y="2336"/>
                  </a:lnTo>
                  <a:lnTo>
                    <a:pt x="1766" y="2376"/>
                  </a:lnTo>
                  <a:lnTo>
                    <a:pt x="1790" y="2388"/>
                  </a:lnTo>
                  <a:lnTo>
                    <a:pt x="1848" y="2382"/>
                  </a:lnTo>
                  <a:lnTo>
                    <a:pt x="1878" y="2429"/>
                  </a:lnTo>
                  <a:lnTo>
                    <a:pt x="1918" y="2446"/>
                  </a:lnTo>
                  <a:lnTo>
                    <a:pt x="1941" y="2486"/>
                  </a:lnTo>
                  <a:lnTo>
                    <a:pt x="2000" y="2458"/>
                  </a:lnTo>
                  <a:lnTo>
                    <a:pt x="2028" y="2486"/>
                  </a:lnTo>
                  <a:lnTo>
                    <a:pt x="2063" y="2481"/>
                  </a:lnTo>
                  <a:lnTo>
                    <a:pt x="2046" y="2399"/>
                  </a:lnTo>
                  <a:lnTo>
                    <a:pt x="2185" y="2429"/>
                  </a:lnTo>
                  <a:lnTo>
                    <a:pt x="2232" y="2406"/>
                  </a:lnTo>
                  <a:lnTo>
                    <a:pt x="2307" y="2434"/>
                  </a:lnTo>
                  <a:lnTo>
                    <a:pt x="2325" y="2481"/>
                  </a:lnTo>
                  <a:lnTo>
                    <a:pt x="2499" y="2528"/>
                  </a:lnTo>
                  <a:lnTo>
                    <a:pt x="2569" y="2591"/>
                  </a:lnTo>
                  <a:lnTo>
                    <a:pt x="2540" y="2765"/>
                  </a:lnTo>
                  <a:lnTo>
                    <a:pt x="2586" y="2789"/>
                  </a:lnTo>
                  <a:lnTo>
                    <a:pt x="2604" y="2882"/>
                  </a:lnTo>
                  <a:lnTo>
                    <a:pt x="2633" y="2962"/>
                  </a:lnTo>
                  <a:lnTo>
                    <a:pt x="2628" y="2992"/>
                  </a:lnTo>
                  <a:lnTo>
                    <a:pt x="2708" y="2945"/>
                  </a:lnTo>
                  <a:lnTo>
                    <a:pt x="2743" y="2830"/>
                  </a:lnTo>
                  <a:lnTo>
                    <a:pt x="2696" y="2516"/>
                  </a:lnTo>
                  <a:lnTo>
                    <a:pt x="2731" y="2382"/>
                  </a:lnTo>
                  <a:lnTo>
                    <a:pt x="3069" y="2173"/>
                  </a:lnTo>
                  <a:lnTo>
                    <a:pt x="3121" y="2085"/>
                  </a:lnTo>
                  <a:lnTo>
                    <a:pt x="3197" y="2068"/>
                  </a:lnTo>
                  <a:lnTo>
                    <a:pt x="3121" y="1918"/>
                  </a:lnTo>
                  <a:lnTo>
                    <a:pt x="3127" y="1859"/>
                  </a:lnTo>
                  <a:lnTo>
                    <a:pt x="3150" y="1906"/>
                  </a:lnTo>
                  <a:lnTo>
                    <a:pt x="3179" y="1888"/>
                  </a:lnTo>
                  <a:lnTo>
                    <a:pt x="3197" y="1818"/>
                  </a:lnTo>
                  <a:lnTo>
                    <a:pt x="3307" y="1719"/>
                  </a:lnTo>
                  <a:lnTo>
                    <a:pt x="3331" y="1644"/>
                  </a:lnTo>
                  <a:lnTo>
                    <a:pt x="3505" y="1604"/>
                  </a:lnTo>
                  <a:lnTo>
                    <a:pt x="3586" y="1505"/>
                  </a:lnTo>
                  <a:lnTo>
                    <a:pt x="3540" y="1510"/>
                  </a:lnTo>
                  <a:lnTo>
                    <a:pt x="3533" y="1475"/>
                  </a:lnTo>
                  <a:lnTo>
                    <a:pt x="3690" y="1330"/>
                  </a:lnTo>
                  <a:lnTo>
                    <a:pt x="3732" y="1337"/>
                  </a:lnTo>
                  <a:lnTo>
                    <a:pt x="3767" y="1285"/>
                  </a:lnTo>
                  <a:lnTo>
                    <a:pt x="3714" y="1273"/>
                  </a:lnTo>
                  <a:lnTo>
                    <a:pt x="3662" y="1197"/>
                  </a:lnTo>
                  <a:lnTo>
                    <a:pt x="3708" y="1116"/>
                  </a:lnTo>
                  <a:lnTo>
                    <a:pt x="3627" y="1104"/>
                  </a:lnTo>
                  <a:lnTo>
                    <a:pt x="3488" y="1255"/>
                  </a:lnTo>
                  <a:lnTo>
                    <a:pt x="3307" y="1290"/>
                  </a:lnTo>
                  <a:lnTo>
                    <a:pt x="3174" y="1360"/>
                  </a:lnTo>
                  <a:lnTo>
                    <a:pt x="3156" y="1430"/>
                  </a:lnTo>
                  <a:lnTo>
                    <a:pt x="3086" y="1458"/>
                  </a:lnTo>
                  <a:lnTo>
                    <a:pt x="3017" y="1470"/>
                  </a:lnTo>
                  <a:lnTo>
                    <a:pt x="2912" y="1552"/>
                  </a:lnTo>
                  <a:lnTo>
                    <a:pt x="2818" y="1580"/>
                  </a:lnTo>
                  <a:lnTo>
                    <a:pt x="2738" y="1528"/>
                  </a:lnTo>
                  <a:lnTo>
                    <a:pt x="2731" y="1505"/>
                  </a:lnTo>
                  <a:lnTo>
                    <a:pt x="2749" y="1493"/>
                  </a:lnTo>
                  <a:lnTo>
                    <a:pt x="2778" y="1435"/>
                  </a:lnTo>
                  <a:lnTo>
                    <a:pt x="2731" y="1430"/>
                  </a:lnTo>
                  <a:lnTo>
                    <a:pt x="2714" y="1424"/>
                  </a:lnTo>
                  <a:lnTo>
                    <a:pt x="2714" y="1360"/>
                  </a:lnTo>
                  <a:lnTo>
                    <a:pt x="2645" y="1395"/>
                  </a:lnTo>
                  <a:lnTo>
                    <a:pt x="2621" y="1348"/>
                  </a:lnTo>
                  <a:lnTo>
                    <a:pt x="2703" y="1285"/>
                  </a:lnTo>
                  <a:lnTo>
                    <a:pt x="2673" y="1197"/>
                  </a:lnTo>
                  <a:lnTo>
                    <a:pt x="2638" y="1185"/>
                  </a:lnTo>
                  <a:lnTo>
                    <a:pt x="2610" y="1173"/>
                  </a:lnTo>
                  <a:lnTo>
                    <a:pt x="2523" y="1238"/>
                  </a:lnTo>
                  <a:lnTo>
                    <a:pt x="2482" y="1337"/>
                  </a:lnTo>
                  <a:lnTo>
                    <a:pt x="2488" y="1424"/>
                  </a:lnTo>
                  <a:lnTo>
                    <a:pt x="2453" y="1470"/>
                  </a:lnTo>
                  <a:lnTo>
                    <a:pt x="2389" y="1505"/>
                  </a:lnTo>
                  <a:lnTo>
                    <a:pt x="2314" y="1424"/>
                  </a:lnTo>
                  <a:lnTo>
                    <a:pt x="2366" y="1278"/>
                  </a:lnTo>
                  <a:lnTo>
                    <a:pt x="2429" y="1220"/>
                  </a:lnTo>
                  <a:lnTo>
                    <a:pt x="2394" y="1208"/>
                  </a:lnTo>
                  <a:lnTo>
                    <a:pt x="2406" y="1163"/>
                  </a:lnTo>
                  <a:lnTo>
                    <a:pt x="2528" y="1110"/>
                  </a:lnTo>
                  <a:lnTo>
                    <a:pt x="2656" y="1151"/>
                  </a:lnTo>
                  <a:lnTo>
                    <a:pt x="2569" y="1063"/>
                  </a:lnTo>
                  <a:lnTo>
                    <a:pt x="2499" y="1075"/>
                  </a:lnTo>
                  <a:lnTo>
                    <a:pt x="2441" y="1034"/>
                  </a:lnTo>
                  <a:lnTo>
                    <a:pt x="2476" y="1034"/>
                  </a:lnTo>
                  <a:lnTo>
                    <a:pt x="2436" y="976"/>
                  </a:lnTo>
                  <a:lnTo>
                    <a:pt x="2296" y="1046"/>
                  </a:lnTo>
                  <a:lnTo>
                    <a:pt x="2220" y="1017"/>
                  </a:lnTo>
                  <a:lnTo>
                    <a:pt x="2197" y="1034"/>
                  </a:lnTo>
                  <a:lnTo>
                    <a:pt x="2145" y="1017"/>
                  </a:lnTo>
                  <a:lnTo>
                    <a:pt x="2272" y="936"/>
                  </a:lnTo>
                  <a:lnTo>
                    <a:pt x="2406" y="907"/>
                  </a:lnTo>
                  <a:lnTo>
                    <a:pt x="1616" y="587"/>
                  </a:lnTo>
                  <a:lnTo>
                    <a:pt x="1023" y="302"/>
                  </a:lnTo>
                  <a:lnTo>
                    <a:pt x="570" y="59"/>
                  </a:lnTo>
                  <a:close/>
                </a:path>
              </a:pathLst>
            </a:custGeom>
            <a:solidFill>
              <a:srgbClr val="FFBC04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5" name="Freeform 787"/>
            <p:cNvSpPr>
              <a:spLocks/>
            </p:cNvSpPr>
            <p:nvPr/>
          </p:nvSpPr>
          <p:spPr bwMode="auto">
            <a:xfrm rot="20717457">
              <a:off x="2232663" y="2659187"/>
              <a:ext cx="1073815" cy="1054030"/>
            </a:xfrm>
            <a:custGeom>
              <a:avLst/>
              <a:gdLst>
                <a:gd name="T0" fmla="*/ 2147483647 w 1976"/>
                <a:gd name="T1" fmla="*/ 2147483647 h 2259"/>
                <a:gd name="T2" fmla="*/ 2147483647 w 1976"/>
                <a:gd name="T3" fmla="*/ 2147483647 h 2259"/>
                <a:gd name="T4" fmla="*/ 0 w 1976"/>
                <a:gd name="T5" fmla="*/ 2147483647 h 2259"/>
                <a:gd name="T6" fmla="*/ 2147483647 w 1976"/>
                <a:gd name="T7" fmla="*/ 2147483647 h 2259"/>
                <a:gd name="T8" fmla="*/ 2147483647 w 1976"/>
                <a:gd name="T9" fmla="*/ 2147483647 h 2259"/>
                <a:gd name="T10" fmla="*/ 2147483647 w 1976"/>
                <a:gd name="T11" fmla="*/ 2147483647 h 2259"/>
                <a:gd name="T12" fmla="*/ 2147483647 w 1976"/>
                <a:gd name="T13" fmla="*/ 2147483647 h 2259"/>
                <a:gd name="T14" fmla="*/ 2147483647 w 1976"/>
                <a:gd name="T15" fmla="*/ 2147483647 h 2259"/>
                <a:gd name="T16" fmla="*/ 2147483647 w 1976"/>
                <a:gd name="T17" fmla="*/ 2147483647 h 2259"/>
                <a:gd name="T18" fmla="*/ 2147483647 w 1976"/>
                <a:gd name="T19" fmla="*/ 2147483647 h 2259"/>
                <a:gd name="T20" fmla="*/ 2147483647 w 1976"/>
                <a:gd name="T21" fmla="*/ 2147483647 h 2259"/>
                <a:gd name="T22" fmla="*/ 2147483647 w 1976"/>
                <a:gd name="T23" fmla="*/ 2147483647 h 2259"/>
                <a:gd name="T24" fmla="*/ 2147483647 w 1976"/>
                <a:gd name="T25" fmla="*/ 2147483647 h 2259"/>
                <a:gd name="T26" fmla="*/ 2147483647 w 1976"/>
                <a:gd name="T27" fmla="*/ 2147483647 h 2259"/>
                <a:gd name="T28" fmla="*/ 2147483647 w 1976"/>
                <a:gd name="T29" fmla="*/ 2147483647 h 2259"/>
                <a:gd name="T30" fmla="*/ 2147483647 w 1976"/>
                <a:gd name="T31" fmla="*/ 2147483647 h 2259"/>
                <a:gd name="T32" fmla="*/ 2147483647 w 1976"/>
                <a:gd name="T33" fmla="*/ 2147483647 h 2259"/>
                <a:gd name="T34" fmla="*/ 2147483647 w 1976"/>
                <a:gd name="T35" fmla="*/ 2147483647 h 2259"/>
                <a:gd name="T36" fmla="*/ 2147483647 w 1976"/>
                <a:gd name="T37" fmla="*/ 2147483647 h 2259"/>
                <a:gd name="T38" fmla="*/ 2147483647 w 1976"/>
                <a:gd name="T39" fmla="*/ 2147483647 h 2259"/>
                <a:gd name="T40" fmla="*/ 2147483647 w 1976"/>
                <a:gd name="T41" fmla="*/ 2147483647 h 2259"/>
                <a:gd name="T42" fmla="*/ 2147483647 w 1976"/>
                <a:gd name="T43" fmla="*/ 2147483647 h 2259"/>
                <a:gd name="T44" fmla="*/ 2147483647 w 1976"/>
                <a:gd name="T45" fmla="*/ 2147483647 h 2259"/>
                <a:gd name="T46" fmla="*/ 2147483647 w 1976"/>
                <a:gd name="T47" fmla="*/ 2147483647 h 2259"/>
                <a:gd name="T48" fmla="*/ 2147483647 w 1976"/>
                <a:gd name="T49" fmla="*/ 2147483647 h 2259"/>
                <a:gd name="T50" fmla="*/ 2147483647 w 1976"/>
                <a:gd name="T51" fmla="*/ 2147483647 h 2259"/>
                <a:gd name="T52" fmla="*/ 2147483647 w 1976"/>
                <a:gd name="T53" fmla="*/ 2147483647 h 2259"/>
                <a:gd name="T54" fmla="*/ 2147483647 w 1976"/>
                <a:gd name="T55" fmla="*/ 2147483647 h 2259"/>
                <a:gd name="T56" fmla="*/ 2147483647 w 1976"/>
                <a:gd name="T57" fmla="*/ 2147483647 h 2259"/>
                <a:gd name="T58" fmla="*/ 2147483647 w 1976"/>
                <a:gd name="T59" fmla="*/ 2147483647 h 2259"/>
                <a:gd name="T60" fmla="*/ 2147483647 w 1976"/>
                <a:gd name="T61" fmla="*/ 2147483647 h 2259"/>
                <a:gd name="T62" fmla="*/ 2147483647 w 1976"/>
                <a:gd name="T63" fmla="*/ 2147483647 h 2259"/>
                <a:gd name="T64" fmla="*/ 2147483647 w 1976"/>
                <a:gd name="T65" fmla="*/ 2147483647 h 2259"/>
                <a:gd name="T66" fmla="*/ 2147483647 w 1976"/>
                <a:gd name="T67" fmla="*/ 2147483647 h 2259"/>
                <a:gd name="T68" fmla="*/ 2147483647 w 1976"/>
                <a:gd name="T69" fmla="*/ 2147483647 h 2259"/>
                <a:gd name="T70" fmla="*/ 2147483647 w 1976"/>
                <a:gd name="T71" fmla="*/ 0 h 225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976"/>
                <a:gd name="T109" fmla="*/ 0 h 2259"/>
                <a:gd name="T110" fmla="*/ 1976 w 1976"/>
                <a:gd name="T111" fmla="*/ 2259 h 225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976" h="2259">
                  <a:moveTo>
                    <a:pt x="47" y="0"/>
                  </a:moveTo>
                  <a:lnTo>
                    <a:pt x="47" y="40"/>
                  </a:lnTo>
                  <a:lnTo>
                    <a:pt x="18" y="122"/>
                  </a:lnTo>
                  <a:lnTo>
                    <a:pt x="105" y="453"/>
                  </a:lnTo>
                  <a:lnTo>
                    <a:pt x="65" y="499"/>
                  </a:lnTo>
                  <a:lnTo>
                    <a:pt x="0" y="453"/>
                  </a:lnTo>
                  <a:lnTo>
                    <a:pt x="47" y="633"/>
                  </a:lnTo>
                  <a:lnTo>
                    <a:pt x="82" y="645"/>
                  </a:lnTo>
                  <a:lnTo>
                    <a:pt x="128" y="720"/>
                  </a:lnTo>
                  <a:lnTo>
                    <a:pt x="76" y="847"/>
                  </a:lnTo>
                  <a:lnTo>
                    <a:pt x="198" y="1063"/>
                  </a:lnTo>
                  <a:lnTo>
                    <a:pt x="222" y="959"/>
                  </a:lnTo>
                  <a:lnTo>
                    <a:pt x="180" y="900"/>
                  </a:lnTo>
                  <a:lnTo>
                    <a:pt x="187" y="802"/>
                  </a:lnTo>
                  <a:lnTo>
                    <a:pt x="140" y="580"/>
                  </a:lnTo>
                  <a:lnTo>
                    <a:pt x="180" y="488"/>
                  </a:lnTo>
                  <a:lnTo>
                    <a:pt x="117" y="359"/>
                  </a:lnTo>
                  <a:lnTo>
                    <a:pt x="152" y="214"/>
                  </a:lnTo>
                  <a:lnTo>
                    <a:pt x="187" y="232"/>
                  </a:lnTo>
                  <a:lnTo>
                    <a:pt x="250" y="307"/>
                  </a:lnTo>
                  <a:lnTo>
                    <a:pt x="285" y="603"/>
                  </a:lnTo>
                  <a:lnTo>
                    <a:pt x="326" y="627"/>
                  </a:lnTo>
                  <a:lnTo>
                    <a:pt x="302" y="703"/>
                  </a:lnTo>
                  <a:lnTo>
                    <a:pt x="332" y="795"/>
                  </a:lnTo>
                  <a:lnTo>
                    <a:pt x="372" y="807"/>
                  </a:lnTo>
                  <a:lnTo>
                    <a:pt x="332" y="859"/>
                  </a:lnTo>
                  <a:lnTo>
                    <a:pt x="407" y="935"/>
                  </a:lnTo>
                  <a:lnTo>
                    <a:pt x="506" y="1290"/>
                  </a:lnTo>
                  <a:lnTo>
                    <a:pt x="396" y="1423"/>
                  </a:lnTo>
                  <a:lnTo>
                    <a:pt x="524" y="1667"/>
                  </a:lnTo>
                  <a:lnTo>
                    <a:pt x="634" y="1731"/>
                  </a:lnTo>
                  <a:lnTo>
                    <a:pt x="762" y="1853"/>
                  </a:lnTo>
                  <a:lnTo>
                    <a:pt x="1070" y="2050"/>
                  </a:lnTo>
                  <a:lnTo>
                    <a:pt x="1244" y="2073"/>
                  </a:lnTo>
                  <a:lnTo>
                    <a:pt x="1343" y="2143"/>
                  </a:lnTo>
                  <a:lnTo>
                    <a:pt x="1378" y="2259"/>
                  </a:lnTo>
                  <a:lnTo>
                    <a:pt x="1406" y="2213"/>
                  </a:lnTo>
                  <a:lnTo>
                    <a:pt x="1605" y="2167"/>
                  </a:lnTo>
                  <a:lnTo>
                    <a:pt x="1558" y="2091"/>
                  </a:lnTo>
                  <a:lnTo>
                    <a:pt x="1616" y="2033"/>
                  </a:lnTo>
                  <a:lnTo>
                    <a:pt x="1709" y="2068"/>
                  </a:lnTo>
                  <a:lnTo>
                    <a:pt x="1779" y="2062"/>
                  </a:lnTo>
                  <a:lnTo>
                    <a:pt x="1837" y="2085"/>
                  </a:lnTo>
                  <a:lnTo>
                    <a:pt x="1866" y="2033"/>
                  </a:lnTo>
                  <a:lnTo>
                    <a:pt x="1912" y="1998"/>
                  </a:lnTo>
                  <a:lnTo>
                    <a:pt x="1912" y="1923"/>
                  </a:lnTo>
                  <a:lnTo>
                    <a:pt x="1976" y="1864"/>
                  </a:lnTo>
                  <a:lnTo>
                    <a:pt x="1971" y="1783"/>
                  </a:lnTo>
                  <a:lnTo>
                    <a:pt x="1895" y="1754"/>
                  </a:lnTo>
                  <a:lnTo>
                    <a:pt x="1720" y="1783"/>
                  </a:lnTo>
                  <a:lnTo>
                    <a:pt x="1663" y="1905"/>
                  </a:lnTo>
                  <a:lnTo>
                    <a:pt x="1598" y="1958"/>
                  </a:lnTo>
                  <a:lnTo>
                    <a:pt x="1465" y="1911"/>
                  </a:lnTo>
                  <a:lnTo>
                    <a:pt x="1372" y="1916"/>
                  </a:lnTo>
                  <a:lnTo>
                    <a:pt x="1181" y="1812"/>
                  </a:lnTo>
                  <a:lnTo>
                    <a:pt x="1128" y="1748"/>
                  </a:lnTo>
                  <a:lnTo>
                    <a:pt x="1169" y="1602"/>
                  </a:lnTo>
                  <a:lnTo>
                    <a:pt x="1099" y="1498"/>
                  </a:lnTo>
                  <a:lnTo>
                    <a:pt x="1139" y="1365"/>
                  </a:lnTo>
                  <a:lnTo>
                    <a:pt x="1215" y="1307"/>
                  </a:lnTo>
                  <a:lnTo>
                    <a:pt x="1244" y="1225"/>
                  </a:lnTo>
                  <a:lnTo>
                    <a:pt x="1128" y="1103"/>
                  </a:lnTo>
                  <a:lnTo>
                    <a:pt x="1029" y="795"/>
                  </a:lnTo>
                  <a:lnTo>
                    <a:pt x="884" y="802"/>
                  </a:lnTo>
                  <a:lnTo>
                    <a:pt x="825" y="725"/>
                  </a:lnTo>
                  <a:lnTo>
                    <a:pt x="815" y="586"/>
                  </a:lnTo>
                  <a:lnTo>
                    <a:pt x="750" y="476"/>
                  </a:lnTo>
                  <a:lnTo>
                    <a:pt x="628" y="436"/>
                  </a:lnTo>
                  <a:lnTo>
                    <a:pt x="616" y="470"/>
                  </a:lnTo>
                  <a:lnTo>
                    <a:pt x="367" y="366"/>
                  </a:lnTo>
                  <a:lnTo>
                    <a:pt x="239" y="127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6" name="Freeform 788"/>
            <p:cNvSpPr>
              <a:spLocks/>
            </p:cNvSpPr>
            <p:nvPr/>
          </p:nvSpPr>
          <p:spPr bwMode="auto">
            <a:xfrm rot="20717457">
              <a:off x="3271516" y="3493418"/>
              <a:ext cx="69923" cy="79926"/>
            </a:xfrm>
            <a:custGeom>
              <a:avLst/>
              <a:gdLst>
                <a:gd name="T0" fmla="*/ 2147483647 w 128"/>
                <a:gd name="T1" fmla="*/ 2147483647 h 175"/>
                <a:gd name="T2" fmla="*/ 2147483647 w 128"/>
                <a:gd name="T3" fmla="*/ 2147483647 h 175"/>
                <a:gd name="T4" fmla="*/ 2147483647 w 128"/>
                <a:gd name="T5" fmla="*/ 2147483647 h 175"/>
                <a:gd name="T6" fmla="*/ 0 w 128"/>
                <a:gd name="T7" fmla="*/ 2147483647 h 175"/>
                <a:gd name="T8" fmla="*/ 2147483647 w 128"/>
                <a:gd name="T9" fmla="*/ 2147483647 h 175"/>
                <a:gd name="T10" fmla="*/ 2147483647 w 128"/>
                <a:gd name="T11" fmla="*/ 0 h 175"/>
                <a:gd name="T12" fmla="*/ 2147483647 w 128"/>
                <a:gd name="T13" fmla="*/ 0 h 175"/>
                <a:gd name="T14" fmla="*/ 2147483647 w 128"/>
                <a:gd name="T15" fmla="*/ 2147483647 h 1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8"/>
                <a:gd name="T25" fmla="*/ 0 h 175"/>
                <a:gd name="T26" fmla="*/ 128 w 128"/>
                <a:gd name="T27" fmla="*/ 175 h 17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8" h="175">
                  <a:moveTo>
                    <a:pt x="128" y="23"/>
                  </a:moveTo>
                  <a:lnTo>
                    <a:pt x="99" y="116"/>
                  </a:lnTo>
                  <a:lnTo>
                    <a:pt x="58" y="175"/>
                  </a:lnTo>
                  <a:lnTo>
                    <a:pt x="0" y="151"/>
                  </a:lnTo>
                  <a:lnTo>
                    <a:pt x="35" y="87"/>
                  </a:lnTo>
                  <a:lnTo>
                    <a:pt x="41" y="0"/>
                  </a:lnTo>
                  <a:lnTo>
                    <a:pt x="76" y="0"/>
                  </a:lnTo>
                  <a:lnTo>
                    <a:pt x="128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7" name="Freeform 789"/>
            <p:cNvSpPr>
              <a:spLocks/>
            </p:cNvSpPr>
            <p:nvPr/>
          </p:nvSpPr>
          <p:spPr bwMode="auto">
            <a:xfrm rot="20717457">
              <a:off x="3101702" y="3503409"/>
              <a:ext cx="214762" cy="164850"/>
            </a:xfrm>
            <a:custGeom>
              <a:avLst/>
              <a:gdLst>
                <a:gd name="T0" fmla="*/ 2147483647 w 395"/>
                <a:gd name="T1" fmla="*/ 2147483647 h 348"/>
                <a:gd name="T2" fmla="*/ 2147483647 w 395"/>
                <a:gd name="T3" fmla="*/ 2147483647 h 348"/>
                <a:gd name="T4" fmla="*/ 2147483647 w 395"/>
                <a:gd name="T5" fmla="*/ 2147483647 h 348"/>
                <a:gd name="T6" fmla="*/ 2147483647 w 395"/>
                <a:gd name="T7" fmla="*/ 2147483647 h 348"/>
                <a:gd name="T8" fmla="*/ 2147483647 w 395"/>
                <a:gd name="T9" fmla="*/ 2147483647 h 348"/>
                <a:gd name="T10" fmla="*/ 2147483647 w 395"/>
                <a:gd name="T11" fmla="*/ 2147483647 h 348"/>
                <a:gd name="T12" fmla="*/ 0 w 395"/>
                <a:gd name="T13" fmla="*/ 2147483647 h 348"/>
                <a:gd name="T14" fmla="*/ 2147483647 w 395"/>
                <a:gd name="T15" fmla="*/ 2147483647 h 348"/>
                <a:gd name="T16" fmla="*/ 2147483647 w 395"/>
                <a:gd name="T17" fmla="*/ 2147483647 h 348"/>
                <a:gd name="T18" fmla="*/ 2147483647 w 395"/>
                <a:gd name="T19" fmla="*/ 2147483647 h 348"/>
                <a:gd name="T20" fmla="*/ 2147483647 w 395"/>
                <a:gd name="T21" fmla="*/ 0 h 348"/>
                <a:gd name="T22" fmla="*/ 2147483647 w 395"/>
                <a:gd name="T23" fmla="*/ 2147483647 h 348"/>
                <a:gd name="T24" fmla="*/ 2147483647 w 395"/>
                <a:gd name="T25" fmla="*/ 2147483647 h 348"/>
                <a:gd name="T26" fmla="*/ 2147483647 w 395"/>
                <a:gd name="T27" fmla="*/ 2147483647 h 348"/>
                <a:gd name="T28" fmla="*/ 2147483647 w 395"/>
                <a:gd name="T29" fmla="*/ 2147483647 h 348"/>
                <a:gd name="T30" fmla="*/ 2147483647 w 395"/>
                <a:gd name="T31" fmla="*/ 2147483647 h 3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5"/>
                <a:gd name="T49" fmla="*/ 0 h 348"/>
                <a:gd name="T50" fmla="*/ 395 w 395"/>
                <a:gd name="T51" fmla="*/ 348 h 34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5" h="348">
                  <a:moveTo>
                    <a:pt x="383" y="204"/>
                  </a:moveTo>
                  <a:lnTo>
                    <a:pt x="395" y="221"/>
                  </a:lnTo>
                  <a:lnTo>
                    <a:pt x="319" y="249"/>
                  </a:lnTo>
                  <a:lnTo>
                    <a:pt x="291" y="302"/>
                  </a:lnTo>
                  <a:lnTo>
                    <a:pt x="226" y="348"/>
                  </a:lnTo>
                  <a:lnTo>
                    <a:pt x="92" y="319"/>
                  </a:lnTo>
                  <a:lnTo>
                    <a:pt x="0" y="226"/>
                  </a:lnTo>
                  <a:lnTo>
                    <a:pt x="22" y="180"/>
                  </a:lnTo>
                  <a:lnTo>
                    <a:pt x="221" y="127"/>
                  </a:lnTo>
                  <a:lnTo>
                    <a:pt x="174" y="58"/>
                  </a:lnTo>
                  <a:lnTo>
                    <a:pt x="226" y="0"/>
                  </a:lnTo>
                  <a:lnTo>
                    <a:pt x="325" y="35"/>
                  </a:lnTo>
                  <a:lnTo>
                    <a:pt x="366" y="29"/>
                  </a:lnTo>
                  <a:lnTo>
                    <a:pt x="360" y="122"/>
                  </a:lnTo>
                  <a:lnTo>
                    <a:pt x="325" y="174"/>
                  </a:lnTo>
                  <a:lnTo>
                    <a:pt x="383" y="20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8" name="Freeform 790"/>
            <p:cNvSpPr>
              <a:spLocks/>
            </p:cNvSpPr>
            <p:nvPr/>
          </p:nvSpPr>
          <p:spPr bwMode="auto">
            <a:xfrm rot="20717457">
              <a:off x="3276511" y="3563355"/>
              <a:ext cx="244729" cy="114894"/>
            </a:xfrm>
            <a:custGeom>
              <a:avLst/>
              <a:gdLst>
                <a:gd name="T0" fmla="*/ 2147483647 w 458"/>
                <a:gd name="T1" fmla="*/ 0 h 249"/>
                <a:gd name="T2" fmla="*/ 2147483647 w 458"/>
                <a:gd name="T3" fmla="*/ 2147483647 h 249"/>
                <a:gd name="T4" fmla="*/ 0 w 458"/>
                <a:gd name="T5" fmla="*/ 2147483647 h 249"/>
                <a:gd name="T6" fmla="*/ 2147483647 w 458"/>
                <a:gd name="T7" fmla="*/ 2147483647 h 249"/>
                <a:gd name="T8" fmla="*/ 2147483647 w 458"/>
                <a:gd name="T9" fmla="*/ 2147483647 h 249"/>
                <a:gd name="T10" fmla="*/ 2147483647 w 458"/>
                <a:gd name="T11" fmla="*/ 2147483647 h 249"/>
                <a:gd name="T12" fmla="*/ 2147483647 w 458"/>
                <a:gd name="T13" fmla="*/ 2147483647 h 249"/>
                <a:gd name="T14" fmla="*/ 2147483647 w 458"/>
                <a:gd name="T15" fmla="*/ 2147483647 h 249"/>
                <a:gd name="T16" fmla="*/ 2147483647 w 458"/>
                <a:gd name="T17" fmla="*/ 2147483647 h 249"/>
                <a:gd name="T18" fmla="*/ 2147483647 w 458"/>
                <a:gd name="T19" fmla="*/ 2147483647 h 249"/>
                <a:gd name="T20" fmla="*/ 2147483647 w 458"/>
                <a:gd name="T21" fmla="*/ 2147483647 h 249"/>
                <a:gd name="T22" fmla="*/ 2147483647 w 458"/>
                <a:gd name="T23" fmla="*/ 0 h 2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58"/>
                <a:gd name="T37" fmla="*/ 0 h 249"/>
                <a:gd name="T38" fmla="*/ 458 w 458"/>
                <a:gd name="T39" fmla="*/ 249 h 2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58" h="249">
                  <a:moveTo>
                    <a:pt x="104" y="0"/>
                  </a:moveTo>
                  <a:lnTo>
                    <a:pt x="28" y="23"/>
                  </a:lnTo>
                  <a:lnTo>
                    <a:pt x="0" y="87"/>
                  </a:lnTo>
                  <a:lnTo>
                    <a:pt x="122" y="127"/>
                  </a:lnTo>
                  <a:lnTo>
                    <a:pt x="122" y="232"/>
                  </a:lnTo>
                  <a:lnTo>
                    <a:pt x="133" y="249"/>
                  </a:lnTo>
                  <a:lnTo>
                    <a:pt x="249" y="220"/>
                  </a:lnTo>
                  <a:lnTo>
                    <a:pt x="290" y="227"/>
                  </a:lnTo>
                  <a:lnTo>
                    <a:pt x="458" y="115"/>
                  </a:lnTo>
                  <a:lnTo>
                    <a:pt x="441" y="93"/>
                  </a:lnTo>
                  <a:lnTo>
                    <a:pt x="127" y="46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89" name="Freeform 791"/>
            <p:cNvSpPr>
              <a:spLocks/>
            </p:cNvSpPr>
            <p:nvPr/>
          </p:nvSpPr>
          <p:spPr bwMode="auto">
            <a:xfrm rot="20717457">
              <a:off x="3251536" y="3623300"/>
              <a:ext cx="99890" cy="74930"/>
            </a:xfrm>
            <a:custGeom>
              <a:avLst/>
              <a:gdLst>
                <a:gd name="T0" fmla="*/ 2147483647 w 187"/>
                <a:gd name="T1" fmla="*/ 0 h 151"/>
                <a:gd name="T2" fmla="*/ 2147483647 w 187"/>
                <a:gd name="T3" fmla="*/ 2147483647 h 151"/>
                <a:gd name="T4" fmla="*/ 2147483647 w 187"/>
                <a:gd name="T5" fmla="*/ 2147483647 h 151"/>
                <a:gd name="T6" fmla="*/ 2147483647 w 187"/>
                <a:gd name="T7" fmla="*/ 2147483647 h 151"/>
                <a:gd name="T8" fmla="*/ 0 w 187"/>
                <a:gd name="T9" fmla="*/ 2147483647 h 151"/>
                <a:gd name="T10" fmla="*/ 2147483647 w 187"/>
                <a:gd name="T11" fmla="*/ 0 h 1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7"/>
                <a:gd name="T19" fmla="*/ 0 h 151"/>
                <a:gd name="T20" fmla="*/ 187 w 187"/>
                <a:gd name="T21" fmla="*/ 151 h 15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7" h="151">
                  <a:moveTo>
                    <a:pt x="65" y="0"/>
                  </a:moveTo>
                  <a:lnTo>
                    <a:pt x="187" y="46"/>
                  </a:lnTo>
                  <a:lnTo>
                    <a:pt x="187" y="151"/>
                  </a:lnTo>
                  <a:lnTo>
                    <a:pt x="75" y="111"/>
                  </a:lnTo>
                  <a:lnTo>
                    <a:pt x="0" y="46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0" name="Freeform 792"/>
            <p:cNvSpPr>
              <a:spLocks/>
            </p:cNvSpPr>
            <p:nvPr/>
          </p:nvSpPr>
          <p:spPr bwMode="auto">
            <a:xfrm rot="20717457">
              <a:off x="3366412" y="3598322"/>
              <a:ext cx="229747" cy="174839"/>
            </a:xfrm>
            <a:custGeom>
              <a:avLst/>
              <a:gdLst>
                <a:gd name="T0" fmla="*/ 2147483647 w 425"/>
                <a:gd name="T1" fmla="*/ 2147483647 h 377"/>
                <a:gd name="T2" fmla="*/ 2147483647 w 425"/>
                <a:gd name="T3" fmla="*/ 2147483647 h 377"/>
                <a:gd name="T4" fmla="*/ 2147483647 w 425"/>
                <a:gd name="T5" fmla="*/ 2147483647 h 377"/>
                <a:gd name="T6" fmla="*/ 2147483647 w 425"/>
                <a:gd name="T7" fmla="*/ 2147483647 h 377"/>
                <a:gd name="T8" fmla="*/ 2147483647 w 425"/>
                <a:gd name="T9" fmla="*/ 2147483647 h 377"/>
                <a:gd name="T10" fmla="*/ 2147483647 w 425"/>
                <a:gd name="T11" fmla="*/ 2147483647 h 377"/>
                <a:gd name="T12" fmla="*/ 2147483647 w 425"/>
                <a:gd name="T13" fmla="*/ 2147483647 h 377"/>
                <a:gd name="T14" fmla="*/ 2147483647 w 425"/>
                <a:gd name="T15" fmla="*/ 0 h 377"/>
                <a:gd name="T16" fmla="*/ 2147483647 w 425"/>
                <a:gd name="T17" fmla="*/ 2147483647 h 377"/>
                <a:gd name="T18" fmla="*/ 2147483647 w 425"/>
                <a:gd name="T19" fmla="*/ 2147483647 h 377"/>
                <a:gd name="T20" fmla="*/ 0 w 425"/>
                <a:gd name="T21" fmla="*/ 2147483647 h 377"/>
                <a:gd name="T22" fmla="*/ 2147483647 w 425"/>
                <a:gd name="T23" fmla="*/ 2147483647 h 377"/>
                <a:gd name="T24" fmla="*/ 2147483647 w 425"/>
                <a:gd name="T25" fmla="*/ 2147483647 h 377"/>
                <a:gd name="T26" fmla="*/ 2147483647 w 425"/>
                <a:gd name="T27" fmla="*/ 2147483647 h 37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5"/>
                <a:gd name="T43" fmla="*/ 0 h 377"/>
                <a:gd name="T44" fmla="*/ 425 w 425"/>
                <a:gd name="T45" fmla="*/ 377 h 37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5" h="377">
                  <a:moveTo>
                    <a:pt x="116" y="349"/>
                  </a:moveTo>
                  <a:lnTo>
                    <a:pt x="203" y="377"/>
                  </a:lnTo>
                  <a:lnTo>
                    <a:pt x="226" y="342"/>
                  </a:lnTo>
                  <a:lnTo>
                    <a:pt x="268" y="354"/>
                  </a:lnTo>
                  <a:lnTo>
                    <a:pt x="279" y="279"/>
                  </a:lnTo>
                  <a:lnTo>
                    <a:pt x="425" y="110"/>
                  </a:lnTo>
                  <a:lnTo>
                    <a:pt x="425" y="58"/>
                  </a:lnTo>
                  <a:lnTo>
                    <a:pt x="325" y="0"/>
                  </a:lnTo>
                  <a:lnTo>
                    <a:pt x="157" y="105"/>
                  </a:lnTo>
                  <a:lnTo>
                    <a:pt x="111" y="98"/>
                  </a:lnTo>
                  <a:lnTo>
                    <a:pt x="0" y="127"/>
                  </a:lnTo>
                  <a:lnTo>
                    <a:pt x="87" y="284"/>
                  </a:lnTo>
                  <a:lnTo>
                    <a:pt x="116" y="319"/>
                  </a:lnTo>
                  <a:lnTo>
                    <a:pt x="116" y="34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1" name="Freeform 793"/>
            <p:cNvSpPr>
              <a:spLocks/>
            </p:cNvSpPr>
            <p:nvPr/>
          </p:nvSpPr>
          <p:spPr bwMode="auto">
            <a:xfrm rot="20717457">
              <a:off x="3461307" y="3753179"/>
              <a:ext cx="124862" cy="124886"/>
            </a:xfrm>
            <a:custGeom>
              <a:avLst/>
              <a:gdLst>
                <a:gd name="T0" fmla="*/ 2147483647 w 226"/>
                <a:gd name="T1" fmla="*/ 2147483647 h 274"/>
                <a:gd name="T2" fmla="*/ 2147483647 w 226"/>
                <a:gd name="T3" fmla="*/ 2147483647 h 274"/>
                <a:gd name="T4" fmla="*/ 2147483647 w 226"/>
                <a:gd name="T5" fmla="*/ 0 h 274"/>
                <a:gd name="T6" fmla="*/ 2147483647 w 226"/>
                <a:gd name="T7" fmla="*/ 2147483647 h 274"/>
                <a:gd name="T8" fmla="*/ 2147483647 w 226"/>
                <a:gd name="T9" fmla="*/ 2147483647 h 274"/>
                <a:gd name="T10" fmla="*/ 2147483647 w 226"/>
                <a:gd name="T11" fmla="*/ 2147483647 h 274"/>
                <a:gd name="T12" fmla="*/ 2147483647 w 226"/>
                <a:gd name="T13" fmla="*/ 2147483647 h 274"/>
                <a:gd name="T14" fmla="*/ 2147483647 w 226"/>
                <a:gd name="T15" fmla="*/ 2147483647 h 274"/>
                <a:gd name="T16" fmla="*/ 2147483647 w 226"/>
                <a:gd name="T17" fmla="*/ 2147483647 h 274"/>
                <a:gd name="T18" fmla="*/ 0 w 226"/>
                <a:gd name="T19" fmla="*/ 2147483647 h 274"/>
                <a:gd name="T20" fmla="*/ 2147483647 w 226"/>
                <a:gd name="T21" fmla="*/ 2147483647 h 2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6"/>
                <a:gd name="T34" fmla="*/ 0 h 274"/>
                <a:gd name="T35" fmla="*/ 226 w 226"/>
                <a:gd name="T36" fmla="*/ 274 h 27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6" h="274">
                  <a:moveTo>
                    <a:pt x="5" y="12"/>
                  </a:moveTo>
                  <a:lnTo>
                    <a:pt x="92" y="35"/>
                  </a:lnTo>
                  <a:lnTo>
                    <a:pt x="115" y="0"/>
                  </a:lnTo>
                  <a:lnTo>
                    <a:pt x="157" y="12"/>
                  </a:lnTo>
                  <a:lnTo>
                    <a:pt x="139" y="122"/>
                  </a:lnTo>
                  <a:lnTo>
                    <a:pt x="220" y="180"/>
                  </a:lnTo>
                  <a:lnTo>
                    <a:pt x="226" y="209"/>
                  </a:lnTo>
                  <a:lnTo>
                    <a:pt x="214" y="274"/>
                  </a:lnTo>
                  <a:lnTo>
                    <a:pt x="197" y="262"/>
                  </a:lnTo>
                  <a:lnTo>
                    <a:pt x="0" y="52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2" name="Freeform 794"/>
            <p:cNvSpPr>
              <a:spLocks/>
            </p:cNvSpPr>
            <p:nvPr/>
          </p:nvSpPr>
          <p:spPr bwMode="auto">
            <a:xfrm rot="20717457">
              <a:off x="3596156" y="3783154"/>
              <a:ext cx="269701" cy="134876"/>
            </a:xfrm>
            <a:custGeom>
              <a:avLst/>
              <a:gdLst>
                <a:gd name="T0" fmla="*/ 2147483647 w 506"/>
                <a:gd name="T1" fmla="*/ 0 h 285"/>
                <a:gd name="T2" fmla="*/ 2147483647 w 506"/>
                <a:gd name="T3" fmla="*/ 2147483647 h 285"/>
                <a:gd name="T4" fmla="*/ 2147483647 w 506"/>
                <a:gd name="T5" fmla="*/ 2147483647 h 285"/>
                <a:gd name="T6" fmla="*/ 2147483647 w 506"/>
                <a:gd name="T7" fmla="*/ 2147483647 h 285"/>
                <a:gd name="T8" fmla="*/ 2147483647 w 506"/>
                <a:gd name="T9" fmla="*/ 2147483647 h 285"/>
                <a:gd name="T10" fmla="*/ 2147483647 w 506"/>
                <a:gd name="T11" fmla="*/ 2147483647 h 285"/>
                <a:gd name="T12" fmla="*/ 2147483647 w 506"/>
                <a:gd name="T13" fmla="*/ 2147483647 h 285"/>
                <a:gd name="T14" fmla="*/ 2147483647 w 506"/>
                <a:gd name="T15" fmla="*/ 2147483647 h 285"/>
                <a:gd name="T16" fmla="*/ 2147483647 w 506"/>
                <a:gd name="T17" fmla="*/ 2147483647 h 285"/>
                <a:gd name="T18" fmla="*/ 2147483647 w 506"/>
                <a:gd name="T19" fmla="*/ 2147483647 h 285"/>
                <a:gd name="T20" fmla="*/ 2147483647 w 506"/>
                <a:gd name="T21" fmla="*/ 2147483647 h 285"/>
                <a:gd name="T22" fmla="*/ 2147483647 w 506"/>
                <a:gd name="T23" fmla="*/ 2147483647 h 285"/>
                <a:gd name="T24" fmla="*/ 2147483647 w 506"/>
                <a:gd name="T25" fmla="*/ 2147483647 h 285"/>
                <a:gd name="T26" fmla="*/ 2147483647 w 506"/>
                <a:gd name="T27" fmla="*/ 2147483647 h 285"/>
                <a:gd name="T28" fmla="*/ 0 w 506"/>
                <a:gd name="T29" fmla="*/ 2147483647 h 285"/>
                <a:gd name="T30" fmla="*/ 2147483647 w 506"/>
                <a:gd name="T31" fmla="*/ 2147483647 h 285"/>
                <a:gd name="T32" fmla="*/ 2147483647 w 506"/>
                <a:gd name="T33" fmla="*/ 0 h 28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6"/>
                <a:gd name="T52" fmla="*/ 0 h 285"/>
                <a:gd name="T53" fmla="*/ 506 w 506"/>
                <a:gd name="T54" fmla="*/ 285 h 28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6" h="285">
                  <a:moveTo>
                    <a:pt x="12" y="0"/>
                  </a:moveTo>
                  <a:lnTo>
                    <a:pt x="111" y="64"/>
                  </a:lnTo>
                  <a:lnTo>
                    <a:pt x="326" y="6"/>
                  </a:lnTo>
                  <a:lnTo>
                    <a:pt x="477" y="104"/>
                  </a:lnTo>
                  <a:lnTo>
                    <a:pt x="506" y="250"/>
                  </a:lnTo>
                  <a:lnTo>
                    <a:pt x="448" y="285"/>
                  </a:lnTo>
                  <a:lnTo>
                    <a:pt x="355" y="198"/>
                  </a:lnTo>
                  <a:lnTo>
                    <a:pt x="390" y="169"/>
                  </a:lnTo>
                  <a:lnTo>
                    <a:pt x="396" y="151"/>
                  </a:lnTo>
                  <a:lnTo>
                    <a:pt x="314" y="87"/>
                  </a:lnTo>
                  <a:lnTo>
                    <a:pt x="268" y="104"/>
                  </a:lnTo>
                  <a:lnTo>
                    <a:pt x="180" y="111"/>
                  </a:lnTo>
                  <a:lnTo>
                    <a:pt x="262" y="181"/>
                  </a:lnTo>
                  <a:lnTo>
                    <a:pt x="204" y="198"/>
                  </a:lnTo>
                  <a:lnTo>
                    <a:pt x="0" y="94"/>
                  </a:lnTo>
                  <a:lnTo>
                    <a:pt x="18" y="29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3" name="Freeform 795"/>
            <p:cNvSpPr>
              <a:spLocks/>
            </p:cNvSpPr>
            <p:nvPr/>
          </p:nvSpPr>
          <p:spPr bwMode="auto">
            <a:xfrm rot="20717457">
              <a:off x="2961859" y="980728"/>
              <a:ext cx="224752" cy="124886"/>
            </a:xfrm>
            <a:custGeom>
              <a:avLst/>
              <a:gdLst>
                <a:gd name="T0" fmla="*/ 2147483647 w 412"/>
                <a:gd name="T1" fmla="*/ 0 h 268"/>
                <a:gd name="T2" fmla="*/ 2147483647 w 412"/>
                <a:gd name="T3" fmla="*/ 2147483647 h 268"/>
                <a:gd name="T4" fmla="*/ 2147483647 w 412"/>
                <a:gd name="T5" fmla="*/ 2147483647 h 268"/>
                <a:gd name="T6" fmla="*/ 2147483647 w 412"/>
                <a:gd name="T7" fmla="*/ 2147483647 h 268"/>
                <a:gd name="T8" fmla="*/ 2147483647 w 412"/>
                <a:gd name="T9" fmla="*/ 2147483647 h 268"/>
                <a:gd name="T10" fmla="*/ 2147483647 w 412"/>
                <a:gd name="T11" fmla="*/ 2147483647 h 268"/>
                <a:gd name="T12" fmla="*/ 2147483647 w 412"/>
                <a:gd name="T13" fmla="*/ 2147483647 h 268"/>
                <a:gd name="T14" fmla="*/ 2147483647 w 412"/>
                <a:gd name="T15" fmla="*/ 2147483647 h 268"/>
                <a:gd name="T16" fmla="*/ 2147483647 w 412"/>
                <a:gd name="T17" fmla="*/ 0 h 268"/>
                <a:gd name="T18" fmla="*/ 2147483647 w 412"/>
                <a:gd name="T19" fmla="*/ 2147483647 h 268"/>
                <a:gd name="T20" fmla="*/ 2147483647 w 412"/>
                <a:gd name="T21" fmla="*/ 2147483647 h 268"/>
                <a:gd name="T22" fmla="*/ 2147483647 w 412"/>
                <a:gd name="T23" fmla="*/ 2147483647 h 268"/>
                <a:gd name="T24" fmla="*/ 2147483647 w 412"/>
                <a:gd name="T25" fmla="*/ 2147483647 h 268"/>
                <a:gd name="T26" fmla="*/ 2147483647 w 412"/>
                <a:gd name="T27" fmla="*/ 2147483647 h 268"/>
                <a:gd name="T28" fmla="*/ 2147483647 w 412"/>
                <a:gd name="T29" fmla="*/ 2147483647 h 268"/>
                <a:gd name="T30" fmla="*/ 2147483647 w 412"/>
                <a:gd name="T31" fmla="*/ 2147483647 h 268"/>
                <a:gd name="T32" fmla="*/ 0 w 412"/>
                <a:gd name="T33" fmla="*/ 2147483647 h 268"/>
                <a:gd name="T34" fmla="*/ 2147483647 w 412"/>
                <a:gd name="T35" fmla="*/ 2147483647 h 268"/>
                <a:gd name="T36" fmla="*/ 2147483647 w 412"/>
                <a:gd name="T37" fmla="*/ 2147483647 h 268"/>
                <a:gd name="T38" fmla="*/ 2147483647 w 412"/>
                <a:gd name="T39" fmla="*/ 2147483647 h 268"/>
                <a:gd name="T40" fmla="*/ 2147483647 w 412"/>
                <a:gd name="T41" fmla="*/ 2147483647 h 268"/>
                <a:gd name="T42" fmla="*/ 2147483647 w 412"/>
                <a:gd name="T43" fmla="*/ 2147483647 h 268"/>
                <a:gd name="T44" fmla="*/ 2147483647 w 412"/>
                <a:gd name="T45" fmla="*/ 2147483647 h 268"/>
                <a:gd name="T46" fmla="*/ 2147483647 w 412"/>
                <a:gd name="T47" fmla="*/ 2147483647 h 268"/>
                <a:gd name="T48" fmla="*/ 2147483647 w 412"/>
                <a:gd name="T49" fmla="*/ 2147483647 h 268"/>
                <a:gd name="T50" fmla="*/ 2147483647 w 412"/>
                <a:gd name="T51" fmla="*/ 2147483647 h 268"/>
                <a:gd name="T52" fmla="*/ 2147483647 w 412"/>
                <a:gd name="T53" fmla="*/ 0 h 268"/>
                <a:gd name="T54" fmla="*/ 2147483647 w 412"/>
                <a:gd name="T55" fmla="*/ 0 h 2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12"/>
                <a:gd name="T85" fmla="*/ 0 h 268"/>
                <a:gd name="T86" fmla="*/ 412 w 412"/>
                <a:gd name="T87" fmla="*/ 268 h 26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12" h="268">
                  <a:moveTo>
                    <a:pt x="365" y="0"/>
                  </a:moveTo>
                  <a:lnTo>
                    <a:pt x="302" y="12"/>
                  </a:lnTo>
                  <a:lnTo>
                    <a:pt x="290" y="87"/>
                  </a:lnTo>
                  <a:lnTo>
                    <a:pt x="261" y="104"/>
                  </a:lnTo>
                  <a:lnTo>
                    <a:pt x="220" y="87"/>
                  </a:lnTo>
                  <a:lnTo>
                    <a:pt x="185" y="81"/>
                  </a:lnTo>
                  <a:lnTo>
                    <a:pt x="157" y="81"/>
                  </a:lnTo>
                  <a:lnTo>
                    <a:pt x="150" y="6"/>
                  </a:lnTo>
                  <a:lnTo>
                    <a:pt x="110" y="0"/>
                  </a:lnTo>
                  <a:lnTo>
                    <a:pt x="46" y="17"/>
                  </a:lnTo>
                  <a:lnTo>
                    <a:pt x="70" y="69"/>
                  </a:lnTo>
                  <a:lnTo>
                    <a:pt x="58" y="87"/>
                  </a:lnTo>
                  <a:lnTo>
                    <a:pt x="5" y="104"/>
                  </a:lnTo>
                  <a:lnTo>
                    <a:pt x="5" y="139"/>
                  </a:lnTo>
                  <a:lnTo>
                    <a:pt x="58" y="163"/>
                  </a:lnTo>
                  <a:lnTo>
                    <a:pt x="70" y="191"/>
                  </a:lnTo>
                  <a:lnTo>
                    <a:pt x="0" y="221"/>
                  </a:lnTo>
                  <a:lnTo>
                    <a:pt x="23" y="268"/>
                  </a:lnTo>
                  <a:lnTo>
                    <a:pt x="139" y="268"/>
                  </a:lnTo>
                  <a:lnTo>
                    <a:pt x="192" y="226"/>
                  </a:lnTo>
                  <a:lnTo>
                    <a:pt x="261" y="250"/>
                  </a:lnTo>
                  <a:lnTo>
                    <a:pt x="302" y="250"/>
                  </a:lnTo>
                  <a:lnTo>
                    <a:pt x="337" y="203"/>
                  </a:lnTo>
                  <a:lnTo>
                    <a:pt x="319" y="151"/>
                  </a:lnTo>
                  <a:lnTo>
                    <a:pt x="372" y="104"/>
                  </a:lnTo>
                  <a:lnTo>
                    <a:pt x="412" y="17"/>
                  </a:lnTo>
                  <a:lnTo>
                    <a:pt x="372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4" name="Freeform 796"/>
            <p:cNvSpPr>
              <a:spLocks/>
            </p:cNvSpPr>
            <p:nvPr/>
          </p:nvSpPr>
          <p:spPr bwMode="auto">
            <a:xfrm>
              <a:off x="5360854" y="3530758"/>
              <a:ext cx="329634" cy="199817"/>
            </a:xfrm>
            <a:custGeom>
              <a:avLst/>
              <a:gdLst>
                <a:gd name="T0" fmla="*/ 2147483647 w 605"/>
                <a:gd name="T1" fmla="*/ 2147483647 h 430"/>
                <a:gd name="T2" fmla="*/ 2147483647 w 605"/>
                <a:gd name="T3" fmla="*/ 0 h 430"/>
                <a:gd name="T4" fmla="*/ 2147483647 w 605"/>
                <a:gd name="T5" fmla="*/ 2147483647 h 430"/>
                <a:gd name="T6" fmla="*/ 2147483647 w 605"/>
                <a:gd name="T7" fmla="*/ 2147483647 h 430"/>
                <a:gd name="T8" fmla="*/ 2147483647 w 605"/>
                <a:gd name="T9" fmla="*/ 2147483647 h 430"/>
                <a:gd name="T10" fmla="*/ 2147483647 w 605"/>
                <a:gd name="T11" fmla="*/ 2147483647 h 430"/>
                <a:gd name="T12" fmla="*/ 2147483647 w 605"/>
                <a:gd name="T13" fmla="*/ 2147483647 h 430"/>
                <a:gd name="T14" fmla="*/ 2147483647 w 605"/>
                <a:gd name="T15" fmla="*/ 2147483647 h 430"/>
                <a:gd name="T16" fmla="*/ 0 w 605"/>
                <a:gd name="T17" fmla="*/ 2147483647 h 430"/>
                <a:gd name="T18" fmla="*/ 2147483647 w 605"/>
                <a:gd name="T19" fmla="*/ 2147483647 h 430"/>
                <a:gd name="T20" fmla="*/ 2147483647 w 605"/>
                <a:gd name="T21" fmla="*/ 2147483647 h 4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5"/>
                <a:gd name="T34" fmla="*/ 0 h 430"/>
                <a:gd name="T35" fmla="*/ 605 w 605"/>
                <a:gd name="T36" fmla="*/ 430 h 4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5" h="430">
                  <a:moveTo>
                    <a:pt x="331" y="18"/>
                  </a:moveTo>
                  <a:lnTo>
                    <a:pt x="605" y="0"/>
                  </a:lnTo>
                  <a:lnTo>
                    <a:pt x="582" y="70"/>
                  </a:lnTo>
                  <a:lnTo>
                    <a:pt x="384" y="81"/>
                  </a:lnTo>
                  <a:lnTo>
                    <a:pt x="343" y="255"/>
                  </a:lnTo>
                  <a:lnTo>
                    <a:pt x="256" y="273"/>
                  </a:lnTo>
                  <a:lnTo>
                    <a:pt x="233" y="401"/>
                  </a:lnTo>
                  <a:lnTo>
                    <a:pt x="12" y="430"/>
                  </a:lnTo>
                  <a:lnTo>
                    <a:pt x="0" y="389"/>
                  </a:lnTo>
                  <a:lnTo>
                    <a:pt x="227" y="93"/>
                  </a:lnTo>
                  <a:lnTo>
                    <a:pt x="331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5" name="Freeform 797"/>
            <p:cNvSpPr>
              <a:spLocks/>
            </p:cNvSpPr>
            <p:nvPr/>
          </p:nvSpPr>
          <p:spPr bwMode="auto">
            <a:xfrm>
              <a:off x="5540658" y="3251015"/>
              <a:ext cx="439514" cy="289732"/>
            </a:xfrm>
            <a:custGeom>
              <a:avLst/>
              <a:gdLst>
                <a:gd name="T0" fmla="*/ 0 w 814"/>
                <a:gd name="T1" fmla="*/ 2147483647 h 616"/>
                <a:gd name="T2" fmla="*/ 2147483647 w 814"/>
                <a:gd name="T3" fmla="*/ 2147483647 h 616"/>
                <a:gd name="T4" fmla="*/ 2147483647 w 814"/>
                <a:gd name="T5" fmla="*/ 2147483647 h 616"/>
                <a:gd name="T6" fmla="*/ 2147483647 w 814"/>
                <a:gd name="T7" fmla="*/ 2147483647 h 616"/>
                <a:gd name="T8" fmla="*/ 2147483647 w 814"/>
                <a:gd name="T9" fmla="*/ 2147483647 h 616"/>
                <a:gd name="T10" fmla="*/ 2147483647 w 814"/>
                <a:gd name="T11" fmla="*/ 0 h 616"/>
                <a:gd name="T12" fmla="*/ 2147483647 w 814"/>
                <a:gd name="T13" fmla="*/ 2147483647 h 616"/>
                <a:gd name="T14" fmla="*/ 2147483647 w 814"/>
                <a:gd name="T15" fmla="*/ 2147483647 h 616"/>
                <a:gd name="T16" fmla="*/ 2147483647 w 814"/>
                <a:gd name="T17" fmla="*/ 2147483647 h 616"/>
                <a:gd name="T18" fmla="*/ 2147483647 w 814"/>
                <a:gd name="T19" fmla="*/ 2147483647 h 616"/>
                <a:gd name="T20" fmla="*/ 2147483647 w 814"/>
                <a:gd name="T21" fmla="*/ 2147483647 h 616"/>
                <a:gd name="T22" fmla="*/ 2147483647 w 814"/>
                <a:gd name="T23" fmla="*/ 2147483647 h 616"/>
                <a:gd name="T24" fmla="*/ 2147483647 w 814"/>
                <a:gd name="T25" fmla="*/ 2147483647 h 616"/>
                <a:gd name="T26" fmla="*/ 2147483647 w 814"/>
                <a:gd name="T27" fmla="*/ 2147483647 h 616"/>
                <a:gd name="T28" fmla="*/ 0 w 814"/>
                <a:gd name="T29" fmla="*/ 2147483647 h 6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14"/>
                <a:gd name="T46" fmla="*/ 0 h 616"/>
                <a:gd name="T47" fmla="*/ 814 w 814"/>
                <a:gd name="T48" fmla="*/ 616 h 6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14" h="616">
                  <a:moveTo>
                    <a:pt x="0" y="616"/>
                  </a:moveTo>
                  <a:lnTo>
                    <a:pt x="262" y="418"/>
                  </a:lnTo>
                  <a:lnTo>
                    <a:pt x="274" y="337"/>
                  </a:lnTo>
                  <a:lnTo>
                    <a:pt x="378" y="203"/>
                  </a:lnTo>
                  <a:lnTo>
                    <a:pt x="535" y="105"/>
                  </a:lnTo>
                  <a:lnTo>
                    <a:pt x="587" y="0"/>
                  </a:lnTo>
                  <a:lnTo>
                    <a:pt x="720" y="70"/>
                  </a:lnTo>
                  <a:lnTo>
                    <a:pt x="814" y="58"/>
                  </a:lnTo>
                  <a:lnTo>
                    <a:pt x="802" y="238"/>
                  </a:lnTo>
                  <a:lnTo>
                    <a:pt x="715" y="262"/>
                  </a:lnTo>
                  <a:lnTo>
                    <a:pt x="529" y="429"/>
                  </a:lnTo>
                  <a:lnTo>
                    <a:pt x="354" y="464"/>
                  </a:lnTo>
                  <a:lnTo>
                    <a:pt x="279" y="598"/>
                  </a:lnTo>
                  <a:lnTo>
                    <a:pt x="12" y="616"/>
                  </a:lnTo>
                  <a:lnTo>
                    <a:pt x="0" y="61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6" name="Freeform 798"/>
            <p:cNvSpPr>
              <a:spLocks/>
            </p:cNvSpPr>
            <p:nvPr/>
          </p:nvSpPr>
          <p:spPr bwMode="auto">
            <a:xfrm>
              <a:off x="5350868" y="3530758"/>
              <a:ext cx="444510" cy="399634"/>
            </a:xfrm>
            <a:custGeom>
              <a:avLst/>
              <a:gdLst>
                <a:gd name="T0" fmla="*/ 2147483647 w 825"/>
                <a:gd name="T1" fmla="*/ 0 h 860"/>
                <a:gd name="T2" fmla="*/ 2147483647 w 825"/>
                <a:gd name="T3" fmla="*/ 2147483647 h 860"/>
                <a:gd name="T4" fmla="*/ 2147483647 w 825"/>
                <a:gd name="T5" fmla="*/ 2147483647 h 860"/>
                <a:gd name="T6" fmla="*/ 2147483647 w 825"/>
                <a:gd name="T7" fmla="*/ 2147483647 h 860"/>
                <a:gd name="T8" fmla="*/ 2147483647 w 825"/>
                <a:gd name="T9" fmla="*/ 2147483647 h 860"/>
                <a:gd name="T10" fmla="*/ 2147483647 w 825"/>
                <a:gd name="T11" fmla="*/ 2147483647 h 860"/>
                <a:gd name="T12" fmla="*/ 2147483647 w 825"/>
                <a:gd name="T13" fmla="*/ 2147483647 h 860"/>
                <a:gd name="T14" fmla="*/ 2147483647 w 825"/>
                <a:gd name="T15" fmla="*/ 2147483647 h 860"/>
                <a:gd name="T16" fmla="*/ 2147483647 w 825"/>
                <a:gd name="T17" fmla="*/ 2147483647 h 860"/>
                <a:gd name="T18" fmla="*/ 2147483647 w 825"/>
                <a:gd name="T19" fmla="*/ 2147483647 h 860"/>
                <a:gd name="T20" fmla="*/ 2147483647 w 825"/>
                <a:gd name="T21" fmla="*/ 2147483647 h 860"/>
                <a:gd name="T22" fmla="*/ 2147483647 w 825"/>
                <a:gd name="T23" fmla="*/ 2147483647 h 860"/>
                <a:gd name="T24" fmla="*/ 2147483647 w 825"/>
                <a:gd name="T25" fmla="*/ 2147483647 h 860"/>
                <a:gd name="T26" fmla="*/ 2147483647 w 825"/>
                <a:gd name="T27" fmla="*/ 2147483647 h 860"/>
                <a:gd name="T28" fmla="*/ 2147483647 w 825"/>
                <a:gd name="T29" fmla="*/ 2147483647 h 860"/>
                <a:gd name="T30" fmla="*/ 0 w 825"/>
                <a:gd name="T31" fmla="*/ 2147483647 h 860"/>
                <a:gd name="T32" fmla="*/ 2147483647 w 825"/>
                <a:gd name="T33" fmla="*/ 2147483647 h 860"/>
                <a:gd name="T34" fmla="*/ 2147483647 w 825"/>
                <a:gd name="T35" fmla="*/ 2147483647 h 860"/>
                <a:gd name="T36" fmla="*/ 2147483647 w 825"/>
                <a:gd name="T37" fmla="*/ 2147483647 h 860"/>
                <a:gd name="T38" fmla="*/ 2147483647 w 825"/>
                <a:gd name="T39" fmla="*/ 2147483647 h 860"/>
                <a:gd name="T40" fmla="*/ 2147483647 w 825"/>
                <a:gd name="T41" fmla="*/ 2147483647 h 860"/>
                <a:gd name="T42" fmla="*/ 2147483647 w 825"/>
                <a:gd name="T43" fmla="*/ 2147483647 h 860"/>
                <a:gd name="T44" fmla="*/ 2147483647 w 825"/>
                <a:gd name="T45" fmla="*/ 2147483647 h 860"/>
                <a:gd name="T46" fmla="*/ 2147483647 w 825"/>
                <a:gd name="T47" fmla="*/ 2147483647 h 860"/>
                <a:gd name="T48" fmla="*/ 2147483647 w 825"/>
                <a:gd name="T49" fmla="*/ 2147483647 h 860"/>
                <a:gd name="T50" fmla="*/ 2147483647 w 825"/>
                <a:gd name="T51" fmla="*/ 0 h 86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25"/>
                <a:gd name="T79" fmla="*/ 0 h 860"/>
                <a:gd name="T80" fmla="*/ 825 w 825"/>
                <a:gd name="T81" fmla="*/ 860 h 86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25" h="860">
                  <a:moveTo>
                    <a:pt x="628" y="0"/>
                  </a:moveTo>
                  <a:lnTo>
                    <a:pt x="825" y="151"/>
                  </a:lnTo>
                  <a:lnTo>
                    <a:pt x="721" y="145"/>
                  </a:lnTo>
                  <a:lnTo>
                    <a:pt x="675" y="708"/>
                  </a:lnTo>
                  <a:lnTo>
                    <a:pt x="745" y="708"/>
                  </a:lnTo>
                  <a:lnTo>
                    <a:pt x="738" y="790"/>
                  </a:lnTo>
                  <a:lnTo>
                    <a:pt x="506" y="790"/>
                  </a:lnTo>
                  <a:lnTo>
                    <a:pt x="476" y="750"/>
                  </a:lnTo>
                  <a:lnTo>
                    <a:pt x="442" y="825"/>
                  </a:lnTo>
                  <a:lnTo>
                    <a:pt x="361" y="825"/>
                  </a:lnTo>
                  <a:lnTo>
                    <a:pt x="344" y="790"/>
                  </a:lnTo>
                  <a:lnTo>
                    <a:pt x="320" y="860"/>
                  </a:lnTo>
                  <a:lnTo>
                    <a:pt x="274" y="860"/>
                  </a:lnTo>
                  <a:lnTo>
                    <a:pt x="128" y="732"/>
                  </a:lnTo>
                  <a:lnTo>
                    <a:pt x="75" y="778"/>
                  </a:lnTo>
                  <a:lnTo>
                    <a:pt x="0" y="773"/>
                  </a:lnTo>
                  <a:lnTo>
                    <a:pt x="40" y="708"/>
                  </a:lnTo>
                  <a:lnTo>
                    <a:pt x="30" y="529"/>
                  </a:lnTo>
                  <a:lnTo>
                    <a:pt x="58" y="482"/>
                  </a:lnTo>
                  <a:lnTo>
                    <a:pt x="35" y="430"/>
                  </a:lnTo>
                  <a:lnTo>
                    <a:pt x="256" y="401"/>
                  </a:lnTo>
                  <a:lnTo>
                    <a:pt x="279" y="273"/>
                  </a:lnTo>
                  <a:lnTo>
                    <a:pt x="366" y="255"/>
                  </a:lnTo>
                  <a:lnTo>
                    <a:pt x="407" y="81"/>
                  </a:lnTo>
                  <a:lnTo>
                    <a:pt x="605" y="70"/>
                  </a:lnTo>
                  <a:lnTo>
                    <a:pt x="628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7" name="Freeform 799"/>
            <p:cNvSpPr>
              <a:spLocks/>
            </p:cNvSpPr>
            <p:nvPr/>
          </p:nvSpPr>
          <p:spPr bwMode="auto">
            <a:xfrm>
              <a:off x="5690492" y="3216048"/>
              <a:ext cx="644286" cy="569477"/>
            </a:xfrm>
            <a:custGeom>
              <a:avLst/>
              <a:gdLst>
                <a:gd name="T0" fmla="*/ 0 w 1191"/>
                <a:gd name="T1" fmla="*/ 2147483647 h 1226"/>
                <a:gd name="T2" fmla="*/ 2147483647 w 1191"/>
                <a:gd name="T3" fmla="*/ 2147483647 h 1226"/>
                <a:gd name="T4" fmla="*/ 2147483647 w 1191"/>
                <a:gd name="T5" fmla="*/ 2147483647 h 1226"/>
                <a:gd name="T6" fmla="*/ 2147483647 w 1191"/>
                <a:gd name="T7" fmla="*/ 2147483647 h 1226"/>
                <a:gd name="T8" fmla="*/ 2147483647 w 1191"/>
                <a:gd name="T9" fmla="*/ 2147483647 h 1226"/>
                <a:gd name="T10" fmla="*/ 2147483647 w 1191"/>
                <a:gd name="T11" fmla="*/ 2147483647 h 1226"/>
                <a:gd name="T12" fmla="*/ 2147483647 w 1191"/>
                <a:gd name="T13" fmla="*/ 2147483647 h 1226"/>
                <a:gd name="T14" fmla="*/ 2147483647 w 1191"/>
                <a:gd name="T15" fmla="*/ 2147483647 h 1226"/>
                <a:gd name="T16" fmla="*/ 2147483647 w 1191"/>
                <a:gd name="T17" fmla="*/ 2147483647 h 1226"/>
                <a:gd name="T18" fmla="*/ 2147483647 w 1191"/>
                <a:gd name="T19" fmla="*/ 2147483647 h 1226"/>
                <a:gd name="T20" fmla="*/ 2147483647 w 1191"/>
                <a:gd name="T21" fmla="*/ 2147483647 h 1226"/>
                <a:gd name="T22" fmla="*/ 2147483647 w 1191"/>
                <a:gd name="T23" fmla="*/ 2147483647 h 1226"/>
                <a:gd name="T24" fmla="*/ 2147483647 w 1191"/>
                <a:gd name="T25" fmla="*/ 2147483647 h 1226"/>
                <a:gd name="T26" fmla="*/ 2147483647 w 1191"/>
                <a:gd name="T27" fmla="*/ 0 h 1226"/>
                <a:gd name="T28" fmla="*/ 2147483647 w 1191"/>
                <a:gd name="T29" fmla="*/ 2147483647 h 1226"/>
                <a:gd name="T30" fmla="*/ 2147483647 w 1191"/>
                <a:gd name="T31" fmla="*/ 2147483647 h 1226"/>
                <a:gd name="T32" fmla="*/ 2147483647 w 1191"/>
                <a:gd name="T33" fmla="*/ 2147483647 h 1226"/>
                <a:gd name="T34" fmla="*/ 2147483647 w 1191"/>
                <a:gd name="T35" fmla="*/ 2147483647 h 1226"/>
                <a:gd name="T36" fmla="*/ 2147483647 w 1191"/>
                <a:gd name="T37" fmla="*/ 2147483647 h 1226"/>
                <a:gd name="T38" fmla="*/ 2147483647 w 1191"/>
                <a:gd name="T39" fmla="*/ 2147483647 h 1226"/>
                <a:gd name="T40" fmla="*/ 2147483647 w 1191"/>
                <a:gd name="T41" fmla="*/ 2147483647 h 1226"/>
                <a:gd name="T42" fmla="*/ 0 w 1191"/>
                <a:gd name="T43" fmla="*/ 2147483647 h 12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91"/>
                <a:gd name="T67" fmla="*/ 0 h 1226"/>
                <a:gd name="T68" fmla="*/ 1191 w 1191"/>
                <a:gd name="T69" fmla="*/ 1226 h 12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91" h="1226">
                  <a:moveTo>
                    <a:pt x="0" y="674"/>
                  </a:moveTo>
                  <a:lnTo>
                    <a:pt x="610" y="1138"/>
                  </a:lnTo>
                  <a:lnTo>
                    <a:pt x="645" y="1145"/>
                  </a:lnTo>
                  <a:lnTo>
                    <a:pt x="651" y="1203"/>
                  </a:lnTo>
                  <a:lnTo>
                    <a:pt x="698" y="1226"/>
                  </a:lnTo>
                  <a:lnTo>
                    <a:pt x="1191" y="941"/>
                  </a:lnTo>
                  <a:lnTo>
                    <a:pt x="1122" y="889"/>
                  </a:lnTo>
                  <a:lnTo>
                    <a:pt x="1052" y="737"/>
                  </a:lnTo>
                  <a:lnTo>
                    <a:pt x="1099" y="639"/>
                  </a:lnTo>
                  <a:lnTo>
                    <a:pt x="1092" y="471"/>
                  </a:lnTo>
                  <a:lnTo>
                    <a:pt x="1122" y="442"/>
                  </a:lnTo>
                  <a:lnTo>
                    <a:pt x="1005" y="198"/>
                  </a:lnTo>
                  <a:lnTo>
                    <a:pt x="1052" y="151"/>
                  </a:lnTo>
                  <a:lnTo>
                    <a:pt x="1075" y="0"/>
                  </a:lnTo>
                  <a:lnTo>
                    <a:pt x="912" y="17"/>
                  </a:lnTo>
                  <a:lnTo>
                    <a:pt x="796" y="6"/>
                  </a:lnTo>
                  <a:lnTo>
                    <a:pt x="529" y="128"/>
                  </a:lnTo>
                  <a:lnTo>
                    <a:pt x="523" y="314"/>
                  </a:lnTo>
                  <a:lnTo>
                    <a:pt x="436" y="338"/>
                  </a:lnTo>
                  <a:lnTo>
                    <a:pt x="250" y="505"/>
                  </a:lnTo>
                  <a:lnTo>
                    <a:pt x="75" y="540"/>
                  </a:lnTo>
                  <a:lnTo>
                    <a:pt x="0" y="67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8" name="Freeform 800"/>
            <p:cNvSpPr>
              <a:spLocks/>
            </p:cNvSpPr>
            <p:nvPr/>
          </p:nvSpPr>
          <p:spPr bwMode="auto">
            <a:xfrm>
              <a:off x="5315905" y="4000326"/>
              <a:ext cx="119867" cy="54948"/>
            </a:xfrm>
            <a:custGeom>
              <a:avLst/>
              <a:gdLst>
                <a:gd name="T0" fmla="*/ 2147483647 w 221"/>
                <a:gd name="T1" fmla="*/ 0 h 116"/>
                <a:gd name="T2" fmla="*/ 2147483647 w 221"/>
                <a:gd name="T3" fmla="*/ 2147483647 h 116"/>
                <a:gd name="T4" fmla="*/ 2147483647 w 221"/>
                <a:gd name="T5" fmla="*/ 2147483647 h 116"/>
                <a:gd name="T6" fmla="*/ 2147483647 w 221"/>
                <a:gd name="T7" fmla="*/ 2147483647 h 116"/>
                <a:gd name="T8" fmla="*/ 0 w 221"/>
                <a:gd name="T9" fmla="*/ 2147483647 h 116"/>
                <a:gd name="T10" fmla="*/ 2147483647 w 221"/>
                <a:gd name="T11" fmla="*/ 0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1"/>
                <a:gd name="T19" fmla="*/ 0 h 116"/>
                <a:gd name="T20" fmla="*/ 221 w 221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1" h="116">
                  <a:moveTo>
                    <a:pt x="216" y="0"/>
                  </a:moveTo>
                  <a:lnTo>
                    <a:pt x="221" y="46"/>
                  </a:lnTo>
                  <a:lnTo>
                    <a:pt x="134" y="53"/>
                  </a:lnTo>
                  <a:lnTo>
                    <a:pt x="111" y="116"/>
                  </a:lnTo>
                  <a:lnTo>
                    <a:pt x="0" y="18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199" name="Freeform 801"/>
            <p:cNvSpPr>
              <a:spLocks/>
            </p:cNvSpPr>
            <p:nvPr/>
          </p:nvSpPr>
          <p:spPr bwMode="auto">
            <a:xfrm>
              <a:off x="5310911" y="3870444"/>
              <a:ext cx="184796" cy="134876"/>
            </a:xfrm>
            <a:custGeom>
              <a:avLst/>
              <a:gdLst>
                <a:gd name="T0" fmla="*/ 0 w 344"/>
                <a:gd name="T1" fmla="*/ 2147483647 h 297"/>
                <a:gd name="T2" fmla="*/ 0 w 344"/>
                <a:gd name="T3" fmla="*/ 2147483647 h 297"/>
                <a:gd name="T4" fmla="*/ 2147483647 w 344"/>
                <a:gd name="T5" fmla="*/ 2147483647 h 297"/>
                <a:gd name="T6" fmla="*/ 2147483647 w 344"/>
                <a:gd name="T7" fmla="*/ 2147483647 h 297"/>
                <a:gd name="T8" fmla="*/ 2147483647 w 344"/>
                <a:gd name="T9" fmla="*/ 0 h 297"/>
                <a:gd name="T10" fmla="*/ 2147483647 w 344"/>
                <a:gd name="T11" fmla="*/ 2147483647 h 297"/>
                <a:gd name="T12" fmla="*/ 2147483647 w 344"/>
                <a:gd name="T13" fmla="*/ 2147483647 h 297"/>
                <a:gd name="T14" fmla="*/ 2147483647 w 344"/>
                <a:gd name="T15" fmla="*/ 2147483647 h 297"/>
                <a:gd name="T16" fmla="*/ 2147483647 w 344"/>
                <a:gd name="T17" fmla="*/ 2147483647 h 297"/>
                <a:gd name="T18" fmla="*/ 2147483647 w 344"/>
                <a:gd name="T19" fmla="*/ 2147483647 h 297"/>
                <a:gd name="T20" fmla="*/ 0 w 344"/>
                <a:gd name="T21" fmla="*/ 2147483647 h 2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4"/>
                <a:gd name="T34" fmla="*/ 0 h 297"/>
                <a:gd name="T35" fmla="*/ 344 w 344"/>
                <a:gd name="T36" fmla="*/ 297 h 2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4" h="297">
                  <a:moveTo>
                    <a:pt x="0" y="168"/>
                  </a:moveTo>
                  <a:lnTo>
                    <a:pt x="0" y="128"/>
                  </a:lnTo>
                  <a:lnTo>
                    <a:pt x="76" y="23"/>
                  </a:lnTo>
                  <a:lnTo>
                    <a:pt x="134" y="46"/>
                  </a:lnTo>
                  <a:lnTo>
                    <a:pt x="198" y="0"/>
                  </a:lnTo>
                  <a:lnTo>
                    <a:pt x="344" y="128"/>
                  </a:lnTo>
                  <a:lnTo>
                    <a:pt x="320" y="273"/>
                  </a:lnTo>
                  <a:lnTo>
                    <a:pt x="12" y="297"/>
                  </a:lnTo>
                  <a:lnTo>
                    <a:pt x="6" y="255"/>
                  </a:lnTo>
                  <a:lnTo>
                    <a:pt x="250" y="180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0" name="Freeform 802"/>
            <p:cNvSpPr>
              <a:spLocks/>
            </p:cNvSpPr>
            <p:nvPr/>
          </p:nvSpPr>
          <p:spPr bwMode="auto">
            <a:xfrm>
              <a:off x="5310911" y="3945375"/>
              <a:ext cx="139847" cy="39963"/>
            </a:xfrm>
            <a:custGeom>
              <a:avLst/>
              <a:gdLst>
                <a:gd name="T0" fmla="*/ 0 w 250"/>
                <a:gd name="T1" fmla="*/ 0 h 87"/>
                <a:gd name="T2" fmla="*/ 2147483647 w 250"/>
                <a:gd name="T3" fmla="*/ 2147483647 h 87"/>
                <a:gd name="T4" fmla="*/ 2147483647 w 250"/>
                <a:gd name="T5" fmla="*/ 2147483647 h 87"/>
                <a:gd name="T6" fmla="*/ 0 w 250"/>
                <a:gd name="T7" fmla="*/ 0 h 8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0"/>
                <a:gd name="T13" fmla="*/ 0 h 87"/>
                <a:gd name="T14" fmla="*/ 250 w 250"/>
                <a:gd name="T15" fmla="*/ 87 h 8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0" h="87">
                  <a:moveTo>
                    <a:pt x="0" y="0"/>
                  </a:moveTo>
                  <a:lnTo>
                    <a:pt x="250" y="12"/>
                  </a:lnTo>
                  <a:lnTo>
                    <a:pt x="6" y="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1" name="Freeform 803"/>
            <p:cNvSpPr>
              <a:spLocks/>
            </p:cNvSpPr>
            <p:nvPr/>
          </p:nvSpPr>
          <p:spPr bwMode="auto">
            <a:xfrm>
              <a:off x="5485716" y="3595697"/>
              <a:ext cx="589348" cy="464571"/>
            </a:xfrm>
            <a:custGeom>
              <a:avLst/>
              <a:gdLst>
                <a:gd name="T0" fmla="*/ 0 w 1093"/>
                <a:gd name="T1" fmla="*/ 2147483647 h 994"/>
                <a:gd name="T2" fmla="*/ 2147483647 w 1093"/>
                <a:gd name="T3" fmla="*/ 2147483647 h 994"/>
                <a:gd name="T4" fmla="*/ 2147483647 w 1093"/>
                <a:gd name="T5" fmla="*/ 2147483647 h 994"/>
                <a:gd name="T6" fmla="*/ 2147483647 w 1093"/>
                <a:gd name="T7" fmla="*/ 2147483647 h 994"/>
                <a:gd name="T8" fmla="*/ 2147483647 w 1093"/>
                <a:gd name="T9" fmla="*/ 2147483647 h 994"/>
                <a:gd name="T10" fmla="*/ 2147483647 w 1093"/>
                <a:gd name="T11" fmla="*/ 2147483647 h 994"/>
                <a:gd name="T12" fmla="*/ 2147483647 w 1093"/>
                <a:gd name="T13" fmla="*/ 2147483647 h 994"/>
                <a:gd name="T14" fmla="*/ 2147483647 w 1093"/>
                <a:gd name="T15" fmla="*/ 2147483647 h 994"/>
                <a:gd name="T16" fmla="*/ 2147483647 w 1093"/>
                <a:gd name="T17" fmla="*/ 2147483647 h 994"/>
                <a:gd name="T18" fmla="*/ 2147483647 w 1093"/>
                <a:gd name="T19" fmla="*/ 2147483647 h 994"/>
                <a:gd name="T20" fmla="*/ 2147483647 w 1093"/>
                <a:gd name="T21" fmla="*/ 2147483647 h 994"/>
                <a:gd name="T22" fmla="*/ 2147483647 w 1093"/>
                <a:gd name="T23" fmla="*/ 2147483647 h 994"/>
                <a:gd name="T24" fmla="*/ 2147483647 w 1093"/>
                <a:gd name="T25" fmla="*/ 2147483647 h 994"/>
                <a:gd name="T26" fmla="*/ 2147483647 w 1093"/>
                <a:gd name="T27" fmla="*/ 2147483647 h 994"/>
                <a:gd name="T28" fmla="*/ 2147483647 w 1093"/>
                <a:gd name="T29" fmla="*/ 2147483647 h 994"/>
                <a:gd name="T30" fmla="*/ 2147483647 w 1093"/>
                <a:gd name="T31" fmla="*/ 0 h 994"/>
                <a:gd name="T32" fmla="*/ 2147483647 w 1093"/>
                <a:gd name="T33" fmla="*/ 0 h 994"/>
                <a:gd name="T34" fmla="*/ 2147483647 w 1093"/>
                <a:gd name="T35" fmla="*/ 2147483647 h 994"/>
                <a:gd name="T36" fmla="*/ 2147483647 w 1093"/>
                <a:gd name="T37" fmla="*/ 2147483647 h 994"/>
                <a:gd name="T38" fmla="*/ 2147483647 w 1093"/>
                <a:gd name="T39" fmla="*/ 2147483647 h 994"/>
                <a:gd name="T40" fmla="*/ 2147483647 w 1093"/>
                <a:gd name="T41" fmla="*/ 2147483647 h 994"/>
                <a:gd name="T42" fmla="*/ 2147483647 w 1093"/>
                <a:gd name="T43" fmla="*/ 2147483647 h 994"/>
                <a:gd name="T44" fmla="*/ 2147483647 w 1093"/>
                <a:gd name="T45" fmla="*/ 2147483647 h 994"/>
                <a:gd name="T46" fmla="*/ 2147483647 w 1093"/>
                <a:gd name="T47" fmla="*/ 2147483647 h 994"/>
                <a:gd name="T48" fmla="*/ 2147483647 w 1093"/>
                <a:gd name="T49" fmla="*/ 2147483647 h 994"/>
                <a:gd name="T50" fmla="*/ 2147483647 w 1093"/>
                <a:gd name="T51" fmla="*/ 2147483647 h 994"/>
                <a:gd name="T52" fmla="*/ 2147483647 w 1093"/>
                <a:gd name="T53" fmla="*/ 2147483647 h 994"/>
                <a:gd name="T54" fmla="*/ 0 w 1093"/>
                <a:gd name="T55" fmla="*/ 2147483647 h 99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93"/>
                <a:gd name="T85" fmla="*/ 0 h 994"/>
                <a:gd name="T86" fmla="*/ 1093 w 1093"/>
                <a:gd name="T87" fmla="*/ 994 h 99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93" h="994">
                  <a:moveTo>
                    <a:pt x="0" y="860"/>
                  </a:moveTo>
                  <a:lnTo>
                    <a:pt x="6" y="889"/>
                  </a:lnTo>
                  <a:lnTo>
                    <a:pt x="204" y="907"/>
                  </a:lnTo>
                  <a:lnTo>
                    <a:pt x="250" y="971"/>
                  </a:lnTo>
                  <a:lnTo>
                    <a:pt x="279" y="971"/>
                  </a:lnTo>
                  <a:lnTo>
                    <a:pt x="291" y="994"/>
                  </a:lnTo>
                  <a:lnTo>
                    <a:pt x="407" y="988"/>
                  </a:lnTo>
                  <a:lnTo>
                    <a:pt x="524" y="842"/>
                  </a:lnTo>
                  <a:lnTo>
                    <a:pt x="616" y="819"/>
                  </a:lnTo>
                  <a:lnTo>
                    <a:pt x="628" y="773"/>
                  </a:lnTo>
                  <a:lnTo>
                    <a:pt x="849" y="692"/>
                  </a:lnTo>
                  <a:lnTo>
                    <a:pt x="1024" y="616"/>
                  </a:lnTo>
                  <a:lnTo>
                    <a:pt x="1093" y="407"/>
                  </a:lnTo>
                  <a:lnTo>
                    <a:pt x="1035" y="372"/>
                  </a:lnTo>
                  <a:lnTo>
                    <a:pt x="1029" y="326"/>
                  </a:lnTo>
                  <a:lnTo>
                    <a:pt x="576" y="0"/>
                  </a:lnTo>
                  <a:lnTo>
                    <a:pt x="477" y="0"/>
                  </a:lnTo>
                  <a:lnTo>
                    <a:pt x="419" y="563"/>
                  </a:lnTo>
                  <a:lnTo>
                    <a:pt x="501" y="563"/>
                  </a:lnTo>
                  <a:lnTo>
                    <a:pt x="494" y="645"/>
                  </a:lnTo>
                  <a:lnTo>
                    <a:pt x="262" y="645"/>
                  </a:lnTo>
                  <a:lnTo>
                    <a:pt x="232" y="605"/>
                  </a:lnTo>
                  <a:lnTo>
                    <a:pt x="210" y="663"/>
                  </a:lnTo>
                  <a:lnTo>
                    <a:pt x="117" y="680"/>
                  </a:lnTo>
                  <a:lnTo>
                    <a:pt x="100" y="645"/>
                  </a:lnTo>
                  <a:lnTo>
                    <a:pt x="76" y="715"/>
                  </a:lnTo>
                  <a:lnTo>
                    <a:pt x="30" y="715"/>
                  </a:lnTo>
                  <a:lnTo>
                    <a:pt x="0" y="86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2" name="Freeform 804"/>
            <p:cNvSpPr>
              <a:spLocks/>
            </p:cNvSpPr>
            <p:nvPr/>
          </p:nvSpPr>
          <p:spPr bwMode="auto">
            <a:xfrm>
              <a:off x="6234892" y="3206055"/>
              <a:ext cx="144839" cy="214802"/>
            </a:xfrm>
            <a:custGeom>
              <a:avLst/>
              <a:gdLst>
                <a:gd name="T0" fmla="*/ 2147483647 w 262"/>
                <a:gd name="T1" fmla="*/ 2147483647 h 470"/>
                <a:gd name="T2" fmla="*/ 2147483647 w 262"/>
                <a:gd name="T3" fmla="*/ 2147483647 h 470"/>
                <a:gd name="T4" fmla="*/ 0 w 262"/>
                <a:gd name="T5" fmla="*/ 2147483647 h 470"/>
                <a:gd name="T6" fmla="*/ 2147483647 w 262"/>
                <a:gd name="T7" fmla="*/ 2147483647 h 470"/>
                <a:gd name="T8" fmla="*/ 2147483647 w 262"/>
                <a:gd name="T9" fmla="*/ 2147483647 h 470"/>
                <a:gd name="T10" fmla="*/ 2147483647 w 262"/>
                <a:gd name="T11" fmla="*/ 2147483647 h 470"/>
                <a:gd name="T12" fmla="*/ 2147483647 w 262"/>
                <a:gd name="T13" fmla="*/ 2147483647 h 470"/>
                <a:gd name="T14" fmla="*/ 2147483647 w 262"/>
                <a:gd name="T15" fmla="*/ 0 h 470"/>
                <a:gd name="T16" fmla="*/ 2147483647 w 262"/>
                <a:gd name="T17" fmla="*/ 2147483647 h 4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2"/>
                <a:gd name="T28" fmla="*/ 0 h 470"/>
                <a:gd name="T29" fmla="*/ 262 w 262"/>
                <a:gd name="T30" fmla="*/ 470 h 4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2" h="470">
                  <a:moveTo>
                    <a:pt x="70" y="28"/>
                  </a:moveTo>
                  <a:lnTo>
                    <a:pt x="47" y="179"/>
                  </a:lnTo>
                  <a:lnTo>
                    <a:pt x="0" y="226"/>
                  </a:lnTo>
                  <a:lnTo>
                    <a:pt x="117" y="470"/>
                  </a:lnTo>
                  <a:lnTo>
                    <a:pt x="251" y="278"/>
                  </a:lnTo>
                  <a:lnTo>
                    <a:pt x="181" y="226"/>
                  </a:lnTo>
                  <a:lnTo>
                    <a:pt x="262" y="110"/>
                  </a:lnTo>
                  <a:lnTo>
                    <a:pt x="192" y="0"/>
                  </a:lnTo>
                  <a:lnTo>
                    <a:pt x="70" y="2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3" name="Freeform 805"/>
            <p:cNvSpPr>
              <a:spLocks/>
            </p:cNvSpPr>
            <p:nvPr/>
          </p:nvSpPr>
          <p:spPr bwMode="auto">
            <a:xfrm>
              <a:off x="5375839" y="3995331"/>
              <a:ext cx="274695" cy="154857"/>
            </a:xfrm>
            <a:custGeom>
              <a:avLst/>
              <a:gdLst>
                <a:gd name="T0" fmla="*/ 0 w 506"/>
                <a:gd name="T1" fmla="*/ 2147483647 h 331"/>
                <a:gd name="T2" fmla="*/ 2147483647 w 506"/>
                <a:gd name="T3" fmla="*/ 2147483647 h 331"/>
                <a:gd name="T4" fmla="*/ 2147483647 w 506"/>
                <a:gd name="T5" fmla="*/ 2147483647 h 331"/>
                <a:gd name="T6" fmla="*/ 2147483647 w 506"/>
                <a:gd name="T7" fmla="*/ 2147483647 h 331"/>
                <a:gd name="T8" fmla="*/ 2147483647 w 506"/>
                <a:gd name="T9" fmla="*/ 0 h 331"/>
                <a:gd name="T10" fmla="*/ 2147483647 w 506"/>
                <a:gd name="T11" fmla="*/ 2147483647 h 331"/>
                <a:gd name="T12" fmla="*/ 2147483647 w 506"/>
                <a:gd name="T13" fmla="*/ 2147483647 h 331"/>
                <a:gd name="T14" fmla="*/ 2147483647 w 506"/>
                <a:gd name="T15" fmla="*/ 2147483647 h 331"/>
                <a:gd name="T16" fmla="*/ 2147483647 w 506"/>
                <a:gd name="T17" fmla="*/ 2147483647 h 331"/>
                <a:gd name="T18" fmla="*/ 2147483647 w 506"/>
                <a:gd name="T19" fmla="*/ 2147483647 h 331"/>
                <a:gd name="T20" fmla="*/ 2147483647 w 506"/>
                <a:gd name="T21" fmla="*/ 2147483647 h 331"/>
                <a:gd name="T22" fmla="*/ 2147483647 w 506"/>
                <a:gd name="T23" fmla="*/ 2147483647 h 331"/>
                <a:gd name="T24" fmla="*/ 2147483647 w 506"/>
                <a:gd name="T25" fmla="*/ 2147483647 h 331"/>
                <a:gd name="T26" fmla="*/ 2147483647 w 506"/>
                <a:gd name="T27" fmla="*/ 2147483647 h 331"/>
                <a:gd name="T28" fmla="*/ 2147483647 w 506"/>
                <a:gd name="T29" fmla="*/ 2147483647 h 331"/>
                <a:gd name="T30" fmla="*/ 2147483647 w 506"/>
                <a:gd name="T31" fmla="*/ 2147483647 h 331"/>
                <a:gd name="T32" fmla="*/ 2147483647 w 506"/>
                <a:gd name="T33" fmla="*/ 2147483647 h 331"/>
                <a:gd name="T34" fmla="*/ 2147483647 w 506"/>
                <a:gd name="T35" fmla="*/ 2147483647 h 331"/>
                <a:gd name="T36" fmla="*/ 2147483647 w 506"/>
                <a:gd name="T37" fmla="*/ 2147483647 h 331"/>
                <a:gd name="T38" fmla="*/ 2147483647 w 506"/>
                <a:gd name="T39" fmla="*/ 2147483647 h 331"/>
                <a:gd name="T40" fmla="*/ 0 w 506"/>
                <a:gd name="T41" fmla="*/ 2147483647 h 33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06"/>
                <a:gd name="T64" fmla="*/ 0 h 331"/>
                <a:gd name="T65" fmla="*/ 506 w 506"/>
                <a:gd name="T66" fmla="*/ 331 h 33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06" h="331">
                  <a:moveTo>
                    <a:pt x="0" y="128"/>
                  </a:moveTo>
                  <a:lnTo>
                    <a:pt x="23" y="59"/>
                  </a:lnTo>
                  <a:lnTo>
                    <a:pt x="110" y="52"/>
                  </a:lnTo>
                  <a:lnTo>
                    <a:pt x="105" y="6"/>
                  </a:lnTo>
                  <a:lnTo>
                    <a:pt x="197" y="0"/>
                  </a:lnTo>
                  <a:lnTo>
                    <a:pt x="203" y="29"/>
                  </a:lnTo>
                  <a:lnTo>
                    <a:pt x="401" y="47"/>
                  </a:lnTo>
                  <a:lnTo>
                    <a:pt x="447" y="111"/>
                  </a:lnTo>
                  <a:lnTo>
                    <a:pt x="476" y="111"/>
                  </a:lnTo>
                  <a:lnTo>
                    <a:pt x="506" y="163"/>
                  </a:lnTo>
                  <a:lnTo>
                    <a:pt x="436" y="169"/>
                  </a:lnTo>
                  <a:lnTo>
                    <a:pt x="476" y="291"/>
                  </a:lnTo>
                  <a:lnTo>
                    <a:pt x="389" y="279"/>
                  </a:lnTo>
                  <a:lnTo>
                    <a:pt x="401" y="303"/>
                  </a:lnTo>
                  <a:lnTo>
                    <a:pt x="366" y="331"/>
                  </a:lnTo>
                  <a:lnTo>
                    <a:pt x="331" y="273"/>
                  </a:lnTo>
                  <a:lnTo>
                    <a:pt x="302" y="279"/>
                  </a:lnTo>
                  <a:lnTo>
                    <a:pt x="227" y="139"/>
                  </a:lnTo>
                  <a:lnTo>
                    <a:pt x="105" y="244"/>
                  </a:lnTo>
                  <a:lnTo>
                    <a:pt x="81" y="204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4" name="Freeform 806"/>
            <p:cNvSpPr>
              <a:spLocks/>
            </p:cNvSpPr>
            <p:nvPr/>
          </p:nvSpPr>
          <p:spPr bwMode="auto">
            <a:xfrm>
              <a:off x="5430778" y="4060272"/>
              <a:ext cx="109877" cy="119891"/>
            </a:xfrm>
            <a:custGeom>
              <a:avLst/>
              <a:gdLst>
                <a:gd name="T0" fmla="*/ 0 w 197"/>
                <a:gd name="T1" fmla="*/ 2147483647 h 256"/>
                <a:gd name="T2" fmla="*/ 2147483647 w 197"/>
                <a:gd name="T3" fmla="*/ 2147483647 h 256"/>
                <a:gd name="T4" fmla="*/ 2147483647 w 197"/>
                <a:gd name="T5" fmla="*/ 2147483647 h 256"/>
                <a:gd name="T6" fmla="*/ 2147483647 w 197"/>
                <a:gd name="T7" fmla="*/ 2147483647 h 256"/>
                <a:gd name="T8" fmla="*/ 2147483647 w 197"/>
                <a:gd name="T9" fmla="*/ 0 h 256"/>
                <a:gd name="T10" fmla="*/ 0 w 197"/>
                <a:gd name="T11" fmla="*/ 2147483647 h 2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7"/>
                <a:gd name="T19" fmla="*/ 0 h 256"/>
                <a:gd name="T20" fmla="*/ 197 w 197"/>
                <a:gd name="T21" fmla="*/ 256 h 25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7" h="256">
                  <a:moveTo>
                    <a:pt x="0" y="105"/>
                  </a:moveTo>
                  <a:lnTo>
                    <a:pt x="52" y="215"/>
                  </a:lnTo>
                  <a:lnTo>
                    <a:pt x="104" y="256"/>
                  </a:lnTo>
                  <a:lnTo>
                    <a:pt x="197" y="140"/>
                  </a:lnTo>
                  <a:lnTo>
                    <a:pt x="122" y="0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5" name="Freeform 807"/>
            <p:cNvSpPr>
              <a:spLocks/>
            </p:cNvSpPr>
            <p:nvPr/>
          </p:nvSpPr>
          <p:spPr bwMode="auto">
            <a:xfrm>
              <a:off x="5490711" y="4125209"/>
              <a:ext cx="139847" cy="124886"/>
            </a:xfrm>
            <a:custGeom>
              <a:avLst/>
              <a:gdLst>
                <a:gd name="T0" fmla="*/ 0 w 262"/>
                <a:gd name="T1" fmla="*/ 2147483647 h 273"/>
                <a:gd name="T2" fmla="*/ 2147483647 w 262"/>
                <a:gd name="T3" fmla="*/ 2147483647 h 273"/>
                <a:gd name="T4" fmla="*/ 2147483647 w 262"/>
                <a:gd name="T5" fmla="*/ 2147483647 h 273"/>
                <a:gd name="T6" fmla="*/ 2147483647 w 262"/>
                <a:gd name="T7" fmla="*/ 2147483647 h 273"/>
                <a:gd name="T8" fmla="*/ 2147483647 w 262"/>
                <a:gd name="T9" fmla="*/ 2147483647 h 273"/>
                <a:gd name="T10" fmla="*/ 2147483647 w 262"/>
                <a:gd name="T11" fmla="*/ 2147483647 h 273"/>
                <a:gd name="T12" fmla="*/ 2147483647 w 262"/>
                <a:gd name="T13" fmla="*/ 2147483647 h 273"/>
                <a:gd name="T14" fmla="*/ 2147483647 w 262"/>
                <a:gd name="T15" fmla="*/ 0 h 273"/>
                <a:gd name="T16" fmla="*/ 2147483647 w 262"/>
                <a:gd name="T17" fmla="*/ 2147483647 h 273"/>
                <a:gd name="T18" fmla="*/ 0 w 262"/>
                <a:gd name="T19" fmla="*/ 2147483647 h 2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2"/>
                <a:gd name="T31" fmla="*/ 0 h 273"/>
                <a:gd name="T32" fmla="*/ 262 w 262"/>
                <a:gd name="T33" fmla="*/ 273 h 2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2" h="273">
                  <a:moveTo>
                    <a:pt x="0" y="122"/>
                  </a:moveTo>
                  <a:lnTo>
                    <a:pt x="255" y="273"/>
                  </a:lnTo>
                  <a:lnTo>
                    <a:pt x="262" y="185"/>
                  </a:lnTo>
                  <a:lnTo>
                    <a:pt x="215" y="133"/>
                  </a:lnTo>
                  <a:lnTo>
                    <a:pt x="244" y="93"/>
                  </a:lnTo>
                  <a:lnTo>
                    <a:pt x="192" y="35"/>
                  </a:lnTo>
                  <a:lnTo>
                    <a:pt x="157" y="58"/>
                  </a:lnTo>
                  <a:lnTo>
                    <a:pt x="122" y="0"/>
                  </a:lnTo>
                  <a:lnTo>
                    <a:pt x="93" y="6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6" name="Freeform 808"/>
            <p:cNvSpPr>
              <a:spLocks/>
            </p:cNvSpPr>
            <p:nvPr/>
          </p:nvSpPr>
          <p:spPr bwMode="auto">
            <a:xfrm>
              <a:off x="5590602" y="4055275"/>
              <a:ext cx="239734" cy="194821"/>
            </a:xfrm>
            <a:custGeom>
              <a:avLst/>
              <a:gdLst>
                <a:gd name="T0" fmla="*/ 2147483647 w 454"/>
                <a:gd name="T1" fmla="*/ 2147483647 h 418"/>
                <a:gd name="T2" fmla="*/ 2147483647 w 454"/>
                <a:gd name="T3" fmla="*/ 2147483647 h 418"/>
                <a:gd name="T4" fmla="*/ 2147483647 w 454"/>
                <a:gd name="T5" fmla="*/ 2147483647 h 418"/>
                <a:gd name="T6" fmla="*/ 2147483647 w 454"/>
                <a:gd name="T7" fmla="*/ 2147483647 h 418"/>
                <a:gd name="T8" fmla="*/ 2147483647 w 454"/>
                <a:gd name="T9" fmla="*/ 2147483647 h 418"/>
                <a:gd name="T10" fmla="*/ 2147483647 w 454"/>
                <a:gd name="T11" fmla="*/ 2147483647 h 418"/>
                <a:gd name="T12" fmla="*/ 2147483647 w 454"/>
                <a:gd name="T13" fmla="*/ 2147483647 h 418"/>
                <a:gd name="T14" fmla="*/ 2147483647 w 454"/>
                <a:gd name="T15" fmla="*/ 2147483647 h 418"/>
                <a:gd name="T16" fmla="*/ 2147483647 w 454"/>
                <a:gd name="T17" fmla="*/ 0 h 418"/>
                <a:gd name="T18" fmla="*/ 2147483647 w 454"/>
                <a:gd name="T19" fmla="*/ 2147483647 h 418"/>
                <a:gd name="T20" fmla="*/ 2147483647 w 454"/>
                <a:gd name="T21" fmla="*/ 2147483647 h 418"/>
                <a:gd name="T22" fmla="*/ 2147483647 w 454"/>
                <a:gd name="T23" fmla="*/ 2147483647 h 418"/>
                <a:gd name="T24" fmla="*/ 2147483647 w 454"/>
                <a:gd name="T25" fmla="*/ 2147483647 h 418"/>
                <a:gd name="T26" fmla="*/ 0 w 454"/>
                <a:gd name="T27" fmla="*/ 2147483647 h 418"/>
                <a:gd name="T28" fmla="*/ 2147483647 w 454"/>
                <a:gd name="T29" fmla="*/ 2147483647 h 418"/>
                <a:gd name="T30" fmla="*/ 2147483647 w 454"/>
                <a:gd name="T31" fmla="*/ 2147483647 h 418"/>
                <a:gd name="T32" fmla="*/ 2147483647 w 454"/>
                <a:gd name="T33" fmla="*/ 2147483647 h 418"/>
                <a:gd name="T34" fmla="*/ 2147483647 w 454"/>
                <a:gd name="T35" fmla="*/ 2147483647 h 418"/>
                <a:gd name="T36" fmla="*/ 2147483647 w 454"/>
                <a:gd name="T37" fmla="*/ 2147483647 h 418"/>
                <a:gd name="T38" fmla="*/ 2147483647 w 454"/>
                <a:gd name="T39" fmla="*/ 2147483647 h 4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54"/>
                <a:gd name="T61" fmla="*/ 0 h 418"/>
                <a:gd name="T62" fmla="*/ 454 w 454"/>
                <a:gd name="T63" fmla="*/ 418 h 4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54" h="418">
                  <a:moveTo>
                    <a:pt x="75" y="418"/>
                  </a:moveTo>
                  <a:lnTo>
                    <a:pt x="267" y="377"/>
                  </a:lnTo>
                  <a:lnTo>
                    <a:pt x="454" y="407"/>
                  </a:lnTo>
                  <a:lnTo>
                    <a:pt x="378" y="226"/>
                  </a:lnTo>
                  <a:lnTo>
                    <a:pt x="436" y="151"/>
                  </a:lnTo>
                  <a:lnTo>
                    <a:pt x="431" y="110"/>
                  </a:lnTo>
                  <a:lnTo>
                    <a:pt x="384" y="58"/>
                  </a:lnTo>
                  <a:lnTo>
                    <a:pt x="274" y="64"/>
                  </a:lnTo>
                  <a:lnTo>
                    <a:pt x="215" y="0"/>
                  </a:lnTo>
                  <a:lnTo>
                    <a:pt x="99" y="6"/>
                  </a:lnTo>
                  <a:lnTo>
                    <a:pt x="117" y="35"/>
                  </a:lnTo>
                  <a:lnTo>
                    <a:pt x="47" y="41"/>
                  </a:lnTo>
                  <a:lnTo>
                    <a:pt x="82" y="157"/>
                  </a:lnTo>
                  <a:lnTo>
                    <a:pt x="0" y="145"/>
                  </a:lnTo>
                  <a:lnTo>
                    <a:pt x="6" y="180"/>
                  </a:lnTo>
                  <a:lnTo>
                    <a:pt x="64" y="238"/>
                  </a:lnTo>
                  <a:lnTo>
                    <a:pt x="35" y="278"/>
                  </a:lnTo>
                  <a:lnTo>
                    <a:pt x="82" y="330"/>
                  </a:lnTo>
                  <a:lnTo>
                    <a:pt x="75" y="389"/>
                  </a:lnTo>
                  <a:lnTo>
                    <a:pt x="75" y="4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7" name="Freeform 809"/>
            <p:cNvSpPr>
              <a:spLocks/>
            </p:cNvSpPr>
            <p:nvPr/>
          </p:nvSpPr>
          <p:spPr bwMode="auto">
            <a:xfrm>
              <a:off x="5700482" y="3915403"/>
              <a:ext cx="309658" cy="204813"/>
            </a:xfrm>
            <a:custGeom>
              <a:avLst/>
              <a:gdLst>
                <a:gd name="T0" fmla="*/ 2147483647 w 565"/>
                <a:gd name="T1" fmla="*/ 0 h 436"/>
                <a:gd name="T2" fmla="*/ 2147483647 w 565"/>
                <a:gd name="T3" fmla="*/ 2147483647 h 436"/>
                <a:gd name="T4" fmla="*/ 2147483647 w 565"/>
                <a:gd name="T5" fmla="*/ 2147483647 h 436"/>
                <a:gd name="T6" fmla="*/ 2147483647 w 565"/>
                <a:gd name="T7" fmla="*/ 2147483647 h 436"/>
                <a:gd name="T8" fmla="*/ 2147483647 w 565"/>
                <a:gd name="T9" fmla="*/ 2147483647 h 436"/>
                <a:gd name="T10" fmla="*/ 2147483647 w 565"/>
                <a:gd name="T11" fmla="*/ 2147483647 h 436"/>
                <a:gd name="T12" fmla="*/ 2147483647 w 565"/>
                <a:gd name="T13" fmla="*/ 2147483647 h 436"/>
                <a:gd name="T14" fmla="*/ 2147483647 w 565"/>
                <a:gd name="T15" fmla="*/ 2147483647 h 436"/>
                <a:gd name="T16" fmla="*/ 2147483647 w 565"/>
                <a:gd name="T17" fmla="*/ 2147483647 h 436"/>
                <a:gd name="T18" fmla="*/ 0 w 565"/>
                <a:gd name="T19" fmla="*/ 2147483647 h 436"/>
                <a:gd name="T20" fmla="*/ 2147483647 w 565"/>
                <a:gd name="T21" fmla="*/ 2147483647 h 436"/>
                <a:gd name="T22" fmla="*/ 2147483647 w 565"/>
                <a:gd name="T23" fmla="*/ 2147483647 h 436"/>
                <a:gd name="T24" fmla="*/ 2147483647 w 565"/>
                <a:gd name="T25" fmla="*/ 2147483647 h 436"/>
                <a:gd name="T26" fmla="*/ 2147483647 w 565"/>
                <a:gd name="T27" fmla="*/ 0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5"/>
                <a:gd name="T43" fmla="*/ 0 h 436"/>
                <a:gd name="T44" fmla="*/ 565 w 565"/>
                <a:gd name="T45" fmla="*/ 436 h 4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5" h="436">
                  <a:moveTo>
                    <a:pt x="442" y="0"/>
                  </a:moveTo>
                  <a:lnTo>
                    <a:pt x="565" y="185"/>
                  </a:lnTo>
                  <a:lnTo>
                    <a:pt x="530" y="244"/>
                  </a:lnTo>
                  <a:lnTo>
                    <a:pt x="291" y="272"/>
                  </a:lnTo>
                  <a:lnTo>
                    <a:pt x="221" y="255"/>
                  </a:lnTo>
                  <a:lnTo>
                    <a:pt x="221" y="436"/>
                  </a:lnTo>
                  <a:lnTo>
                    <a:pt x="198" y="389"/>
                  </a:lnTo>
                  <a:lnTo>
                    <a:pt x="169" y="354"/>
                  </a:lnTo>
                  <a:lnTo>
                    <a:pt x="59" y="360"/>
                  </a:lnTo>
                  <a:lnTo>
                    <a:pt x="0" y="296"/>
                  </a:lnTo>
                  <a:lnTo>
                    <a:pt x="117" y="150"/>
                  </a:lnTo>
                  <a:lnTo>
                    <a:pt x="216" y="127"/>
                  </a:lnTo>
                  <a:lnTo>
                    <a:pt x="221" y="81"/>
                  </a:lnTo>
                  <a:lnTo>
                    <a:pt x="44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8" name="Freeform 810"/>
            <p:cNvSpPr>
              <a:spLocks/>
            </p:cNvSpPr>
            <p:nvPr/>
          </p:nvSpPr>
          <p:spPr bwMode="auto">
            <a:xfrm>
              <a:off x="5790382" y="4035294"/>
              <a:ext cx="119867" cy="209806"/>
            </a:xfrm>
            <a:custGeom>
              <a:avLst/>
              <a:gdLst>
                <a:gd name="T0" fmla="*/ 2147483647 w 221"/>
                <a:gd name="T1" fmla="*/ 2147483647 h 448"/>
                <a:gd name="T2" fmla="*/ 2147483647 w 221"/>
                <a:gd name="T3" fmla="*/ 2147483647 h 448"/>
                <a:gd name="T4" fmla="*/ 2147483647 w 221"/>
                <a:gd name="T5" fmla="*/ 2147483647 h 448"/>
                <a:gd name="T6" fmla="*/ 0 w 221"/>
                <a:gd name="T7" fmla="*/ 2147483647 h 448"/>
                <a:gd name="T8" fmla="*/ 2147483647 w 221"/>
                <a:gd name="T9" fmla="*/ 2147483647 h 448"/>
                <a:gd name="T10" fmla="*/ 2147483647 w 221"/>
                <a:gd name="T11" fmla="*/ 0 h 448"/>
                <a:gd name="T12" fmla="*/ 2147483647 w 221"/>
                <a:gd name="T13" fmla="*/ 2147483647 h 448"/>
                <a:gd name="T14" fmla="*/ 2147483647 w 221"/>
                <a:gd name="T15" fmla="*/ 2147483647 h 4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1"/>
                <a:gd name="T25" fmla="*/ 0 h 448"/>
                <a:gd name="T26" fmla="*/ 221 w 221"/>
                <a:gd name="T27" fmla="*/ 448 h 4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1" h="448">
                  <a:moveTo>
                    <a:pt x="198" y="12"/>
                  </a:moveTo>
                  <a:lnTo>
                    <a:pt x="221" y="378"/>
                  </a:lnTo>
                  <a:lnTo>
                    <a:pt x="76" y="448"/>
                  </a:lnTo>
                  <a:lnTo>
                    <a:pt x="0" y="267"/>
                  </a:lnTo>
                  <a:lnTo>
                    <a:pt x="58" y="192"/>
                  </a:lnTo>
                  <a:lnTo>
                    <a:pt x="58" y="0"/>
                  </a:lnTo>
                  <a:lnTo>
                    <a:pt x="128" y="17"/>
                  </a:lnTo>
                  <a:lnTo>
                    <a:pt x="198" y="1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09" name="Freeform 811"/>
            <p:cNvSpPr>
              <a:spLocks/>
            </p:cNvSpPr>
            <p:nvPr/>
          </p:nvSpPr>
          <p:spPr bwMode="auto">
            <a:xfrm>
              <a:off x="5895264" y="4035294"/>
              <a:ext cx="69923" cy="174839"/>
            </a:xfrm>
            <a:custGeom>
              <a:avLst/>
              <a:gdLst>
                <a:gd name="T0" fmla="*/ 0 w 127"/>
                <a:gd name="T1" fmla="*/ 2147483647 h 384"/>
                <a:gd name="T2" fmla="*/ 2147483647 w 127"/>
                <a:gd name="T3" fmla="*/ 2147483647 h 384"/>
                <a:gd name="T4" fmla="*/ 2147483647 w 127"/>
                <a:gd name="T5" fmla="*/ 2147483647 h 384"/>
                <a:gd name="T6" fmla="*/ 2147483647 w 127"/>
                <a:gd name="T7" fmla="*/ 2147483647 h 384"/>
                <a:gd name="T8" fmla="*/ 2147483647 w 127"/>
                <a:gd name="T9" fmla="*/ 2147483647 h 384"/>
                <a:gd name="T10" fmla="*/ 2147483647 w 127"/>
                <a:gd name="T11" fmla="*/ 0 h 384"/>
                <a:gd name="T12" fmla="*/ 0 w 127"/>
                <a:gd name="T13" fmla="*/ 2147483647 h 3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7"/>
                <a:gd name="T22" fmla="*/ 0 h 384"/>
                <a:gd name="T23" fmla="*/ 127 w 127"/>
                <a:gd name="T24" fmla="*/ 384 h 3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7" h="384">
                  <a:moveTo>
                    <a:pt x="0" y="18"/>
                  </a:moveTo>
                  <a:lnTo>
                    <a:pt x="23" y="384"/>
                  </a:lnTo>
                  <a:lnTo>
                    <a:pt x="104" y="349"/>
                  </a:lnTo>
                  <a:lnTo>
                    <a:pt x="92" y="152"/>
                  </a:lnTo>
                  <a:lnTo>
                    <a:pt x="127" y="100"/>
                  </a:lnTo>
                  <a:lnTo>
                    <a:pt x="110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0" name="Freeform 812"/>
            <p:cNvSpPr>
              <a:spLocks/>
            </p:cNvSpPr>
            <p:nvPr/>
          </p:nvSpPr>
          <p:spPr bwMode="auto">
            <a:xfrm>
              <a:off x="5945211" y="4005320"/>
              <a:ext cx="114873" cy="189824"/>
            </a:xfrm>
            <a:custGeom>
              <a:avLst/>
              <a:gdLst>
                <a:gd name="T0" fmla="*/ 2147483647 w 210"/>
                <a:gd name="T1" fmla="*/ 2147483647 h 418"/>
                <a:gd name="T2" fmla="*/ 2147483647 w 210"/>
                <a:gd name="T3" fmla="*/ 2147483647 h 418"/>
                <a:gd name="T4" fmla="*/ 0 w 210"/>
                <a:gd name="T5" fmla="*/ 2147483647 h 418"/>
                <a:gd name="T6" fmla="*/ 2147483647 w 210"/>
                <a:gd name="T7" fmla="*/ 2147483647 h 418"/>
                <a:gd name="T8" fmla="*/ 2147483647 w 210"/>
                <a:gd name="T9" fmla="*/ 2147483647 h 418"/>
                <a:gd name="T10" fmla="*/ 2147483647 w 210"/>
                <a:gd name="T11" fmla="*/ 2147483647 h 418"/>
                <a:gd name="T12" fmla="*/ 2147483647 w 210"/>
                <a:gd name="T13" fmla="*/ 2147483647 h 418"/>
                <a:gd name="T14" fmla="*/ 2147483647 w 210"/>
                <a:gd name="T15" fmla="*/ 2147483647 h 418"/>
                <a:gd name="T16" fmla="*/ 2147483647 w 210"/>
                <a:gd name="T17" fmla="*/ 0 h 418"/>
                <a:gd name="T18" fmla="*/ 2147483647 w 210"/>
                <a:gd name="T19" fmla="*/ 2147483647 h 418"/>
                <a:gd name="T20" fmla="*/ 2147483647 w 210"/>
                <a:gd name="T21" fmla="*/ 2147483647 h 418"/>
                <a:gd name="T22" fmla="*/ 2147483647 w 210"/>
                <a:gd name="T23" fmla="*/ 2147483647 h 4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0"/>
                <a:gd name="T37" fmla="*/ 0 h 418"/>
                <a:gd name="T38" fmla="*/ 210 w 210"/>
                <a:gd name="T39" fmla="*/ 418 h 4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0" h="418">
                  <a:moveTo>
                    <a:pt x="18" y="69"/>
                  </a:moveTo>
                  <a:lnTo>
                    <a:pt x="30" y="169"/>
                  </a:lnTo>
                  <a:lnTo>
                    <a:pt x="0" y="221"/>
                  </a:lnTo>
                  <a:lnTo>
                    <a:pt x="12" y="418"/>
                  </a:lnTo>
                  <a:lnTo>
                    <a:pt x="122" y="383"/>
                  </a:lnTo>
                  <a:lnTo>
                    <a:pt x="112" y="204"/>
                  </a:lnTo>
                  <a:lnTo>
                    <a:pt x="187" y="139"/>
                  </a:lnTo>
                  <a:lnTo>
                    <a:pt x="210" y="87"/>
                  </a:lnTo>
                  <a:lnTo>
                    <a:pt x="199" y="0"/>
                  </a:lnTo>
                  <a:lnTo>
                    <a:pt x="112" y="5"/>
                  </a:lnTo>
                  <a:lnTo>
                    <a:pt x="88" y="35"/>
                  </a:lnTo>
                  <a:lnTo>
                    <a:pt x="18" y="6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1" name="Freeform 813"/>
            <p:cNvSpPr>
              <a:spLocks/>
            </p:cNvSpPr>
            <p:nvPr/>
          </p:nvSpPr>
          <p:spPr bwMode="auto">
            <a:xfrm>
              <a:off x="5945211" y="3635660"/>
              <a:ext cx="549392" cy="369660"/>
            </a:xfrm>
            <a:custGeom>
              <a:avLst/>
              <a:gdLst>
                <a:gd name="T0" fmla="*/ 0 w 1023"/>
                <a:gd name="T1" fmla="*/ 2147483647 h 790"/>
                <a:gd name="T2" fmla="*/ 2147483647 w 1023"/>
                <a:gd name="T3" fmla="*/ 2147483647 h 790"/>
                <a:gd name="T4" fmla="*/ 2147483647 w 1023"/>
                <a:gd name="T5" fmla="*/ 2147483647 h 790"/>
                <a:gd name="T6" fmla="*/ 2147483647 w 1023"/>
                <a:gd name="T7" fmla="*/ 2147483647 h 790"/>
                <a:gd name="T8" fmla="*/ 2147483647 w 1023"/>
                <a:gd name="T9" fmla="*/ 2147483647 h 790"/>
                <a:gd name="T10" fmla="*/ 2147483647 w 1023"/>
                <a:gd name="T11" fmla="*/ 2147483647 h 790"/>
                <a:gd name="T12" fmla="*/ 2147483647 w 1023"/>
                <a:gd name="T13" fmla="*/ 2147483647 h 790"/>
                <a:gd name="T14" fmla="*/ 2147483647 w 1023"/>
                <a:gd name="T15" fmla="*/ 2147483647 h 790"/>
                <a:gd name="T16" fmla="*/ 2147483647 w 1023"/>
                <a:gd name="T17" fmla="*/ 2147483647 h 790"/>
                <a:gd name="T18" fmla="*/ 2147483647 w 1023"/>
                <a:gd name="T19" fmla="*/ 2147483647 h 790"/>
                <a:gd name="T20" fmla="*/ 2147483647 w 1023"/>
                <a:gd name="T21" fmla="*/ 2147483647 h 790"/>
                <a:gd name="T22" fmla="*/ 2147483647 w 1023"/>
                <a:gd name="T23" fmla="*/ 2147483647 h 790"/>
                <a:gd name="T24" fmla="*/ 2147483647 w 1023"/>
                <a:gd name="T25" fmla="*/ 2147483647 h 790"/>
                <a:gd name="T26" fmla="*/ 2147483647 w 1023"/>
                <a:gd name="T27" fmla="*/ 2147483647 h 790"/>
                <a:gd name="T28" fmla="*/ 2147483647 w 1023"/>
                <a:gd name="T29" fmla="*/ 2147483647 h 790"/>
                <a:gd name="T30" fmla="*/ 2147483647 w 1023"/>
                <a:gd name="T31" fmla="*/ 0 h 790"/>
                <a:gd name="T32" fmla="*/ 2147483647 w 1023"/>
                <a:gd name="T33" fmla="*/ 2147483647 h 790"/>
                <a:gd name="T34" fmla="*/ 2147483647 w 1023"/>
                <a:gd name="T35" fmla="*/ 2147483647 h 790"/>
                <a:gd name="T36" fmla="*/ 2147483647 w 1023"/>
                <a:gd name="T37" fmla="*/ 2147483647 h 790"/>
                <a:gd name="T38" fmla="*/ 2147483647 w 1023"/>
                <a:gd name="T39" fmla="*/ 2147483647 h 790"/>
                <a:gd name="T40" fmla="*/ 0 w 1023"/>
                <a:gd name="T41" fmla="*/ 2147483647 h 79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23"/>
                <a:gd name="T64" fmla="*/ 0 h 790"/>
                <a:gd name="T65" fmla="*/ 1023 w 1023"/>
                <a:gd name="T66" fmla="*/ 790 h 79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23" h="790">
                  <a:moveTo>
                    <a:pt x="0" y="605"/>
                  </a:moveTo>
                  <a:lnTo>
                    <a:pt x="123" y="790"/>
                  </a:lnTo>
                  <a:lnTo>
                    <a:pt x="210" y="785"/>
                  </a:lnTo>
                  <a:lnTo>
                    <a:pt x="255" y="668"/>
                  </a:lnTo>
                  <a:lnTo>
                    <a:pt x="378" y="633"/>
                  </a:lnTo>
                  <a:lnTo>
                    <a:pt x="424" y="698"/>
                  </a:lnTo>
                  <a:lnTo>
                    <a:pt x="488" y="698"/>
                  </a:lnTo>
                  <a:lnTo>
                    <a:pt x="552" y="720"/>
                  </a:lnTo>
                  <a:lnTo>
                    <a:pt x="662" y="668"/>
                  </a:lnTo>
                  <a:lnTo>
                    <a:pt x="738" y="710"/>
                  </a:lnTo>
                  <a:lnTo>
                    <a:pt x="854" y="640"/>
                  </a:lnTo>
                  <a:lnTo>
                    <a:pt x="854" y="588"/>
                  </a:lnTo>
                  <a:lnTo>
                    <a:pt x="1023" y="389"/>
                  </a:lnTo>
                  <a:lnTo>
                    <a:pt x="1023" y="239"/>
                  </a:lnTo>
                  <a:lnTo>
                    <a:pt x="983" y="187"/>
                  </a:lnTo>
                  <a:lnTo>
                    <a:pt x="993" y="0"/>
                  </a:lnTo>
                  <a:lnTo>
                    <a:pt x="913" y="65"/>
                  </a:lnTo>
                  <a:lnTo>
                    <a:pt x="726" y="35"/>
                  </a:lnTo>
                  <a:lnTo>
                    <a:pt x="244" y="314"/>
                  </a:lnTo>
                  <a:lnTo>
                    <a:pt x="175" y="529"/>
                  </a:lnTo>
                  <a:lnTo>
                    <a:pt x="0" y="60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2" name="Freeform 814"/>
            <p:cNvSpPr>
              <a:spLocks/>
            </p:cNvSpPr>
            <p:nvPr/>
          </p:nvSpPr>
          <p:spPr bwMode="auto">
            <a:xfrm>
              <a:off x="6259863" y="3335935"/>
              <a:ext cx="534409" cy="429604"/>
            </a:xfrm>
            <a:custGeom>
              <a:avLst/>
              <a:gdLst>
                <a:gd name="T0" fmla="*/ 2147483647 w 982"/>
                <a:gd name="T1" fmla="*/ 0 h 935"/>
                <a:gd name="T2" fmla="*/ 2147483647 w 982"/>
                <a:gd name="T3" fmla="*/ 2147483647 h 935"/>
                <a:gd name="T4" fmla="*/ 2147483647 w 982"/>
                <a:gd name="T5" fmla="*/ 2147483647 h 935"/>
                <a:gd name="T6" fmla="*/ 0 w 982"/>
                <a:gd name="T7" fmla="*/ 2147483647 h 935"/>
                <a:gd name="T8" fmla="*/ 2147483647 w 982"/>
                <a:gd name="T9" fmla="*/ 2147483647 h 935"/>
                <a:gd name="T10" fmla="*/ 2147483647 w 982"/>
                <a:gd name="T11" fmla="*/ 2147483647 h 935"/>
                <a:gd name="T12" fmla="*/ 2147483647 w 982"/>
                <a:gd name="T13" fmla="*/ 2147483647 h 935"/>
                <a:gd name="T14" fmla="*/ 2147483647 w 982"/>
                <a:gd name="T15" fmla="*/ 2147483647 h 935"/>
                <a:gd name="T16" fmla="*/ 2147483647 w 982"/>
                <a:gd name="T17" fmla="*/ 2147483647 h 935"/>
                <a:gd name="T18" fmla="*/ 2147483647 w 982"/>
                <a:gd name="T19" fmla="*/ 2147483647 h 935"/>
                <a:gd name="T20" fmla="*/ 2147483647 w 982"/>
                <a:gd name="T21" fmla="*/ 2147483647 h 935"/>
                <a:gd name="T22" fmla="*/ 2147483647 w 982"/>
                <a:gd name="T23" fmla="*/ 2147483647 h 935"/>
                <a:gd name="T24" fmla="*/ 2147483647 w 982"/>
                <a:gd name="T25" fmla="*/ 2147483647 h 935"/>
                <a:gd name="T26" fmla="*/ 2147483647 w 982"/>
                <a:gd name="T27" fmla="*/ 2147483647 h 935"/>
                <a:gd name="T28" fmla="*/ 2147483647 w 982"/>
                <a:gd name="T29" fmla="*/ 2147483647 h 935"/>
                <a:gd name="T30" fmla="*/ 2147483647 w 982"/>
                <a:gd name="T31" fmla="*/ 2147483647 h 935"/>
                <a:gd name="T32" fmla="*/ 2147483647 w 982"/>
                <a:gd name="T33" fmla="*/ 2147483647 h 935"/>
                <a:gd name="T34" fmla="*/ 2147483647 w 982"/>
                <a:gd name="T35" fmla="*/ 2147483647 h 935"/>
                <a:gd name="T36" fmla="*/ 2147483647 w 982"/>
                <a:gd name="T37" fmla="*/ 2147483647 h 935"/>
                <a:gd name="T38" fmla="*/ 2147483647 w 982"/>
                <a:gd name="T39" fmla="*/ 2147483647 h 935"/>
                <a:gd name="T40" fmla="*/ 2147483647 w 982"/>
                <a:gd name="T41" fmla="*/ 0 h 9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82"/>
                <a:gd name="T64" fmla="*/ 0 h 935"/>
                <a:gd name="T65" fmla="*/ 982 w 982"/>
                <a:gd name="T66" fmla="*/ 935 h 9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82" h="935">
                  <a:moveTo>
                    <a:pt x="204" y="0"/>
                  </a:moveTo>
                  <a:lnTo>
                    <a:pt x="40" y="221"/>
                  </a:lnTo>
                  <a:lnTo>
                    <a:pt x="47" y="389"/>
                  </a:lnTo>
                  <a:lnTo>
                    <a:pt x="0" y="487"/>
                  </a:lnTo>
                  <a:lnTo>
                    <a:pt x="70" y="633"/>
                  </a:lnTo>
                  <a:lnTo>
                    <a:pt x="151" y="691"/>
                  </a:lnTo>
                  <a:lnTo>
                    <a:pt x="331" y="721"/>
                  </a:lnTo>
                  <a:lnTo>
                    <a:pt x="406" y="656"/>
                  </a:lnTo>
                  <a:lnTo>
                    <a:pt x="901" y="935"/>
                  </a:lnTo>
                  <a:lnTo>
                    <a:pt x="895" y="883"/>
                  </a:lnTo>
                  <a:lnTo>
                    <a:pt x="982" y="883"/>
                  </a:lnTo>
                  <a:lnTo>
                    <a:pt x="930" y="233"/>
                  </a:lnTo>
                  <a:lnTo>
                    <a:pt x="971" y="203"/>
                  </a:lnTo>
                  <a:lnTo>
                    <a:pt x="954" y="105"/>
                  </a:lnTo>
                  <a:lnTo>
                    <a:pt x="808" y="18"/>
                  </a:lnTo>
                  <a:lnTo>
                    <a:pt x="697" y="35"/>
                  </a:lnTo>
                  <a:lnTo>
                    <a:pt x="657" y="180"/>
                  </a:lnTo>
                  <a:lnTo>
                    <a:pt x="616" y="198"/>
                  </a:lnTo>
                  <a:lnTo>
                    <a:pt x="448" y="110"/>
                  </a:lnTo>
                  <a:lnTo>
                    <a:pt x="384" y="29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3" name="Freeform 815"/>
            <p:cNvSpPr>
              <a:spLocks/>
            </p:cNvSpPr>
            <p:nvPr/>
          </p:nvSpPr>
          <p:spPr bwMode="auto">
            <a:xfrm>
              <a:off x="6010139" y="3930388"/>
              <a:ext cx="434519" cy="324700"/>
            </a:xfrm>
            <a:custGeom>
              <a:avLst/>
              <a:gdLst>
                <a:gd name="T0" fmla="*/ 2147483647 w 801"/>
                <a:gd name="T1" fmla="*/ 2147483647 h 698"/>
                <a:gd name="T2" fmla="*/ 2147483647 w 801"/>
                <a:gd name="T3" fmla="*/ 2147483647 h 698"/>
                <a:gd name="T4" fmla="*/ 2147483647 w 801"/>
                <a:gd name="T5" fmla="*/ 2147483647 h 698"/>
                <a:gd name="T6" fmla="*/ 2147483647 w 801"/>
                <a:gd name="T7" fmla="*/ 2147483647 h 698"/>
                <a:gd name="T8" fmla="*/ 2147483647 w 801"/>
                <a:gd name="T9" fmla="*/ 2147483647 h 698"/>
                <a:gd name="T10" fmla="*/ 2147483647 w 801"/>
                <a:gd name="T11" fmla="*/ 2147483647 h 698"/>
                <a:gd name="T12" fmla="*/ 2147483647 w 801"/>
                <a:gd name="T13" fmla="*/ 2147483647 h 698"/>
                <a:gd name="T14" fmla="*/ 2147483647 w 801"/>
                <a:gd name="T15" fmla="*/ 2147483647 h 698"/>
                <a:gd name="T16" fmla="*/ 2147483647 w 801"/>
                <a:gd name="T17" fmla="*/ 2147483647 h 698"/>
                <a:gd name="T18" fmla="*/ 2147483647 w 801"/>
                <a:gd name="T19" fmla="*/ 2147483647 h 698"/>
                <a:gd name="T20" fmla="*/ 2147483647 w 801"/>
                <a:gd name="T21" fmla="*/ 2147483647 h 698"/>
                <a:gd name="T22" fmla="*/ 2147483647 w 801"/>
                <a:gd name="T23" fmla="*/ 2147483647 h 698"/>
                <a:gd name="T24" fmla="*/ 2147483647 w 801"/>
                <a:gd name="T25" fmla="*/ 2147483647 h 698"/>
                <a:gd name="T26" fmla="*/ 2147483647 w 801"/>
                <a:gd name="T27" fmla="*/ 2147483647 h 698"/>
                <a:gd name="T28" fmla="*/ 0 w 801"/>
                <a:gd name="T29" fmla="*/ 2147483647 h 698"/>
                <a:gd name="T30" fmla="*/ 2147483647 w 801"/>
                <a:gd name="T31" fmla="*/ 2147483647 h 698"/>
                <a:gd name="T32" fmla="*/ 2147483647 w 801"/>
                <a:gd name="T33" fmla="*/ 2147483647 h 698"/>
                <a:gd name="T34" fmla="*/ 2147483647 w 801"/>
                <a:gd name="T35" fmla="*/ 2147483647 h 698"/>
                <a:gd name="T36" fmla="*/ 2147483647 w 801"/>
                <a:gd name="T37" fmla="*/ 2147483647 h 698"/>
                <a:gd name="T38" fmla="*/ 2147483647 w 801"/>
                <a:gd name="T39" fmla="*/ 2147483647 h 698"/>
                <a:gd name="T40" fmla="*/ 2147483647 w 801"/>
                <a:gd name="T41" fmla="*/ 0 h 698"/>
                <a:gd name="T42" fmla="*/ 2147483647 w 801"/>
                <a:gd name="T43" fmla="*/ 2147483647 h 698"/>
                <a:gd name="T44" fmla="*/ 2147483647 w 801"/>
                <a:gd name="T45" fmla="*/ 2147483647 h 698"/>
                <a:gd name="T46" fmla="*/ 2147483647 w 801"/>
                <a:gd name="T47" fmla="*/ 2147483647 h 698"/>
                <a:gd name="T48" fmla="*/ 2147483647 w 801"/>
                <a:gd name="T49" fmla="*/ 2147483647 h 698"/>
                <a:gd name="T50" fmla="*/ 2147483647 w 801"/>
                <a:gd name="T51" fmla="*/ 2147483647 h 698"/>
                <a:gd name="T52" fmla="*/ 2147483647 w 801"/>
                <a:gd name="T53" fmla="*/ 2147483647 h 69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801"/>
                <a:gd name="T82" fmla="*/ 0 h 698"/>
                <a:gd name="T83" fmla="*/ 801 w 801"/>
                <a:gd name="T84" fmla="*/ 698 h 69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801" h="698">
                  <a:moveTo>
                    <a:pt x="731" y="7"/>
                  </a:moveTo>
                  <a:lnTo>
                    <a:pt x="801" y="146"/>
                  </a:lnTo>
                  <a:lnTo>
                    <a:pt x="708" y="251"/>
                  </a:lnTo>
                  <a:lnTo>
                    <a:pt x="725" y="291"/>
                  </a:lnTo>
                  <a:lnTo>
                    <a:pt x="633" y="349"/>
                  </a:lnTo>
                  <a:lnTo>
                    <a:pt x="626" y="471"/>
                  </a:lnTo>
                  <a:lnTo>
                    <a:pt x="574" y="511"/>
                  </a:lnTo>
                  <a:lnTo>
                    <a:pt x="546" y="471"/>
                  </a:lnTo>
                  <a:lnTo>
                    <a:pt x="476" y="476"/>
                  </a:lnTo>
                  <a:lnTo>
                    <a:pt x="382" y="633"/>
                  </a:lnTo>
                  <a:lnTo>
                    <a:pt x="301" y="698"/>
                  </a:lnTo>
                  <a:lnTo>
                    <a:pt x="208" y="680"/>
                  </a:lnTo>
                  <a:lnTo>
                    <a:pt x="127" y="558"/>
                  </a:lnTo>
                  <a:lnTo>
                    <a:pt x="10" y="535"/>
                  </a:lnTo>
                  <a:lnTo>
                    <a:pt x="0" y="356"/>
                  </a:lnTo>
                  <a:lnTo>
                    <a:pt x="75" y="297"/>
                  </a:lnTo>
                  <a:lnTo>
                    <a:pt x="98" y="239"/>
                  </a:lnTo>
                  <a:lnTo>
                    <a:pt x="92" y="192"/>
                  </a:lnTo>
                  <a:lnTo>
                    <a:pt x="87" y="157"/>
                  </a:lnTo>
                  <a:lnTo>
                    <a:pt x="132" y="35"/>
                  </a:lnTo>
                  <a:lnTo>
                    <a:pt x="255" y="0"/>
                  </a:lnTo>
                  <a:lnTo>
                    <a:pt x="301" y="65"/>
                  </a:lnTo>
                  <a:lnTo>
                    <a:pt x="371" y="65"/>
                  </a:lnTo>
                  <a:lnTo>
                    <a:pt x="429" y="87"/>
                  </a:lnTo>
                  <a:lnTo>
                    <a:pt x="539" y="35"/>
                  </a:lnTo>
                  <a:lnTo>
                    <a:pt x="615" y="77"/>
                  </a:lnTo>
                  <a:lnTo>
                    <a:pt x="731" y="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4" name="Freeform 816"/>
            <p:cNvSpPr>
              <a:spLocks/>
            </p:cNvSpPr>
            <p:nvPr/>
          </p:nvSpPr>
          <p:spPr bwMode="auto">
            <a:xfrm>
              <a:off x="6404702" y="3635660"/>
              <a:ext cx="359604" cy="534509"/>
            </a:xfrm>
            <a:custGeom>
              <a:avLst/>
              <a:gdLst>
                <a:gd name="T0" fmla="*/ 0 w 657"/>
                <a:gd name="T1" fmla="*/ 2147483647 h 1144"/>
                <a:gd name="T2" fmla="*/ 2147483647 w 657"/>
                <a:gd name="T3" fmla="*/ 2147483647 h 1144"/>
                <a:gd name="T4" fmla="*/ 2147483647 w 657"/>
                <a:gd name="T5" fmla="*/ 2147483647 h 1144"/>
                <a:gd name="T6" fmla="*/ 2147483647 w 657"/>
                <a:gd name="T7" fmla="*/ 2147483647 h 1144"/>
                <a:gd name="T8" fmla="*/ 2147483647 w 657"/>
                <a:gd name="T9" fmla="*/ 2147483647 h 1144"/>
                <a:gd name="T10" fmla="*/ 2147483647 w 657"/>
                <a:gd name="T11" fmla="*/ 2147483647 h 1144"/>
                <a:gd name="T12" fmla="*/ 2147483647 w 657"/>
                <a:gd name="T13" fmla="*/ 2147483647 h 1144"/>
                <a:gd name="T14" fmla="*/ 2147483647 w 657"/>
                <a:gd name="T15" fmla="*/ 2147483647 h 1144"/>
                <a:gd name="T16" fmla="*/ 2147483647 w 657"/>
                <a:gd name="T17" fmla="*/ 2147483647 h 1144"/>
                <a:gd name="T18" fmla="*/ 2147483647 w 657"/>
                <a:gd name="T19" fmla="*/ 2147483647 h 1144"/>
                <a:gd name="T20" fmla="*/ 2147483647 w 657"/>
                <a:gd name="T21" fmla="*/ 2147483647 h 1144"/>
                <a:gd name="T22" fmla="*/ 2147483647 w 657"/>
                <a:gd name="T23" fmla="*/ 2147483647 h 1144"/>
                <a:gd name="T24" fmla="*/ 2147483647 w 657"/>
                <a:gd name="T25" fmla="*/ 2147483647 h 1144"/>
                <a:gd name="T26" fmla="*/ 2147483647 w 657"/>
                <a:gd name="T27" fmla="*/ 2147483647 h 1144"/>
                <a:gd name="T28" fmla="*/ 2147483647 w 657"/>
                <a:gd name="T29" fmla="*/ 2147483647 h 1144"/>
                <a:gd name="T30" fmla="*/ 2147483647 w 657"/>
                <a:gd name="T31" fmla="*/ 0 h 1144"/>
                <a:gd name="T32" fmla="*/ 2147483647 w 657"/>
                <a:gd name="T33" fmla="*/ 2147483647 h 1144"/>
                <a:gd name="T34" fmla="*/ 2147483647 w 657"/>
                <a:gd name="T35" fmla="*/ 2147483647 h 1144"/>
                <a:gd name="T36" fmla="*/ 2147483647 w 657"/>
                <a:gd name="T37" fmla="*/ 2147483647 h 1144"/>
                <a:gd name="T38" fmla="*/ 0 w 657"/>
                <a:gd name="T39" fmla="*/ 2147483647 h 1144"/>
                <a:gd name="T40" fmla="*/ 0 w 657"/>
                <a:gd name="T41" fmla="*/ 2147483647 h 1144"/>
                <a:gd name="T42" fmla="*/ 0 w 657"/>
                <a:gd name="T43" fmla="*/ 2147483647 h 1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7"/>
                <a:gd name="T67" fmla="*/ 0 h 1144"/>
                <a:gd name="T68" fmla="*/ 657 w 657"/>
                <a:gd name="T69" fmla="*/ 1144 h 11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7" h="1144">
                  <a:moveTo>
                    <a:pt x="0" y="640"/>
                  </a:moveTo>
                  <a:lnTo>
                    <a:pt x="105" y="732"/>
                  </a:lnTo>
                  <a:lnTo>
                    <a:pt x="122" y="919"/>
                  </a:lnTo>
                  <a:lnTo>
                    <a:pt x="41" y="919"/>
                  </a:lnTo>
                  <a:lnTo>
                    <a:pt x="129" y="1058"/>
                  </a:lnTo>
                  <a:lnTo>
                    <a:pt x="82" y="1144"/>
                  </a:lnTo>
                  <a:lnTo>
                    <a:pt x="320" y="1058"/>
                  </a:lnTo>
                  <a:lnTo>
                    <a:pt x="413" y="994"/>
                  </a:lnTo>
                  <a:lnTo>
                    <a:pt x="495" y="982"/>
                  </a:lnTo>
                  <a:lnTo>
                    <a:pt x="587" y="866"/>
                  </a:lnTo>
                  <a:lnTo>
                    <a:pt x="628" y="866"/>
                  </a:lnTo>
                  <a:lnTo>
                    <a:pt x="547" y="703"/>
                  </a:lnTo>
                  <a:lnTo>
                    <a:pt x="593" y="529"/>
                  </a:lnTo>
                  <a:lnTo>
                    <a:pt x="657" y="511"/>
                  </a:lnTo>
                  <a:lnTo>
                    <a:pt x="634" y="279"/>
                  </a:lnTo>
                  <a:lnTo>
                    <a:pt x="139" y="0"/>
                  </a:lnTo>
                  <a:lnTo>
                    <a:pt x="129" y="187"/>
                  </a:lnTo>
                  <a:lnTo>
                    <a:pt x="169" y="239"/>
                  </a:lnTo>
                  <a:lnTo>
                    <a:pt x="169" y="389"/>
                  </a:lnTo>
                  <a:lnTo>
                    <a:pt x="0" y="588"/>
                  </a:lnTo>
                  <a:lnTo>
                    <a:pt x="0" y="628"/>
                  </a:lnTo>
                  <a:lnTo>
                    <a:pt x="0" y="64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5" name="Freeform 817"/>
            <p:cNvSpPr>
              <a:spLocks/>
            </p:cNvSpPr>
            <p:nvPr/>
          </p:nvSpPr>
          <p:spPr bwMode="auto">
            <a:xfrm>
              <a:off x="6764306" y="3375898"/>
              <a:ext cx="394563" cy="304719"/>
            </a:xfrm>
            <a:custGeom>
              <a:avLst/>
              <a:gdLst>
                <a:gd name="T0" fmla="*/ 2147483647 w 727"/>
                <a:gd name="T1" fmla="*/ 2147483647 h 655"/>
                <a:gd name="T2" fmla="*/ 2147483647 w 727"/>
                <a:gd name="T3" fmla="*/ 2147483647 h 655"/>
                <a:gd name="T4" fmla="*/ 2147483647 w 727"/>
                <a:gd name="T5" fmla="*/ 0 h 655"/>
                <a:gd name="T6" fmla="*/ 2147483647 w 727"/>
                <a:gd name="T7" fmla="*/ 2147483647 h 655"/>
                <a:gd name="T8" fmla="*/ 2147483647 w 727"/>
                <a:gd name="T9" fmla="*/ 2147483647 h 655"/>
                <a:gd name="T10" fmla="*/ 2147483647 w 727"/>
                <a:gd name="T11" fmla="*/ 2147483647 h 655"/>
                <a:gd name="T12" fmla="*/ 2147483647 w 727"/>
                <a:gd name="T13" fmla="*/ 2147483647 h 655"/>
                <a:gd name="T14" fmla="*/ 2147483647 w 727"/>
                <a:gd name="T15" fmla="*/ 2147483647 h 655"/>
                <a:gd name="T16" fmla="*/ 2147483647 w 727"/>
                <a:gd name="T17" fmla="*/ 2147483647 h 655"/>
                <a:gd name="T18" fmla="*/ 2147483647 w 727"/>
                <a:gd name="T19" fmla="*/ 2147483647 h 655"/>
                <a:gd name="T20" fmla="*/ 2147483647 w 727"/>
                <a:gd name="T21" fmla="*/ 2147483647 h 655"/>
                <a:gd name="T22" fmla="*/ 2147483647 w 727"/>
                <a:gd name="T23" fmla="*/ 2147483647 h 655"/>
                <a:gd name="T24" fmla="*/ 0 w 727"/>
                <a:gd name="T25" fmla="*/ 2147483647 h 655"/>
                <a:gd name="T26" fmla="*/ 2147483647 w 727"/>
                <a:gd name="T27" fmla="*/ 2147483647 h 655"/>
                <a:gd name="T28" fmla="*/ 2147483647 w 727"/>
                <a:gd name="T29" fmla="*/ 2147483647 h 6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27"/>
                <a:gd name="T46" fmla="*/ 0 h 655"/>
                <a:gd name="T47" fmla="*/ 727 w 727"/>
                <a:gd name="T48" fmla="*/ 655 h 6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27" h="655">
                  <a:moveTo>
                    <a:pt x="24" y="10"/>
                  </a:moveTo>
                  <a:lnTo>
                    <a:pt x="256" y="80"/>
                  </a:lnTo>
                  <a:lnTo>
                    <a:pt x="366" y="0"/>
                  </a:lnTo>
                  <a:lnTo>
                    <a:pt x="546" y="45"/>
                  </a:lnTo>
                  <a:lnTo>
                    <a:pt x="598" y="115"/>
                  </a:lnTo>
                  <a:lnTo>
                    <a:pt x="605" y="150"/>
                  </a:lnTo>
                  <a:lnTo>
                    <a:pt x="581" y="261"/>
                  </a:lnTo>
                  <a:lnTo>
                    <a:pt x="488" y="162"/>
                  </a:lnTo>
                  <a:lnTo>
                    <a:pt x="430" y="127"/>
                  </a:lnTo>
                  <a:lnTo>
                    <a:pt x="465" y="232"/>
                  </a:lnTo>
                  <a:lnTo>
                    <a:pt x="727" y="609"/>
                  </a:lnTo>
                  <a:lnTo>
                    <a:pt x="41" y="655"/>
                  </a:lnTo>
                  <a:lnTo>
                    <a:pt x="0" y="145"/>
                  </a:lnTo>
                  <a:lnTo>
                    <a:pt x="41" y="115"/>
                  </a:lnTo>
                  <a:lnTo>
                    <a:pt x="24" y="1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6" name="Freeform 818"/>
            <p:cNvSpPr>
              <a:spLocks/>
            </p:cNvSpPr>
            <p:nvPr/>
          </p:nvSpPr>
          <p:spPr bwMode="auto">
            <a:xfrm>
              <a:off x="6214912" y="3935385"/>
              <a:ext cx="269701" cy="374656"/>
            </a:xfrm>
            <a:custGeom>
              <a:avLst/>
              <a:gdLst>
                <a:gd name="T0" fmla="*/ 0 w 495"/>
                <a:gd name="T1" fmla="*/ 2147483647 h 807"/>
                <a:gd name="T2" fmla="*/ 2147483647 w 495"/>
                <a:gd name="T3" fmla="*/ 2147483647 h 807"/>
                <a:gd name="T4" fmla="*/ 2147483647 w 495"/>
                <a:gd name="T5" fmla="*/ 2147483647 h 807"/>
                <a:gd name="T6" fmla="*/ 2147483647 w 495"/>
                <a:gd name="T7" fmla="*/ 2147483647 h 807"/>
                <a:gd name="T8" fmla="*/ 2147483647 w 495"/>
                <a:gd name="T9" fmla="*/ 2147483647 h 807"/>
                <a:gd name="T10" fmla="*/ 2147483647 w 495"/>
                <a:gd name="T11" fmla="*/ 2147483647 h 807"/>
                <a:gd name="T12" fmla="*/ 2147483647 w 495"/>
                <a:gd name="T13" fmla="*/ 2147483647 h 807"/>
                <a:gd name="T14" fmla="*/ 2147483647 w 495"/>
                <a:gd name="T15" fmla="*/ 2147483647 h 807"/>
                <a:gd name="T16" fmla="*/ 2147483647 w 495"/>
                <a:gd name="T17" fmla="*/ 2147483647 h 807"/>
                <a:gd name="T18" fmla="*/ 2147483647 w 495"/>
                <a:gd name="T19" fmla="*/ 2147483647 h 807"/>
                <a:gd name="T20" fmla="*/ 2147483647 w 495"/>
                <a:gd name="T21" fmla="*/ 0 h 807"/>
                <a:gd name="T22" fmla="*/ 2147483647 w 495"/>
                <a:gd name="T23" fmla="*/ 2147483647 h 807"/>
                <a:gd name="T24" fmla="*/ 2147483647 w 495"/>
                <a:gd name="T25" fmla="*/ 2147483647 h 807"/>
                <a:gd name="T26" fmla="*/ 2147483647 w 495"/>
                <a:gd name="T27" fmla="*/ 2147483647 h 807"/>
                <a:gd name="T28" fmla="*/ 2147483647 w 495"/>
                <a:gd name="T29" fmla="*/ 2147483647 h 807"/>
                <a:gd name="T30" fmla="*/ 2147483647 w 495"/>
                <a:gd name="T31" fmla="*/ 2147483647 h 807"/>
                <a:gd name="T32" fmla="*/ 2147483647 w 495"/>
                <a:gd name="T33" fmla="*/ 2147483647 h 807"/>
                <a:gd name="T34" fmla="*/ 2147483647 w 495"/>
                <a:gd name="T35" fmla="*/ 2147483647 h 807"/>
                <a:gd name="T36" fmla="*/ 2147483647 w 495"/>
                <a:gd name="T37" fmla="*/ 2147483647 h 807"/>
                <a:gd name="T38" fmla="*/ 0 w 495"/>
                <a:gd name="T39" fmla="*/ 2147483647 h 8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95"/>
                <a:gd name="T61" fmla="*/ 0 h 807"/>
                <a:gd name="T62" fmla="*/ 495 w 495"/>
                <a:gd name="T63" fmla="*/ 807 h 80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95" h="807">
                  <a:moveTo>
                    <a:pt x="0" y="626"/>
                  </a:moveTo>
                  <a:lnTo>
                    <a:pt x="87" y="679"/>
                  </a:lnTo>
                  <a:lnTo>
                    <a:pt x="82" y="807"/>
                  </a:lnTo>
                  <a:lnTo>
                    <a:pt x="495" y="807"/>
                  </a:lnTo>
                  <a:lnTo>
                    <a:pt x="488" y="720"/>
                  </a:lnTo>
                  <a:lnTo>
                    <a:pt x="408" y="574"/>
                  </a:lnTo>
                  <a:lnTo>
                    <a:pt x="483" y="412"/>
                  </a:lnTo>
                  <a:lnTo>
                    <a:pt x="390" y="279"/>
                  </a:lnTo>
                  <a:lnTo>
                    <a:pt x="471" y="279"/>
                  </a:lnTo>
                  <a:lnTo>
                    <a:pt x="454" y="92"/>
                  </a:lnTo>
                  <a:lnTo>
                    <a:pt x="349" y="0"/>
                  </a:lnTo>
                  <a:lnTo>
                    <a:pt x="419" y="139"/>
                  </a:lnTo>
                  <a:lnTo>
                    <a:pt x="314" y="244"/>
                  </a:lnTo>
                  <a:lnTo>
                    <a:pt x="343" y="284"/>
                  </a:lnTo>
                  <a:lnTo>
                    <a:pt x="251" y="337"/>
                  </a:lnTo>
                  <a:lnTo>
                    <a:pt x="244" y="447"/>
                  </a:lnTo>
                  <a:lnTo>
                    <a:pt x="192" y="504"/>
                  </a:lnTo>
                  <a:lnTo>
                    <a:pt x="164" y="464"/>
                  </a:lnTo>
                  <a:lnTo>
                    <a:pt x="94" y="469"/>
                  </a:lnTo>
                  <a:lnTo>
                    <a:pt x="0" y="62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7" name="Freeform 819"/>
            <p:cNvSpPr>
              <a:spLocks/>
            </p:cNvSpPr>
            <p:nvPr/>
          </p:nvSpPr>
          <p:spPr bwMode="auto">
            <a:xfrm>
              <a:off x="6704372" y="3655641"/>
              <a:ext cx="554387" cy="594455"/>
            </a:xfrm>
            <a:custGeom>
              <a:avLst/>
              <a:gdLst>
                <a:gd name="T0" fmla="*/ 2147483647 w 1028"/>
                <a:gd name="T1" fmla="*/ 0 h 1284"/>
                <a:gd name="T2" fmla="*/ 2147483647 w 1028"/>
                <a:gd name="T3" fmla="*/ 2147483647 h 1284"/>
                <a:gd name="T4" fmla="*/ 2147483647 w 1028"/>
                <a:gd name="T5" fmla="*/ 2147483647 h 1284"/>
                <a:gd name="T6" fmla="*/ 2147483647 w 1028"/>
                <a:gd name="T7" fmla="*/ 2147483647 h 1284"/>
                <a:gd name="T8" fmla="*/ 2147483647 w 1028"/>
                <a:gd name="T9" fmla="*/ 2147483647 h 1284"/>
                <a:gd name="T10" fmla="*/ 2147483647 w 1028"/>
                <a:gd name="T11" fmla="*/ 2147483647 h 1284"/>
                <a:gd name="T12" fmla="*/ 0 w 1028"/>
                <a:gd name="T13" fmla="*/ 2147483647 h 1284"/>
                <a:gd name="T14" fmla="*/ 2147483647 w 1028"/>
                <a:gd name="T15" fmla="*/ 2147483647 h 1284"/>
                <a:gd name="T16" fmla="*/ 2147483647 w 1028"/>
                <a:gd name="T17" fmla="*/ 2147483647 h 1284"/>
                <a:gd name="T18" fmla="*/ 2147483647 w 1028"/>
                <a:gd name="T19" fmla="*/ 2147483647 h 1284"/>
                <a:gd name="T20" fmla="*/ 2147483647 w 1028"/>
                <a:gd name="T21" fmla="*/ 2147483647 h 1284"/>
                <a:gd name="T22" fmla="*/ 2147483647 w 1028"/>
                <a:gd name="T23" fmla="*/ 2147483647 h 1284"/>
                <a:gd name="T24" fmla="*/ 2147483647 w 1028"/>
                <a:gd name="T25" fmla="*/ 2147483647 h 1284"/>
                <a:gd name="T26" fmla="*/ 2147483647 w 1028"/>
                <a:gd name="T27" fmla="*/ 2147483647 h 1284"/>
                <a:gd name="T28" fmla="*/ 2147483647 w 1028"/>
                <a:gd name="T29" fmla="*/ 2147483647 h 1284"/>
                <a:gd name="T30" fmla="*/ 2147483647 w 1028"/>
                <a:gd name="T31" fmla="*/ 2147483647 h 1284"/>
                <a:gd name="T32" fmla="*/ 2147483647 w 1028"/>
                <a:gd name="T33" fmla="*/ 2147483647 h 1284"/>
                <a:gd name="T34" fmla="*/ 2147483647 w 1028"/>
                <a:gd name="T35" fmla="*/ 2147483647 h 1284"/>
                <a:gd name="T36" fmla="*/ 2147483647 w 1028"/>
                <a:gd name="T37" fmla="*/ 2147483647 h 1284"/>
                <a:gd name="T38" fmla="*/ 2147483647 w 1028"/>
                <a:gd name="T39" fmla="*/ 2147483647 h 1284"/>
                <a:gd name="T40" fmla="*/ 2147483647 w 1028"/>
                <a:gd name="T41" fmla="*/ 2147483647 h 1284"/>
                <a:gd name="T42" fmla="*/ 2147483647 w 1028"/>
                <a:gd name="T43" fmla="*/ 2147483647 h 1284"/>
                <a:gd name="T44" fmla="*/ 2147483647 w 1028"/>
                <a:gd name="T45" fmla="*/ 2147483647 h 1284"/>
                <a:gd name="T46" fmla="*/ 2147483647 w 1028"/>
                <a:gd name="T47" fmla="*/ 2147483647 h 1284"/>
                <a:gd name="T48" fmla="*/ 2147483647 w 1028"/>
                <a:gd name="T49" fmla="*/ 2147483647 h 1284"/>
                <a:gd name="T50" fmla="*/ 2147483647 w 1028"/>
                <a:gd name="T51" fmla="*/ 2147483647 h 1284"/>
                <a:gd name="T52" fmla="*/ 2147483647 w 1028"/>
                <a:gd name="T53" fmla="*/ 2147483647 h 1284"/>
                <a:gd name="T54" fmla="*/ 2147483647 w 1028"/>
                <a:gd name="T55" fmla="*/ 2147483647 h 1284"/>
                <a:gd name="T56" fmla="*/ 2147483647 w 1028"/>
                <a:gd name="T57" fmla="*/ 2147483647 h 1284"/>
                <a:gd name="T58" fmla="*/ 2147483647 w 1028"/>
                <a:gd name="T59" fmla="*/ 2147483647 h 1284"/>
                <a:gd name="T60" fmla="*/ 2147483647 w 1028"/>
                <a:gd name="T61" fmla="*/ 2147483647 h 1284"/>
                <a:gd name="T62" fmla="*/ 2147483647 w 1028"/>
                <a:gd name="T63" fmla="*/ 2147483647 h 1284"/>
                <a:gd name="T64" fmla="*/ 2147483647 w 1028"/>
                <a:gd name="T65" fmla="*/ 2147483647 h 1284"/>
                <a:gd name="T66" fmla="*/ 2147483647 w 1028"/>
                <a:gd name="T67" fmla="*/ 0 h 12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28"/>
                <a:gd name="T103" fmla="*/ 0 h 1284"/>
                <a:gd name="T104" fmla="*/ 1028 w 1028"/>
                <a:gd name="T105" fmla="*/ 1284 h 12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28" h="1284">
                  <a:moveTo>
                    <a:pt x="848" y="0"/>
                  </a:moveTo>
                  <a:lnTo>
                    <a:pt x="157" y="46"/>
                  </a:lnTo>
                  <a:lnTo>
                    <a:pt x="168" y="186"/>
                  </a:lnTo>
                  <a:lnTo>
                    <a:pt x="75" y="180"/>
                  </a:lnTo>
                  <a:lnTo>
                    <a:pt x="110" y="470"/>
                  </a:lnTo>
                  <a:lnTo>
                    <a:pt x="46" y="488"/>
                  </a:lnTo>
                  <a:lnTo>
                    <a:pt x="0" y="662"/>
                  </a:lnTo>
                  <a:lnTo>
                    <a:pt x="116" y="918"/>
                  </a:lnTo>
                  <a:lnTo>
                    <a:pt x="220" y="1000"/>
                  </a:lnTo>
                  <a:lnTo>
                    <a:pt x="232" y="1035"/>
                  </a:lnTo>
                  <a:lnTo>
                    <a:pt x="307" y="1075"/>
                  </a:lnTo>
                  <a:lnTo>
                    <a:pt x="354" y="1185"/>
                  </a:lnTo>
                  <a:lnTo>
                    <a:pt x="412" y="1220"/>
                  </a:lnTo>
                  <a:lnTo>
                    <a:pt x="470" y="1220"/>
                  </a:lnTo>
                  <a:lnTo>
                    <a:pt x="499" y="1243"/>
                  </a:lnTo>
                  <a:lnTo>
                    <a:pt x="522" y="1214"/>
                  </a:lnTo>
                  <a:lnTo>
                    <a:pt x="587" y="1284"/>
                  </a:lnTo>
                  <a:lnTo>
                    <a:pt x="726" y="1272"/>
                  </a:lnTo>
                  <a:lnTo>
                    <a:pt x="848" y="1202"/>
                  </a:lnTo>
                  <a:lnTo>
                    <a:pt x="930" y="1197"/>
                  </a:lnTo>
                  <a:lnTo>
                    <a:pt x="912" y="1127"/>
                  </a:lnTo>
                  <a:lnTo>
                    <a:pt x="825" y="1092"/>
                  </a:lnTo>
                  <a:lnTo>
                    <a:pt x="819" y="982"/>
                  </a:lnTo>
                  <a:lnTo>
                    <a:pt x="743" y="988"/>
                  </a:lnTo>
                  <a:lnTo>
                    <a:pt x="743" y="948"/>
                  </a:lnTo>
                  <a:lnTo>
                    <a:pt x="825" y="883"/>
                  </a:lnTo>
                  <a:lnTo>
                    <a:pt x="831" y="773"/>
                  </a:lnTo>
                  <a:lnTo>
                    <a:pt x="941" y="610"/>
                  </a:lnTo>
                  <a:lnTo>
                    <a:pt x="923" y="488"/>
                  </a:lnTo>
                  <a:lnTo>
                    <a:pt x="941" y="390"/>
                  </a:lnTo>
                  <a:lnTo>
                    <a:pt x="1028" y="296"/>
                  </a:lnTo>
                  <a:lnTo>
                    <a:pt x="935" y="244"/>
                  </a:lnTo>
                  <a:lnTo>
                    <a:pt x="923" y="122"/>
                  </a:lnTo>
                  <a:lnTo>
                    <a:pt x="848" y="0"/>
                  </a:lnTo>
                  <a:close/>
                </a:path>
              </a:pathLst>
            </a:custGeom>
            <a:solidFill>
              <a:srgbClr val="00AAFF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8" name="Freeform 820"/>
            <p:cNvSpPr>
              <a:spLocks/>
            </p:cNvSpPr>
            <p:nvPr/>
          </p:nvSpPr>
          <p:spPr bwMode="auto">
            <a:xfrm>
              <a:off x="6439664" y="4035294"/>
              <a:ext cx="454499" cy="244776"/>
            </a:xfrm>
            <a:custGeom>
              <a:avLst/>
              <a:gdLst>
                <a:gd name="T0" fmla="*/ 2147483647 w 842"/>
                <a:gd name="T1" fmla="*/ 2147483647 h 517"/>
                <a:gd name="T2" fmla="*/ 0 w 842"/>
                <a:gd name="T3" fmla="*/ 2147483647 h 517"/>
                <a:gd name="T4" fmla="*/ 2147483647 w 842"/>
                <a:gd name="T5" fmla="*/ 2147483647 h 517"/>
                <a:gd name="T6" fmla="*/ 2147483647 w 842"/>
                <a:gd name="T7" fmla="*/ 2147483647 h 517"/>
                <a:gd name="T8" fmla="*/ 2147483647 w 842"/>
                <a:gd name="T9" fmla="*/ 2147483647 h 517"/>
                <a:gd name="T10" fmla="*/ 2147483647 w 842"/>
                <a:gd name="T11" fmla="*/ 2147483647 h 517"/>
                <a:gd name="T12" fmla="*/ 2147483647 w 842"/>
                <a:gd name="T13" fmla="*/ 2147483647 h 517"/>
                <a:gd name="T14" fmla="*/ 2147483647 w 842"/>
                <a:gd name="T15" fmla="*/ 2147483647 h 517"/>
                <a:gd name="T16" fmla="*/ 2147483647 w 842"/>
                <a:gd name="T17" fmla="*/ 2147483647 h 517"/>
                <a:gd name="T18" fmla="*/ 2147483647 w 842"/>
                <a:gd name="T19" fmla="*/ 2147483647 h 517"/>
                <a:gd name="T20" fmla="*/ 2147483647 w 842"/>
                <a:gd name="T21" fmla="*/ 2147483647 h 517"/>
                <a:gd name="T22" fmla="*/ 2147483647 w 842"/>
                <a:gd name="T23" fmla="*/ 2147483647 h 517"/>
                <a:gd name="T24" fmla="*/ 2147483647 w 842"/>
                <a:gd name="T25" fmla="*/ 2147483647 h 517"/>
                <a:gd name="T26" fmla="*/ 2147483647 w 842"/>
                <a:gd name="T27" fmla="*/ 2147483647 h 517"/>
                <a:gd name="T28" fmla="*/ 2147483647 w 842"/>
                <a:gd name="T29" fmla="*/ 2147483647 h 517"/>
                <a:gd name="T30" fmla="*/ 2147483647 w 842"/>
                <a:gd name="T31" fmla="*/ 2147483647 h 517"/>
                <a:gd name="T32" fmla="*/ 2147483647 w 842"/>
                <a:gd name="T33" fmla="*/ 0 h 517"/>
                <a:gd name="T34" fmla="*/ 2147483647 w 842"/>
                <a:gd name="T35" fmla="*/ 2147483647 h 517"/>
                <a:gd name="T36" fmla="*/ 2147483647 w 842"/>
                <a:gd name="T37" fmla="*/ 2147483647 h 517"/>
                <a:gd name="T38" fmla="*/ 2147483647 w 842"/>
                <a:gd name="T39" fmla="*/ 2147483647 h 517"/>
                <a:gd name="T40" fmla="*/ 2147483647 w 842"/>
                <a:gd name="T41" fmla="*/ 2147483647 h 517"/>
                <a:gd name="T42" fmla="*/ 2147483647 w 842"/>
                <a:gd name="T43" fmla="*/ 2147483647 h 5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42"/>
                <a:gd name="T67" fmla="*/ 0 h 517"/>
                <a:gd name="T68" fmla="*/ 842 w 842"/>
                <a:gd name="T69" fmla="*/ 517 h 5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42" h="517">
                  <a:moveTo>
                    <a:pt x="35" y="279"/>
                  </a:moveTo>
                  <a:lnTo>
                    <a:pt x="0" y="354"/>
                  </a:lnTo>
                  <a:lnTo>
                    <a:pt x="75" y="500"/>
                  </a:lnTo>
                  <a:lnTo>
                    <a:pt x="145" y="459"/>
                  </a:lnTo>
                  <a:lnTo>
                    <a:pt x="267" y="517"/>
                  </a:lnTo>
                  <a:lnTo>
                    <a:pt x="290" y="418"/>
                  </a:lnTo>
                  <a:lnTo>
                    <a:pt x="359" y="383"/>
                  </a:lnTo>
                  <a:lnTo>
                    <a:pt x="516" y="430"/>
                  </a:lnTo>
                  <a:lnTo>
                    <a:pt x="621" y="366"/>
                  </a:lnTo>
                  <a:lnTo>
                    <a:pt x="691" y="371"/>
                  </a:lnTo>
                  <a:lnTo>
                    <a:pt x="749" y="343"/>
                  </a:lnTo>
                  <a:lnTo>
                    <a:pt x="842" y="361"/>
                  </a:lnTo>
                  <a:lnTo>
                    <a:pt x="795" y="256"/>
                  </a:lnTo>
                  <a:lnTo>
                    <a:pt x="720" y="216"/>
                  </a:lnTo>
                  <a:lnTo>
                    <a:pt x="715" y="181"/>
                  </a:lnTo>
                  <a:lnTo>
                    <a:pt x="621" y="111"/>
                  </a:lnTo>
                  <a:lnTo>
                    <a:pt x="563" y="0"/>
                  </a:lnTo>
                  <a:lnTo>
                    <a:pt x="528" y="6"/>
                  </a:lnTo>
                  <a:lnTo>
                    <a:pt x="436" y="122"/>
                  </a:lnTo>
                  <a:lnTo>
                    <a:pt x="354" y="134"/>
                  </a:lnTo>
                  <a:lnTo>
                    <a:pt x="267" y="192"/>
                  </a:lnTo>
                  <a:lnTo>
                    <a:pt x="35" y="27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19" name="Freeform 821"/>
            <p:cNvSpPr>
              <a:spLocks/>
            </p:cNvSpPr>
            <p:nvPr/>
          </p:nvSpPr>
          <p:spPr bwMode="auto">
            <a:xfrm>
              <a:off x="7108925" y="3795514"/>
              <a:ext cx="504443" cy="454582"/>
            </a:xfrm>
            <a:custGeom>
              <a:avLst/>
              <a:gdLst>
                <a:gd name="T0" fmla="*/ 2147483647 w 942"/>
                <a:gd name="T1" fmla="*/ 0 h 988"/>
                <a:gd name="T2" fmla="*/ 2147483647 w 942"/>
                <a:gd name="T3" fmla="*/ 2147483647 h 988"/>
                <a:gd name="T4" fmla="*/ 2147483647 w 942"/>
                <a:gd name="T5" fmla="*/ 2147483647 h 988"/>
                <a:gd name="T6" fmla="*/ 2147483647 w 942"/>
                <a:gd name="T7" fmla="*/ 2147483647 h 988"/>
                <a:gd name="T8" fmla="*/ 2147483647 w 942"/>
                <a:gd name="T9" fmla="*/ 2147483647 h 988"/>
                <a:gd name="T10" fmla="*/ 2147483647 w 942"/>
                <a:gd name="T11" fmla="*/ 2147483647 h 988"/>
                <a:gd name="T12" fmla="*/ 2147483647 w 942"/>
                <a:gd name="T13" fmla="*/ 2147483647 h 988"/>
                <a:gd name="T14" fmla="*/ 2147483647 w 942"/>
                <a:gd name="T15" fmla="*/ 2147483647 h 988"/>
                <a:gd name="T16" fmla="*/ 2147483647 w 942"/>
                <a:gd name="T17" fmla="*/ 2147483647 h 988"/>
                <a:gd name="T18" fmla="*/ 2147483647 w 942"/>
                <a:gd name="T19" fmla="*/ 2147483647 h 988"/>
                <a:gd name="T20" fmla="*/ 2147483647 w 942"/>
                <a:gd name="T21" fmla="*/ 2147483647 h 988"/>
                <a:gd name="T22" fmla="*/ 2147483647 w 942"/>
                <a:gd name="T23" fmla="*/ 2147483647 h 988"/>
                <a:gd name="T24" fmla="*/ 2147483647 w 942"/>
                <a:gd name="T25" fmla="*/ 2147483647 h 988"/>
                <a:gd name="T26" fmla="*/ 2147483647 w 942"/>
                <a:gd name="T27" fmla="*/ 2147483647 h 988"/>
                <a:gd name="T28" fmla="*/ 2147483647 w 942"/>
                <a:gd name="T29" fmla="*/ 2147483647 h 988"/>
                <a:gd name="T30" fmla="*/ 2147483647 w 942"/>
                <a:gd name="T31" fmla="*/ 2147483647 h 988"/>
                <a:gd name="T32" fmla="*/ 2147483647 w 942"/>
                <a:gd name="T33" fmla="*/ 2147483647 h 988"/>
                <a:gd name="T34" fmla="*/ 2147483647 w 942"/>
                <a:gd name="T35" fmla="*/ 2147483647 h 988"/>
                <a:gd name="T36" fmla="*/ 2147483647 w 942"/>
                <a:gd name="T37" fmla="*/ 2147483647 h 988"/>
                <a:gd name="T38" fmla="*/ 2147483647 w 942"/>
                <a:gd name="T39" fmla="*/ 2147483647 h 988"/>
                <a:gd name="T40" fmla="*/ 0 w 942"/>
                <a:gd name="T41" fmla="*/ 2147483647 h 988"/>
                <a:gd name="T42" fmla="*/ 0 w 942"/>
                <a:gd name="T43" fmla="*/ 2147483647 h 988"/>
                <a:gd name="T44" fmla="*/ 2147483647 w 942"/>
                <a:gd name="T45" fmla="*/ 2147483647 h 988"/>
                <a:gd name="T46" fmla="*/ 2147483647 w 942"/>
                <a:gd name="T47" fmla="*/ 2147483647 h 988"/>
                <a:gd name="T48" fmla="*/ 2147483647 w 942"/>
                <a:gd name="T49" fmla="*/ 2147483647 h 988"/>
                <a:gd name="T50" fmla="*/ 2147483647 w 942"/>
                <a:gd name="T51" fmla="*/ 2147483647 h 988"/>
                <a:gd name="T52" fmla="*/ 2147483647 w 942"/>
                <a:gd name="T53" fmla="*/ 2147483647 h 988"/>
                <a:gd name="T54" fmla="*/ 2147483647 w 942"/>
                <a:gd name="T55" fmla="*/ 0 h 9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42"/>
                <a:gd name="T85" fmla="*/ 0 h 988"/>
                <a:gd name="T86" fmla="*/ 942 w 942"/>
                <a:gd name="T87" fmla="*/ 988 h 9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42" h="988">
                  <a:moveTo>
                    <a:pt x="280" y="0"/>
                  </a:moveTo>
                  <a:lnTo>
                    <a:pt x="361" y="186"/>
                  </a:lnTo>
                  <a:lnTo>
                    <a:pt x="581" y="343"/>
                  </a:lnTo>
                  <a:lnTo>
                    <a:pt x="518" y="407"/>
                  </a:lnTo>
                  <a:lnTo>
                    <a:pt x="506" y="477"/>
                  </a:lnTo>
                  <a:lnTo>
                    <a:pt x="634" y="453"/>
                  </a:lnTo>
                  <a:lnTo>
                    <a:pt x="593" y="500"/>
                  </a:lnTo>
                  <a:lnTo>
                    <a:pt x="658" y="593"/>
                  </a:lnTo>
                  <a:lnTo>
                    <a:pt x="756" y="640"/>
                  </a:lnTo>
                  <a:lnTo>
                    <a:pt x="942" y="640"/>
                  </a:lnTo>
                  <a:lnTo>
                    <a:pt x="797" y="831"/>
                  </a:lnTo>
                  <a:lnTo>
                    <a:pt x="529" y="953"/>
                  </a:lnTo>
                  <a:lnTo>
                    <a:pt x="454" y="924"/>
                  </a:lnTo>
                  <a:lnTo>
                    <a:pt x="402" y="988"/>
                  </a:lnTo>
                  <a:lnTo>
                    <a:pt x="332" y="982"/>
                  </a:lnTo>
                  <a:lnTo>
                    <a:pt x="239" y="894"/>
                  </a:lnTo>
                  <a:lnTo>
                    <a:pt x="187" y="894"/>
                  </a:lnTo>
                  <a:lnTo>
                    <a:pt x="169" y="831"/>
                  </a:lnTo>
                  <a:lnTo>
                    <a:pt x="82" y="796"/>
                  </a:lnTo>
                  <a:lnTo>
                    <a:pt x="76" y="686"/>
                  </a:lnTo>
                  <a:lnTo>
                    <a:pt x="0" y="692"/>
                  </a:lnTo>
                  <a:lnTo>
                    <a:pt x="0" y="652"/>
                  </a:lnTo>
                  <a:lnTo>
                    <a:pt x="82" y="587"/>
                  </a:lnTo>
                  <a:lnTo>
                    <a:pt x="88" y="477"/>
                  </a:lnTo>
                  <a:lnTo>
                    <a:pt x="198" y="314"/>
                  </a:lnTo>
                  <a:lnTo>
                    <a:pt x="180" y="186"/>
                  </a:lnTo>
                  <a:lnTo>
                    <a:pt x="198" y="94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0" name="Freeform 822"/>
            <p:cNvSpPr>
              <a:spLocks/>
            </p:cNvSpPr>
            <p:nvPr/>
          </p:nvSpPr>
          <p:spPr bwMode="auto">
            <a:xfrm>
              <a:off x="7383621" y="3955366"/>
              <a:ext cx="64929" cy="59945"/>
            </a:xfrm>
            <a:custGeom>
              <a:avLst/>
              <a:gdLst>
                <a:gd name="T0" fmla="*/ 2147483647 w 122"/>
                <a:gd name="T1" fmla="*/ 0 h 134"/>
                <a:gd name="T2" fmla="*/ 2147483647 w 122"/>
                <a:gd name="T3" fmla="*/ 2147483647 h 134"/>
                <a:gd name="T4" fmla="*/ 0 w 122"/>
                <a:gd name="T5" fmla="*/ 2147483647 h 134"/>
                <a:gd name="T6" fmla="*/ 2147483647 w 122"/>
                <a:gd name="T7" fmla="*/ 2147483647 h 134"/>
                <a:gd name="T8" fmla="*/ 2147483647 w 122"/>
                <a:gd name="T9" fmla="*/ 0 h 1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"/>
                <a:gd name="T16" fmla="*/ 0 h 134"/>
                <a:gd name="T17" fmla="*/ 122 w 122"/>
                <a:gd name="T18" fmla="*/ 134 h 1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" h="134">
                  <a:moveTo>
                    <a:pt x="64" y="0"/>
                  </a:moveTo>
                  <a:lnTo>
                    <a:pt x="6" y="64"/>
                  </a:lnTo>
                  <a:lnTo>
                    <a:pt x="0" y="134"/>
                  </a:lnTo>
                  <a:lnTo>
                    <a:pt x="122" y="11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1" name="Freeform 823"/>
            <p:cNvSpPr>
              <a:spLocks/>
            </p:cNvSpPr>
            <p:nvPr/>
          </p:nvSpPr>
          <p:spPr bwMode="auto">
            <a:xfrm>
              <a:off x="7373631" y="3970353"/>
              <a:ext cx="354609" cy="429604"/>
            </a:xfrm>
            <a:custGeom>
              <a:avLst/>
              <a:gdLst>
                <a:gd name="T0" fmla="*/ 2147483647 w 651"/>
                <a:gd name="T1" fmla="*/ 2147483647 h 929"/>
                <a:gd name="T2" fmla="*/ 2147483647 w 651"/>
                <a:gd name="T3" fmla="*/ 2147483647 h 929"/>
                <a:gd name="T4" fmla="*/ 2147483647 w 651"/>
                <a:gd name="T5" fmla="*/ 2147483647 h 929"/>
                <a:gd name="T6" fmla="*/ 2147483647 w 651"/>
                <a:gd name="T7" fmla="*/ 2147483647 h 929"/>
                <a:gd name="T8" fmla="*/ 2147483647 w 651"/>
                <a:gd name="T9" fmla="*/ 2147483647 h 929"/>
                <a:gd name="T10" fmla="*/ 2147483647 w 651"/>
                <a:gd name="T11" fmla="*/ 0 h 929"/>
                <a:gd name="T12" fmla="*/ 2147483647 w 651"/>
                <a:gd name="T13" fmla="*/ 2147483647 h 929"/>
                <a:gd name="T14" fmla="*/ 2147483647 w 651"/>
                <a:gd name="T15" fmla="*/ 2147483647 h 929"/>
                <a:gd name="T16" fmla="*/ 2147483647 w 651"/>
                <a:gd name="T17" fmla="*/ 2147483647 h 929"/>
                <a:gd name="T18" fmla="*/ 0 w 651"/>
                <a:gd name="T19" fmla="*/ 2147483647 h 929"/>
                <a:gd name="T20" fmla="*/ 2147483647 w 651"/>
                <a:gd name="T21" fmla="*/ 2147483647 h 929"/>
                <a:gd name="T22" fmla="*/ 2147483647 w 651"/>
                <a:gd name="T23" fmla="*/ 2147483647 h 929"/>
                <a:gd name="T24" fmla="*/ 2147483647 w 651"/>
                <a:gd name="T25" fmla="*/ 2147483647 h 929"/>
                <a:gd name="T26" fmla="*/ 2147483647 w 651"/>
                <a:gd name="T27" fmla="*/ 2147483647 h 929"/>
                <a:gd name="T28" fmla="*/ 2147483647 w 651"/>
                <a:gd name="T29" fmla="*/ 2147483647 h 929"/>
                <a:gd name="T30" fmla="*/ 2147483647 w 651"/>
                <a:gd name="T31" fmla="*/ 2147483647 h 929"/>
                <a:gd name="T32" fmla="*/ 2147483647 w 651"/>
                <a:gd name="T33" fmla="*/ 2147483647 h 9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51"/>
                <a:gd name="T52" fmla="*/ 0 h 929"/>
                <a:gd name="T53" fmla="*/ 651 w 651"/>
                <a:gd name="T54" fmla="*/ 929 h 9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51" h="929">
                  <a:moveTo>
                    <a:pt x="140" y="75"/>
                  </a:moveTo>
                  <a:lnTo>
                    <a:pt x="157" y="117"/>
                  </a:lnTo>
                  <a:lnTo>
                    <a:pt x="297" y="105"/>
                  </a:lnTo>
                  <a:lnTo>
                    <a:pt x="436" y="87"/>
                  </a:lnTo>
                  <a:lnTo>
                    <a:pt x="535" y="58"/>
                  </a:lnTo>
                  <a:lnTo>
                    <a:pt x="611" y="0"/>
                  </a:lnTo>
                  <a:lnTo>
                    <a:pt x="651" y="82"/>
                  </a:lnTo>
                  <a:lnTo>
                    <a:pt x="448" y="540"/>
                  </a:lnTo>
                  <a:lnTo>
                    <a:pt x="35" y="929"/>
                  </a:lnTo>
                  <a:lnTo>
                    <a:pt x="0" y="848"/>
                  </a:lnTo>
                  <a:lnTo>
                    <a:pt x="30" y="575"/>
                  </a:lnTo>
                  <a:lnTo>
                    <a:pt x="303" y="453"/>
                  </a:lnTo>
                  <a:lnTo>
                    <a:pt x="448" y="262"/>
                  </a:lnTo>
                  <a:lnTo>
                    <a:pt x="262" y="262"/>
                  </a:lnTo>
                  <a:lnTo>
                    <a:pt x="164" y="215"/>
                  </a:lnTo>
                  <a:lnTo>
                    <a:pt x="99" y="122"/>
                  </a:lnTo>
                  <a:lnTo>
                    <a:pt x="140" y="7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2" name="Freeform 824"/>
            <p:cNvSpPr>
              <a:spLocks/>
            </p:cNvSpPr>
            <p:nvPr/>
          </p:nvSpPr>
          <p:spPr bwMode="auto">
            <a:xfrm>
              <a:off x="6254868" y="4305044"/>
              <a:ext cx="64929" cy="39963"/>
            </a:xfrm>
            <a:custGeom>
              <a:avLst/>
              <a:gdLst>
                <a:gd name="T0" fmla="*/ 2147483647 w 122"/>
                <a:gd name="T1" fmla="*/ 0 h 81"/>
                <a:gd name="T2" fmla="*/ 2147483647 w 122"/>
                <a:gd name="T3" fmla="*/ 2147483647 h 81"/>
                <a:gd name="T4" fmla="*/ 2147483647 w 122"/>
                <a:gd name="T5" fmla="*/ 2147483647 h 81"/>
                <a:gd name="T6" fmla="*/ 0 w 122"/>
                <a:gd name="T7" fmla="*/ 2147483647 h 81"/>
                <a:gd name="T8" fmla="*/ 2147483647 w 122"/>
                <a:gd name="T9" fmla="*/ 0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"/>
                <a:gd name="T16" fmla="*/ 0 h 81"/>
                <a:gd name="T17" fmla="*/ 122 w 122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" h="81">
                  <a:moveTo>
                    <a:pt x="18" y="0"/>
                  </a:moveTo>
                  <a:lnTo>
                    <a:pt x="122" y="6"/>
                  </a:lnTo>
                  <a:lnTo>
                    <a:pt x="111" y="81"/>
                  </a:lnTo>
                  <a:lnTo>
                    <a:pt x="0" y="7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3" name="Freeform 825"/>
            <p:cNvSpPr>
              <a:spLocks/>
            </p:cNvSpPr>
            <p:nvPr/>
          </p:nvSpPr>
          <p:spPr bwMode="auto">
            <a:xfrm>
              <a:off x="6229897" y="4310041"/>
              <a:ext cx="204772" cy="219799"/>
            </a:xfrm>
            <a:custGeom>
              <a:avLst/>
              <a:gdLst>
                <a:gd name="T0" fmla="*/ 2147483647 w 371"/>
                <a:gd name="T1" fmla="*/ 0 h 476"/>
                <a:gd name="T2" fmla="*/ 2147483647 w 371"/>
                <a:gd name="T3" fmla="*/ 0 h 476"/>
                <a:gd name="T4" fmla="*/ 2147483647 w 371"/>
                <a:gd name="T5" fmla="*/ 2147483647 h 476"/>
                <a:gd name="T6" fmla="*/ 2147483647 w 371"/>
                <a:gd name="T7" fmla="*/ 2147483647 h 476"/>
                <a:gd name="T8" fmla="*/ 2147483647 w 371"/>
                <a:gd name="T9" fmla="*/ 2147483647 h 476"/>
                <a:gd name="T10" fmla="*/ 2147483647 w 371"/>
                <a:gd name="T11" fmla="*/ 2147483647 h 476"/>
                <a:gd name="T12" fmla="*/ 2147483647 w 371"/>
                <a:gd name="T13" fmla="*/ 2147483647 h 476"/>
                <a:gd name="T14" fmla="*/ 2147483647 w 371"/>
                <a:gd name="T15" fmla="*/ 2147483647 h 476"/>
                <a:gd name="T16" fmla="*/ 2147483647 w 371"/>
                <a:gd name="T17" fmla="*/ 2147483647 h 476"/>
                <a:gd name="T18" fmla="*/ 0 w 371"/>
                <a:gd name="T19" fmla="*/ 2147483647 h 476"/>
                <a:gd name="T20" fmla="*/ 2147483647 w 371"/>
                <a:gd name="T21" fmla="*/ 2147483647 h 476"/>
                <a:gd name="T22" fmla="*/ 2147483647 w 371"/>
                <a:gd name="T23" fmla="*/ 2147483647 h 476"/>
                <a:gd name="T24" fmla="*/ 2147483647 w 371"/>
                <a:gd name="T25" fmla="*/ 0 h 4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1"/>
                <a:gd name="T40" fmla="*/ 0 h 476"/>
                <a:gd name="T41" fmla="*/ 371 w 371"/>
                <a:gd name="T42" fmla="*/ 476 h 47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1" h="476">
                  <a:moveTo>
                    <a:pt x="156" y="0"/>
                  </a:moveTo>
                  <a:lnTo>
                    <a:pt x="308" y="0"/>
                  </a:lnTo>
                  <a:lnTo>
                    <a:pt x="313" y="52"/>
                  </a:lnTo>
                  <a:lnTo>
                    <a:pt x="354" y="46"/>
                  </a:lnTo>
                  <a:lnTo>
                    <a:pt x="371" y="307"/>
                  </a:lnTo>
                  <a:lnTo>
                    <a:pt x="191" y="319"/>
                  </a:lnTo>
                  <a:lnTo>
                    <a:pt x="203" y="476"/>
                  </a:lnTo>
                  <a:lnTo>
                    <a:pt x="151" y="389"/>
                  </a:lnTo>
                  <a:lnTo>
                    <a:pt x="46" y="290"/>
                  </a:lnTo>
                  <a:lnTo>
                    <a:pt x="0" y="203"/>
                  </a:lnTo>
                  <a:lnTo>
                    <a:pt x="34" y="70"/>
                  </a:lnTo>
                  <a:lnTo>
                    <a:pt x="145" y="75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4" name="Freeform 826"/>
            <p:cNvSpPr>
              <a:spLocks/>
            </p:cNvSpPr>
            <p:nvPr/>
          </p:nvSpPr>
          <p:spPr bwMode="auto">
            <a:xfrm>
              <a:off x="6334779" y="4250096"/>
              <a:ext cx="249724" cy="274747"/>
            </a:xfrm>
            <a:custGeom>
              <a:avLst/>
              <a:gdLst>
                <a:gd name="T0" fmla="*/ 0 w 454"/>
                <a:gd name="T1" fmla="*/ 2147483647 h 599"/>
                <a:gd name="T2" fmla="*/ 2147483647 w 454"/>
                <a:gd name="T3" fmla="*/ 2147483647 h 599"/>
                <a:gd name="T4" fmla="*/ 2147483647 w 454"/>
                <a:gd name="T5" fmla="*/ 2147483647 h 599"/>
                <a:gd name="T6" fmla="*/ 2147483647 w 454"/>
                <a:gd name="T7" fmla="*/ 2147483647 h 599"/>
                <a:gd name="T8" fmla="*/ 2147483647 w 454"/>
                <a:gd name="T9" fmla="*/ 2147483647 h 599"/>
                <a:gd name="T10" fmla="*/ 2147483647 w 454"/>
                <a:gd name="T11" fmla="*/ 2147483647 h 599"/>
                <a:gd name="T12" fmla="*/ 2147483647 w 454"/>
                <a:gd name="T13" fmla="*/ 2147483647 h 599"/>
                <a:gd name="T14" fmla="*/ 2147483647 w 454"/>
                <a:gd name="T15" fmla="*/ 2147483647 h 599"/>
                <a:gd name="T16" fmla="*/ 2147483647 w 454"/>
                <a:gd name="T17" fmla="*/ 2147483647 h 599"/>
                <a:gd name="T18" fmla="*/ 2147483647 w 454"/>
                <a:gd name="T19" fmla="*/ 0 h 599"/>
                <a:gd name="T20" fmla="*/ 2147483647 w 454"/>
                <a:gd name="T21" fmla="*/ 2147483647 h 599"/>
                <a:gd name="T22" fmla="*/ 2147483647 w 454"/>
                <a:gd name="T23" fmla="*/ 2147483647 h 599"/>
                <a:gd name="T24" fmla="*/ 2147483647 w 454"/>
                <a:gd name="T25" fmla="*/ 2147483647 h 599"/>
                <a:gd name="T26" fmla="*/ 2147483647 w 454"/>
                <a:gd name="T27" fmla="*/ 2147483647 h 599"/>
                <a:gd name="T28" fmla="*/ 2147483647 w 454"/>
                <a:gd name="T29" fmla="*/ 2147483647 h 599"/>
                <a:gd name="T30" fmla="*/ 2147483647 w 454"/>
                <a:gd name="T31" fmla="*/ 2147483647 h 599"/>
                <a:gd name="T32" fmla="*/ 0 w 454"/>
                <a:gd name="T33" fmla="*/ 2147483647 h 59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4"/>
                <a:gd name="T52" fmla="*/ 0 h 599"/>
                <a:gd name="T53" fmla="*/ 454 w 454"/>
                <a:gd name="T54" fmla="*/ 599 h 59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4" h="599">
                  <a:moveTo>
                    <a:pt x="0" y="447"/>
                  </a:moveTo>
                  <a:lnTo>
                    <a:pt x="12" y="599"/>
                  </a:lnTo>
                  <a:lnTo>
                    <a:pt x="82" y="592"/>
                  </a:lnTo>
                  <a:lnTo>
                    <a:pt x="122" y="552"/>
                  </a:lnTo>
                  <a:lnTo>
                    <a:pt x="204" y="557"/>
                  </a:lnTo>
                  <a:lnTo>
                    <a:pt x="285" y="512"/>
                  </a:lnTo>
                  <a:lnTo>
                    <a:pt x="291" y="395"/>
                  </a:lnTo>
                  <a:lnTo>
                    <a:pt x="413" y="279"/>
                  </a:lnTo>
                  <a:lnTo>
                    <a:pt x="454" y="58"/>
                  </a:lnTo>
                  <a:lnTo>
                    <a:pt x="332" y="0"/>
                  </a:lnTo>
                  <a:lnTo>
                    <a:pt x="267" y="41"/>
                  </a:lnTo>
                  <a:lnTo>
                    <a:pt x="274" y="128"/>
                  </a:lnTo>
                  <a:lnTo>
                    <a:pt x="117" y="128"/>
                  </a:lnTo>
                  <a:lnTo>
                    <a:pt x="122" y="180"/>
                  </a:lnTo>
                  <a:lnTo>
                    <a:pt x="169" y="186"/>
                  </a:lnTo>
                  <a:lnTo>
                    <a:pt x="180" y="435"/>
                  </a:lnTo>
                  <a:lnTo>
                    <a:pt x="0" y="44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5" name="Freeform 827"/>
            <p:cNvSpPr>
              <a:spLocks/>
            </p:cNvSpPr>
            <p:nvPr/>
          </p:nvSpPr>
          <p:spPr bwMode="auto">
            <a:xfrm>
              <a:off x="6339774" y="4519847"/>
              <a:ext cx="39957" cy="39963"/>
            </a:xfrm>
            <a:custGeom>
              <a:avLst/>
              <a:gdLst>
                <a:gd name="T0" fmla="*/ 2147483647 w 76"/>
                <a:gd name="T1" fmla="*/ 0 h 82"/>
                <a:gd name="T2" fmla="*/ 0 w 76"/>
                <a:gd name="T3" fmla="*/ 2147483647 h 82"/>
                <a:gd name="T4" fmla="*/ 2147483647 w 76"/>
                <a:gd name="T5" fmla="*/ 2147483647 h 82"/>
                <a:gd name="T6" fmla="*/ 2147483647 w 76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6"/>
                <a:gd name="T13" fmla="*/ 0 h 82"/>
                <a:gd name="T14" fmla="*/ 76 w 76"/>
                <a:gd name="T15" fmla="*/ 82 h 8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6" h="82">
                  <a:moveTo>
                    <a:pt x="76" y="0"/>
                  </a:moveTo>
                  <a:lnTo>
                    <a:pt x="0" y="5"/>
                  </a:lnTo>
                  <a:lnTo>
                    <a:pt x="41" y="8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6" name="Freeform 828"/>
            <p:cNvSpPr>
              <a:spLocks/>
            </p:cNvSpPr>
            <p:nvPr/>
          </p:nvSpPr>
          <p:spPr bwMode="auto">
            <a:xfrm>
              <a:off x="6359753" y="4195147"/>
              <a:ext cx="679248" cy="589458"/>
            </a:xfrm>
            <a:custGeom>
              <a:avLst/>
              <a:gdLst>
                <a:gd name="T0" fmla="*/ 0 w 1244"/>
                <a:gd name="T1" fmla="*/ 2147483647 h 1266"/>
                <a:gd name="T2" fmla="*/ 2147483647 w 1244"/>
                <a:gd name="T3" fmla="*/ 2147483647 h 1266"/>
                <a:gd name="T4" fmla="*/ 2147483647 w 1244"/>
                <a:gd name="T5" fmla="*/ 2147483647 h 1266"/>
                <a:gd name="T6" fmla="*/ 2147483647 w 1244"/>
                <a:gd name="T7" fmla="*/ 2147483647 h 1266"/>
                <a:gd name="T8" fmla="*/ 2147483647 w 1244"/>
                <a:gd name="T9" fmla="*/ 2147483647 h 1266"/>
                <a:gd name="T10" fmla="*/ 2147483647 w 1244"/>
                <a:gd name="T11" fmla="*/ 2147483647 h 1266"/>
                <a:gd name="T12" fmla="*/ 2147483647 w 1244"/>
                <a:gd name="T13" fmla="*/ 2147483647 h 1266"/>
                <a:gd name="T14" fmla="*/ 2147483647 w 1244"/>
                <a:gd name="T15" fmla="*/ 2147483647 h 1266"/>
                <a:gd name="T16" fmla="*/ 2147483647 w 1244"/>
                <a:gd name="T17" fmla="*/ 2147483647 h 1266"/>
                <a:gd name="T18" fmla="*/ 2147483647 w 1244"/>
                <a:gd name="T19" fmla="*/ 2147483647 h 1266"/>
                <a:gd name="T20" fmla="*/ 2147483647 w 1244"/>
                <a:gd name="T21" fmla="*/ 2147483647 h 1266"/>
                <a:gd name="T22" fmla="*/ 2147483647 w 1244"/>
                <a:gd name="T23" fmla="*/ 2147483647 h 1266"/>
                <a:gd name="T24" fmla="*/ 2147483647 w 1244"/>
                <a:gd name="T25" fmla="*/ 2147483647 h 1266"/>
                <a:gd name="T26" fmla="*/ 2147483647 w 1244"/>
                <a:gd name="T27" fmla="*/ 0 h 1266"/>
                <a:gd name="T28" fmla="*/ 2147483647 w 1244"/>
                <a:gd name="T29" fmla="*/ 2147483647 h 1266"/>
                <a:gd name="T30" fmla="*/ 2147483647 w 1244"/>
                <a:gd name="T31" fmla="*/ 2147483647 h 1266"/>
                <a:gd name="T32" fmla="*/ 2147483647 w 1244"/>
                <a:gd name="T33" fmla="*/ 2147483647 h 1266"/>
                <a:gd name="T34" fmla="*/ 2147483647 w 1244"/>
                <a:gd name="T35" fmla="*/ 2147483647 h 1266"/>
                <a:gd name="T36" fmla="*/ 2147483647 w 1244"/>
                <a:gd name="T37" fmla="*/ 2147483647 h 1266"/>
                <a:gd name="T38" fmla="*/ 2147483647 w 1244"/>
                <a:gd name="T39" fmla="*/ 2147483647 h 1266"/>
                <a:gd name="T40" fmla="*/ 2147483647 w 1244"/>
                <a:gd name="T41" fmla="*/ 2147483647 h 1266"/>
                <a:gd name="T42" fmla="*/ 2147483647 w 1244"/>
                <a:gd name="T43" fmla="*/ 2147483647 h 1266"/>
                <a:gd name="T44" fmla="*/ 2147483647 w 1244"/>
                <a:gd name="T45" fmla="*/ 2147483647 h 1266"/>
                <a:gd name="T46" fmla="*/ 2147483647 w 1244"/>
                <a:gd name="T47" fmla="*/ 2147483647 h 1266"/>
                <a:gd name="T48" fmla="*/ 2147483647 w 1244"/>
                <a:gd name="T49" fmla="*/ 2147483647 h 1266"/>
                <a:gd name="T50" fmla="*/ 2147483647 w 1244"/>
                <a:gd name="T51" fmla="*/ 2147483647 h 1266"/>
                <a:gd name="T52" fmla="*/ 2147483647 w 1244"/>
                <a:gd name="T53" fmla="*/ 2147483647 h 1266"/>
                <a:gd name="T54" fmla="*/ 2147483647 w 1244"/>
                <a:gd name="T55" fmla="*/ 2147483647 h 1266"/>
                <a:gd name="T56" fmla="*/ 2147483647 w 1244"/>
                <a:gd name="T57" fmla="*/ 2147483647 h 1266"/>
                <a:gd name="T58" fmla="*/ 2147483647 w 1244"/>
                <a:gd name="T59" fmla="*/ 2147483647 h 1266"/>
                <a:gd name="T60" fmla="*/ 2147483647 w 1244"/>
                <a:gd name="T61" fmla="*/ 2147483647 h 1266"/>
                <a:gd name="T62" fmla="*/ 2147483647 w 1244"/>
                <a:gd name="T63" fmla="*/ 2147483647 h 1266"/>
                <a:gd name="T64" fmla="*/ 2147483647 w 1244"/>
                <a:gd name="T65" fmla="*/ 2147483647 h 1266"/>
                <a:gd name="T66" fmla="*/ 2147483647 w 1244"/>
                <a:gd name="T67" fmla="*/ 2147483647 h 1266"/>
                <a:gd name="T68" fmla="*/ 2147483647 w 1244"/>
                <a:gd name="T69" fmla="*/ 2147483647 h 1266"/>
                <a:gd name="T70" fmla="*/ 2147483647 w 1244"/>
                <a:gd name="T71" fmla="*/ 2147483647 h 1266"/>
                <a:gd name="T72" fmla="*/ 2147483647 w 1244"/>
                <a:gd name="T73" fmla="*/ 2147483647 h 1266"/>
                <a:gd name="T74" fmla="*/ 2147483647 w 1244"/>
                <a:gd name="T75" fmla="*/ 2147483647 h 1266"/>
                <a:gd name="T76" fmla="*/ 2147483647 w 1244"/>
                <a:gd name="T77" fmla="*/ 2147483647 h 1266"/>
                <a:gd name="T78" fmla="*/ 2147483647 w 1244"/>
                <a:gd name="T79" fmla="*/ 2147483647 h 1266"/>
                <a:gd name="T80" fmla="*/ 2147483647 w 1244"/>
                <a:gd name="T81" fmla="*/ 2147483647 h 1266"/>
                <a:gd name="T82" fmla="*/ 2147483647 w 1244"/>
                <a:gd name="T83" fmla="*/ 2147483647 h 1266"/>
                <a:gd name="T84" fmla="*/ 2147483647 w 1244"/>
                <a:gd name="T85" fmla="*/ 2147483647 h 1266"/>
                <a:gd name="T86" fmla="*/ 2147483647 w 1244"/>
                <a:gd name="T87" fmla="*/ 2147483647 h 1266"/>
                <a:gd name="T88" fmla="*/ 2147483647 w 1244"/>
                <a:gd name="T89" fmla="*/ 2147483647 h 1266"/>
                <a:gd name="T90" fmla="*/ 2147483647 w 1244"/>
                <a:gd name="T91" fmla="*/ 2147483647 h 1266"/>
                <a:gd name="T92" fmla="*/ 2147483647 w 1244"/>
                <a:gd name="T93" fmla="*/ 2147483647 h 1266"/>
                <a:gd name="T94" fmla="*/ 2147483647 w 1244"/>
                <a:gd name="T95" fmla="*/ 2147483647 h 1266"/>
                <a:gd name="T96" fmla="*/ 2147483647 w 1244"/>
                <a:gd name="T97" fmla="*/ 2147483647 h 1266"/>
                <a:gd name="T98" fmla="*/ 2147483647 w 1244"/>
                <a:gd name="T99" fmla="*/ 2147483647 h 1266"/>
                <a:gd name="T100" fmla="*/ 2147483647 w 1244"/>
                <a:gd name="T101" fmla="*/ 2147483647 h 1266"/>
                <a:gd name="T102" fmla="*/ 2147483647 w 1244"/>
                <a:gd name="T103" fmla="*/ 2147483647 h 1266"/>
                <a:gd name="T104" fmla="*/ 0 w 1244"/>
                <a:gd name="T105" fmla="*/ 2147483647 h 12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44"/>
                <a:gd name="T160" fmla="*/ 0 h 1266"/>
                <a:gd name="T161" fmla="*/ 1244 w 1244"/>
                <a:gd name="T162" fmla="*/ 1266 h 12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44" h="1266">
                  <a:moveTo>
                    <a:pt x="0" y="785"/>
                  </a:moveTo>
                  <a:lnTo>
                    <a:pt x="35" y="703"/>
                  </a:lnTo>
                  <a:lnTo>
                    <a:pt x="75" y="668"/>
                  </a:lnTo>
                  <a:lnTo>
                    <a:pt x="116" y="663"/>
                  </a:lnTo>
                  <a:lnTo>
                    <a:pt x="168" y="673"/>
                  </a:lnTo>
                  <a:lnTo>
                    <a:pt x="238" y="628"/>
                  </a:lnTo>
                  <a:lnTo>
                    <a:pt x="244" y="511"/>
                  </a:lnTo>
                  <a:lnTo>
                    <a:pt x="366" y="395"/>
                  </a:lnTo>
                  <a:lnTo>
                    <a:pt x="430" y="75"/>
                  </a:lnTo>
                  <a:lnTo>
                    <a:pt x="499" y="40"/>
                  </a:lnTo>
                  <a:lnTo>
                    <a:pt x="656" y="87"/>
                  </a:lnTo>
                  <a:lnTo>
                    <a:pt x="773" y="18"/>
                  </a:lnTo>
                  <a:lnTo>
                    <a:pt x="831" y="28"/>
                  </a:lnTo>
                  <a:lnTo>
                    <a:pt x="889" y="0"/>
                  </a:lnTo>
                  <a:lnTo>
                    <a:pt x="976" y="23"/>
                  </a:lnTo>
                  <a:lnTo>
                    <a:pt x="1040" y="58"/>
                  </a:lnTo>
                  <a:lnTo>
                    <a:pt x="1098" y="58"/>
                  </a:lnTo>
                  <a:lnTo>
                    <a:pt x="1127" y="81"/>
                  </a:lnTo>
                  <a:lnTo>
                    <a:pt x="1150" y="52"/>
                  </a:lnTo>
                  <a:lnTo>
                    <a:pt x="1215" y="128"/>
                  </a:lnTo>
                  <a:lnTo>
                    <a:pt x="1220" y="185"/>
                  </a:lnTo>
                  <a:lnTo>
                    <a:pt x="1244" y="227"/>
                  </a:lnTo>
                  <a:lnTo>
                    <a:pt x="1168" y="296"/>
                  </a:lnTo>
                  <a:lnTo>
                    <a:pt x="1139" y="453"/>
                  </a:lnTo>
                  <a:lnTo>
                    <a:pt x="1115" y="511"/>
                  </a:lnTo>
                  <a:lnTo>
                    <a:pt x="1115" y="761"/>
                  </a:lnTo>
                  <a:lnTo>
                    <a:pt x="1197" y="842"/>
                  </a:lnTo>
                  <a:lnTo>
                    <a:pt x="1197" y="883"/>
                  </a:lnTo>
                  <a:lnTo>
                    <a:pt x="1070" y="900"/>
                  </a:lnTo>
                  <a:lnTo>
                    <a:pt x="1035" y="1022"/>
                  </a:lnTo>
                  <a:lnTo>
                    <a:pt x="1092" y="1029"/>
                  </a:lnTo>
                  <a:lnTo>
                    <a:pt x="1058" y="1144"/>
                  </a:lnTo>
                  <a:lnTo>
                    <a:pt x="1133" y="1179"/>
                  </a:lnTo>
                  <a:lnTo>
                    <a:pt x="1162" y="1156"/>
                  </a:lnTo>
                  <a:lnTo>
                    <a:pt x="1168" y="1266"/>
                  </a:lnTo>
                  <a:lnTo>
                    <a:pt x="1110" y="1266"/>
                  </a:lnTo>
                  <a:lnTo>
                    <a:pt x="965" y="1156"/>
                  </a:lnTo>
                  <a:lnTo>
                    <a:pt x="965" y="1179"/>
                  </a:lnTo>
                  <a:lnTo>
                    <a:pt x="923" y="1179"/>
                  </a:lnTo>
                  <a:lnTo>
                    <a:pt x="837" y="1116"/>
                  </a:lnTo>
                  <a:lnTo>
                    <a:pt x="785" y="1121"/>
                  </a:lnTo>
                  <a:lnTo>
                    <a:pt x="779" y="1092"/>
                  </a:lnTo>
                  <a:lnTo>
                    <a:pt x="651" y="1104"/>
                  </a:lnTo>
                  <a:lnTo>
                    <a:pt x="599" y="854"/>
                  </a:lnTo>
                  <a:lnTo>
                    <a:pt x="564" y="854"/>
                  </a:lnTo>
                  <a:lnTo>
                    <a:pt x="552" y="813"/>
                  </a:lnTo>
                  <a:lnTo>
                    <a:pt x="494" y="819"/>
                  </a:lnTo>
                  <a:lnTo>
                    <a:pt x="489" y="889"/>
                  </a:lnTo>
                  <a:lnTo>
                    <a:pt x="343" y="900"/>
                  </a:lnTo>
                  <a:lnTo>
                    <a:pt x="337" y="872"/>
                  </a:lnTo>
                  <a:lnTo>
                    <a:pt x="314" y="872"/>
                  </a:lnTo>
                  <a:lnTo>
                    <a:pt x="273" y="750"/>
                  </a:lnTo>
                  <a:lnTo>
                    <a:pt x="0" y="78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7" name="Freeform 829"/>
            <p:cNvSpPr>
              <a:spLocks/>
            </p:cNvSpPr>
            <p:nvPr/>
          </p:nvSpPr>
          <p:spPr bwMode="auto">
            <a:xfrm>
              <a:off x="6979069" y="4220122"/>
              <a:ext cx="189791" cy="179835"/>
            </a:xfrm>
            <a:custGeom>
              <a:avLst/>
              <a:gdLst>
                <a:gd name="T0" fmla="*/ 2147483647 w 343"/>
                <a:gd name="T1" fmla="*/ 0 h 383"/>
                <a:gd name="T2" fmla="*/ 2147483647 w 343"/>
                <a:gd name="T3" fmla="*/ 2147483647 h 383"/>
                <a:gd name="T4" fmla="*/ 2147483647 w 343"/>
                <a:gd name="T5" fmla="*/ 2147483647 h 383"/>
                <a:gd name="T6" fmla="*/ 2147483647 w 343"/>
                <a:gd name="T7" fmla="*/ 2147483647 h 383"/>
                <a:gd name="T8" fmla="*/ 2147483647 w 343"/>
                <a:gd name="T9" fmla="*/ 2147483647 h 383"/>
                <a:gd name="T10" fmla="*/ 0 w 343"/>
                <a:gd name="T11" fmla="*/ 2147483647 h 383"/>
                <a:gd name="T12" fmla="*/ 2147483647 w 343"/>
                <a:gd name="T13" fmla="*/ 2147483647 h 383"/>
                <a:gd name="T14" fmla="*/ 2147483647 w 343"/>
                <a:gd name="T15" fmla="*/ 2147483647 h 383"/>
                <a:gd name="T16" fmla="*/ 2147483647 w 343"/>
                <a:gd name="T17" fmla="*/ 2147483647 h 383"/>
                <a:gd name="T18" fmla="*/ 2147483647 w 343"/>
                <a:gd name="T19" fmla="*/ 2147483647 h 383"/>
                <a:gd name="T20" fmla="*/ 2147483647 w 343"/>
                <a:gd name="T21" fmla="*/ 2147483647 h 383"/>
                <a:gd name="T22" fmla="*/ 2147483647 w 343"/>
                <a:gd name="T23" fmla="*/ 0 h 38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3"/>
                <a:gd name="T37" fmla="*/ 0 h 383"/>
                <a:gd name="T38" fmla="*/ 343 w 343"/>
                <a:gd name="T39" fmla="*/ 383 h 38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3" h="383">
                  <a:moveTo>
                    <a:pt x="291" y="0"/>
                  </a:moveTo>
                  <a:lnTo>
                    <a:pt x="343" y="169"/>
                  </a:lnTo>
                  <a:lnTo>
                    <a:pt x="291" y="244"/>
                  </a:lnTo>
                  <a:lnTo>
                    <a:pt x="267" y="261"/>
                  </a:lnTo>
                  <a:lnTo>
                    <a:pt x="256" y="343"/>
                  </a:lnTo>
                  <a:lnTo>
                    <a:pt x="0" y="383"/>
                  </a:lnTo>
                  <a:lnTo>
                    <a:pt x="23" y="238"/>
                  </a:lnTo>
                  <a:lnTo>
                    <a:pt x="99" y="169"/>
                  </a:lnTo>
                  <a:lnTo>
                    <a:pt x="75" y="127"/>
                  </a:lnTo>
                  <a:lnTo>
                    <a:pt x="70" y="64"/>
                  </a:lnTo>
                  <a:lnTo>
                    <a:pt x="214" y="52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8" name="Freeform 830"/>
            <p:cNvSpPr>
              <a:spLocks/>
            </p:cNvSpPr>
            <p:nvPr/>
          </p:nvSpPr>
          <p:spPr bwMode="auto">
            <a:xfrm>
              <a:off x="7118912" y="4210132"/>
              <a:ext cx="279691" cy="294729"/>
            </a:xfrm>
            <a:custGeom>
              <a:avLst/>
              <a:gdLst>
                <a:gd name="T0" fmla="*/ 0 w 506"/>
                <a:gd name="T1" fmla="*/ 2147483647 h 635"/>
                <a:gd name="T2" fmla="*/ 2147483647 w 506"/>
                <a:gd name="T3" fmla="*/ 2147483647 h 635"/>
                <a:gd name="T4" fmla="*/ 2147483647 w 506"/>
                <a:gd name="T5" fmla="*/ 2147483647 h 635"/>
                <a:gd name="T6" fmla="*/ 2147483647 w 506"/>
                <a:gd name="T7" fmla="*/ 2147483647 h 635"/>
                <a:gd name="T8" fmla="*/ 2147483647 w 506"/>
                <a:gd name="T9" fmla="*/ 2147483647 h 635"/>
                <a:gd name="T10" fmla="*/ 2147483647 w 506"/>
                <a:gd name="T11" fmla="*/ 2147483647 h 635"/>
                <a:gd name="T12" fmla="*/ 2147483647 w 506"/>
                <a:gd name="T13" fmla="*/ 2147483647 h 635"/>
                <a:gd name="T14" fmla="*/ 2147483647 w 506"/>
                <a:gd name="T15" fmla="*/ 2147483647 h 635"/>
                <a:gd name="T16" fmla="*/ 2147483647 w 506"/>
                <a:gd name="T17" fmla="*/ 2147483647 h 635"/>
                <a:gd name="T18" fmla="*/ 2147483647 w 506"/>
                <a:gd name="T19" fmla="*/ 2147483647 h 635"/>
                <a:gd name="T20" fmla="*/ 2147483647 w 506"/>
                <a:gd name="T21" fmla="*/ 2147483647 h 635"/>
                <a:gd name="T22" fmla="*/ 2147483647 w 506"/>
                <a:gd name="T23" fmla="*/ 2147483647 h 635"/>
                <a:gd name="T24" fmla="*/ 2147483647 w 506"/>
                <a:gd name="T25" fmla="*/ 0 h 635"/>
                <a:gd name="T26" fmla="*/ 2147483647 w 506"/>
                <a:gd name="T27" fmla="*/ 2147483647 h 635"/>
                <a:gd name="T28" fmla="*/ 2147483647 w 506"/>
                <a:gd name="T29" fmla="*/ 2147483647 h 635"/>
                <a:gd name="T30" fmla="*/ 2147483647 w 506"/>
                <a:gd name="T31" fmla="*/ 2147483647 h 635"/>
                <a:gd name="T32" fmla="*/ 2147483647 w 506"/>
                <a:gd name="T33" fmla="*/ 2147483647 h 635"/>
                <a:gd name="T34" fmla="*/ 2147483647 w 506"/>
                <a:gd name="T35" fmla="*/ 2147483647 h 635"/>
                <a:gd name="T36" fmla="*/ 0 w 506"/>
                <a:gd name="T37" fmla="*/ 2147483647 h 63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06"/>
                <a:gd name="T58" fmla="*/ 0 h 635"/>
                <a:gd name="T59" fmla="*/ 506 w 506"/>
                <a:gd name="T60" fmla="*/ 635 h 63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06" h="635">
                  <a:moveTo>
                    <a:pt x="0" y="373"/>
                  </a:moveTo>
                  <a:lnTo>
                    <a:pt x="145" y="436"/>
                  </a:lnTo>
                  <a:lnTo>
                    <a:pt x="232" y="530"/>
                  </a:lnTo>
                  <a:lnTo>
                    <a:pt x="296" y="553"/>
                  </a:lnTo>
                  <a:lnTo>
                    <a:pt x="337" y="623"/>
                  </a:lnTo>
                  <a:lnTo>
                    <a:pt x="384" y="635"/>
                  </a:lnTo>
                  <a:lnTo>
                    <a:pt x="506" y="413"/>
                  </a:lnTo>
                  <a:lnTo>
                    <a:pt x="459" y="314"/>
                  </a:lnTo>
                  <a:lnTo>
                    <a:pt x="499" y="59"/>
                  </a:lnTo>
                  <a:lnTo>
                    <a:pt x="424" y="30"/>
                  </a:lnTo>
                  <a:lnTo>
                    <a:pt x="372" y="94"/>
                  </a:lnTo>
                  <a:lnTo>
                    <a:pt x="302" y="88"/>
                  </a:lnTo>
                  <a:lnTo>
                    <a:pt x="215" y="0"/>
                  </a:lnTo>
                  <a:lnTo>
                    <a:pt x="70" y="12"/>
                  </a:lnTo>
                  <a:lnTo>
                    <a:pt x="40" y="30"/>
                  </a:lnTo>
                  <a:lnTo>
                    <a:pt x="87" y="199"/>
                  </a:lnTo>
                  <a:lnTo>
                    <a:pt x="35" y="268"/>
                  </a:lnTo>
                  <a:lnTo>
                    <a:pt x="11" y="286"/>
                  </a:lnTo>
                  <a:lnTo>
                    <a:pt x="0" y="37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29" name="Freeform 831"/>
            <p:cNvSpPr>
              <a:spLocks/>
            </p:cNvSpPr>
            <p:nvPr/>
          </p:nvSpPr>
          <p:spPr bwMode="auto">
            <a:xfrm>
              <a:off x="6969078" y="4379976"/>
              <a:ext cx="394563" cy="344682"/>
            </a:xfrm>
            <a:custGeom>
              <a:avLst/>
              <a:gdLst>
                <a:gd name="T0" fmla="*/ 2147483647 w 727"/>
                <a:gd name="T1" fmla="*/ 2147483647 h 743"/>
                <a:gd name="T2" fmla="*/ 2147483647 w 727"/>
                <a:gd name="T3" fmla="*/ 2147483647 h 743"/>
                <a:gd name="T4" fmla="*/ 2147483647 w 727"/>
                <a:gd name="T5" fmla="*/ 2147483647 h 743"/>
                <a:gd name="T6" fmla="*/ 0 w 727"/>
                <a:gd name="T7" fmla="*/ 2147483647 h 743"/>
                <a:gd name="T8" fmla="*/ 0 w 727"/>
                <a:gd name="T9" fmla="*/ 2147483647 h 743"/>
                <a:gd name="T10" fmla="*/ 2147483647 w 727"/>
                <a:gd name="T11" fmla="*/ 2147483647 h 743"/>
                <a:gd name="T12" fmla="*/ 2147483647 w 727"/>
                <a:gd name="T13" fmla="*/ 2147483647 h 743"/>
                <a:gd name="T14" fmla="*/ 2147483647 w 727"/>
                <a:gd name="T15" fmla="*/ 2147483647 h 743"/>
                <a:gd name="T16" fmla="*/ 2147483647 w 727"/>
                <a:gd name="T17" fmla="*/ 2147483647 h 743"/>
                <a:gd name="T18" fmla="*/ 2147483647 w 727"/>
                <a:gd name="T19" fmla="*/ 2147483647 h 743"/>
                <a:gd name="T20" fmla="*/ 2147483647 w 727"/>
                <a:gd name="T21" fmla="*/ 2147483647 h 743"/>
                <a:gd name="T22" fmla="*/ 2147483647 w 727"/>
                <a:gd name="T23" fmla="*/ 2147483647 h 743"/>
                <a:gd name="T24" fmla="*/ 2147483647 w 727"/>
                <a:gd name="T25" fmla="*/ 2147483647 h 743"/>
                <a:gd name="T26" fmla="*/ 2147483647 w 727"/>
                <a:gd name="T27" fmla="*/ 2147483647 h 743"/>
                <a:gd name="T28" fmla="*/ 2147483647 w 727"/>
                <a:gd name="T29" fmla="*/ 2147483647 h 743"/>
                <a:gd name="T30" fmla="*/ 2147483647 w 727"/>
                <a:gd name="T31" fmla="*/ 2147483647 h 743"/>
                <a:gd name="T32" fmla="*/ 2147483647 w 727"/>
                <a:gd name="T33" fmla="*/ 2147483647 h 743"/>
                <a:gd name="T34" fmla="*/ 2147483647 w 727"/>
                <a:gd name="T35" fmla="*/ 2147483647 h 743"/>
                <a:gd name="T36" fmla="*/ 2147483647 w 727"/>
                <a:gd name="T37" fmla="*/ 2147483647 h 743"/>
                <a:gd name="T38" fmla="*/ 2147483647 w 727"/>
                <a:gd name="T39" fmla="*/ 2147483647 h 743"/>
                <a:gd name="T40" fmla="*/ 2147483647 w 727"/>
                <a:gd name="T41" fmla="*/ 2147483647 h 743"/>
                <a:gd name="T42" fmla="*/ 2147483647 w 727"/>
                <a:gd name="T43" fmla="*/ 0 h 743"/>
                <a:gd name="T44" fmla="*/ 2147483647 w 727"/>
                <a:gd name="T45" fmla="*/ 2147483647 h 74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27"/>
                <a:gd name="T70" fmla="*/ 0 h 743"/>
                <a:gd name="T71" fmla="*/ 727 w 727"/>
                <a:gd name="T72" fmla="*/ 743 h 74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27" h="743">
                  <a:moveTo>
                    <a:pt x="122" y="23"/>
                  </a:moveTo>
                  <a:lnTo>
                    <a:pt x="94" y="116"/>
                  </a:lnTo>
                  <a:lnTo>
                    <a:pt x="129" y="168"/>
                  </a:lnTo>
                  <a:lnTo>
                    <a:pt x="0" y="319"/>
                  </a:lnTo>
                  <a:lnTo>
                    <a:pt x="0" y="360"/>
                  </a:lnTo>
                  <a:lnTo>
                    <a:pt x="82" y="441"/>
                  </a:lnTo>
                  <a:lnTo>
                    <a:pt x="82" y="482"/>
                  </a:lnTo>
                  <a:lnTo>
                    <a:pt x="256" y="569"/>
                  </a:lnTo>
                  <a:lnTo>
                    <a:pt x="321" y="743"/>
                  </a:lnTo>
                  <a:lnTo>
                    <a:pt x="367" y="715"/>
                  </a:lnTo>
                  <a:lnTo>
                    <a:pt x="518" y="732"/>
                  </a:lnTo>
                  <a:lnTo>
                    <a:pt x="547" y="685"/>
                  </a:lnTo>
                  <a:lnTo>
                    <a:pt x="727" y="673"/>
                  </a:lnTo>
                  <a:lnTo>
                    <a:pt x="692" y="593"/>
                  </a:lnTo>
                  <a:lnTo>
                    <a:pt x="692" y="394"/>
                  </a:lnTo>
                  <a:lnTo>
                    <a:pt x="663" y="366"/>
                  </a:lnTo>
                  <a:lnTo>
                    <a:pt x="670" y="255"/>
                  </a:lnTo>
                  <a:lnTo>
                    <a:pt x="623" y="250"/>
                  </a:lnTo>
                  <a:lnTo>
                    <a:pt x="582" y="180"/>
                  </a:lnTo>
                  <a:lnTo>
                    <a:pt x="518" y="157"/>
                  </a:lnTo>
                  <a:lnTo>
                    <a:pt x="431" y="63"/>
                  </a:lnTo>
                  <a:lnTo>
                    <a:pt x="286" y="0"/>
                  </a:lnTo>
                  <a:lnTo>
                    <a:pt x="122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0" name="Freeform 832"/>
            <p:cNvSpPr>
              <a:spLocks/>
            </p:cNvSpPr>
            <p:nvPr/>
          </p:nvSpPr>
          <p:spPr bwMode="auto">
            <a:xfrm>
              <a:off x="6969078" y="4444917"/>
              <a:ext cx="69923" cy="84923"/>
            </a:xfrm>
            <a:custGeom>
              <a:avLst/>
              <a:gdLst>
                <a:gd name="T0" fmla="*/ 0 w 129"/>
                <a:gd name="T1" fmla="*/ 2147483647 h 186"/>
                <a:gd name="T2" fmla="*/ 2147483647 w 129"/>
                <a:gd name="T3" fmla="*/ 2147483647 h 186"/>
                <a:gd name="T4" fmla="*/ 2147483647 w 129"/>
                <a:gd name="T5" fmla="*/ 2147483647 h 186"/>
                <a:gd name="T6" fmla="*/ 2147483647 w 129"/>
                <a:gd name="T7" fmla="*/ 0 h 186"/>
                <a:gd name="T8" fmla="*/ 0 w 129"/>
                <a:gd name="T9" fmla="*/ 2147483647 h 186"/>
                <a:gd name="T10" fmla="*/ 0 w 129"/>
                <a:gd name="T11" fmla="*/ 2147483647 h 1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9"/>
                <a:gd name="T19" fmla="*/ 0 h 186"/>
                <a:gd name="T20" fmla="*/ 129 w 129"/>
                <a:gd name="T21" fmla="*/ 186 h 18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9" h="186">
                  <a:moveTo>
                    <a:pt x="0" y="186"/>
                  </a:moveTo>
                  <a:lnTo>
                    <a:pt x="129" y="35"/>
                  </a:lnTo>
                  <a:lnTo>
                    <a:pt x="117" y="17"/>
                  </a:lnTo>
                  <a:lnTo>
                    <a:pt x="65" y="0"/>
                  </a:lnTo>
                  <a:lnTo>
                    <a:pt x="0" y="35"/>
                  </a:lnTo>
                  <a:lnTo>
                    <a:pt x="0" y="18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1" name="Freeform 833"/>
            <p:cNvSpPr>
              <a:spLocks/>
            </p:cNvSpPr>
            <p:nvPr/>
          </p:nvSpPr>
          <p:spPr bwMode="auto">
            <a:xfrm>
              <a:off x="6969078" y="4389967"/>
              <a:ext cx="64929" cy="69935"/>
            </a:xfrm>
            <a:custGeom>
              <a:avLst/>
              <a:gdLst>
                <a:gd name="T0" fmla="*/ 0 w 122"/>
                <a:gd name="T1" fmla="*/ 2147483647 h 145"/>
                <a:gd name="T2" fmla="*/ 0 w 122"/>
                <a:gd name="T3" fmla="*/ 2147483647 h 145"/>
                <a:gd name="T4" fmla="*/ 2147483647 w 122"/>
                <a:gd name="T5" fmla="*/ 2147483647 h 145"/>
                <a:gd name="T6" fmla="*/ 2147483647 w 122"/>
                <a:gd name="T7" fmla="*/ 2147483647 h 145"/>
                <a:gd name="T8" fmla="*/ 2147483647 w 122"/>
                <a:gd name="T9" fmla="*/ 2147483647 h 145"/>
                <a:gd name="T10" fmla="*/ 2147483647 w 122"/>
                <a:gd name="T11" fmla="*/ 0 h 145"/>
                <a:gd name="T12" fmla="*/ 2147483647 w 122"/>
                <a:gd name="T13" fmla="*/ 2147483647 h 145"/>
                <a:gd name="T14" fmla="*/ 0 w 122"/>
                <a:gd name="T15" fmla="*/ 2147483647 h 14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2"/>
                <a:gd name="T25" fmla="*/ 0 h 145"/>
                <a:gd name="T26" fmla="*/ 122 w 122"/>
                <a:gd name="T27" fmla="*/ 145 h 14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2" h="145">
                  <a:moveTo>
                    <a:pt x="0" y="87"/>
                  </a:moveTo>
                  <a:lnTo>
                    <a:pt x="0" y="145"/>
                  </a:lnTo>
                  <a:lnTo>
                    <a:pt x="65" y="110"/>
                  </a:lnTo>
                  <a:lnTo>
                    <a:pt x="117" y="127"/>
                  </a:lnTo>
                  <a:lnTo>
                    <a:pt x="94" y="87"/>
                  </a:lnTo>
                  <a:lnTo>
                    <a:pt x="122" y="0"/>
                  </a:lnTo>
                  <a:lnTo>
                    <a:pt x="24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2" name="Freeform 834"/>
            <p:cNvSpPr>
              <a:spLocks/>
            </p:cNvSpPr>
            <p:nvPr/>
          </p:nvSpPr>
          <p:spPr bwMode="auto">
            <a:xfrm>
              <a:off x="6349763" y="4544825"/>
              <a:ext cx="434519" cy="394638"/>
            </a:xfrm>
            <a:custGeom>
              <a:avLst/>
              <a:gdLst>
                <a:gd name="T0" fmla="*/ 2147483647 w 802"/>
                <a:gd name="T1" fmla="*/ 2147483647 h 859"/>
                <a:gd name="T2" fmla="*/ 2147483647 w 802"/>
                <a:gd name="T3" fmla="*/ 2147483647 h 859"/>
                <a:gd name="T4" fmla="*/ 2147483647 w 802"/>
                <a:gd name="T5" fmla="*/ 2147483647 h 859"/>
                <a:gd name="T6" fmla="*/ 2147483647 w 802"/>
                <a:gd name="T7" fmla="*/ 2147483647 h 859"/>
                <a:gd name="T8" fmla="*/ 2147483647 w 802"/>
                <a:gd name="T9" fmla="*/ 2147483647 h 859"/>
                <a:gd name="T10" fmla="*/ 2147483647 w 802"/>
                <a:gd name="T11" fmla="*/ 2147483647 h 859"/>
                <a:gd name="T12" fmla="*/ 2147483647 w 802"/>
                <a:gd name="T13" fmla="*/ 2147483647 h 859"/>
                <a:gd name="T14" fmla="*/ 0 w 802"/>
                <a:gd name="T15" fmla="*/ 2147483647 h 859"/>
                <a:gd name="T16" fmla="*/ 0 w 802"/>
                <a:gd name="T17" fmla="*/ 2147483647 h 859"/>
                <a:gd name="T18" fmla="*/ 2147483647 w 802"/>
                <a:gd name="T19" fmla="*/ 2147483647 h 859"/>
                <a:gd name="T20" fmla="*/ 2147483647 w 802"/>
                <a:gd name="T21" fmla="*/ 2147483647 h 859"/>
                <a:gd name="T22" fmla="*/ 2147483647 w 802"/>
                <a:gd name="T23" fmla="*/ 2147483647 h 859"/>
                <a:gd name="T24" fmla="*/ 2147483647 w 802"/>
                <a:gd name="T25" fmla="*/ 2147483647 h 859"/>
                <a:gd name="T26" fmla="*/ 2147483647 w 802"/>
                <a:gd name="T27" fmla="*/ 2147483647 h 859"/>
                <a:gd name="T28" fmla="*/ 2147483647 w 802"/>
                <a:gd name="T29" fmla="*/ 2147483647 h 859"/>
                <a:gd name="T30" fmla="*/ 2147483647 w 802"/>
                <a:gd name="T31" fmla="*/ 2147483647 h 859"/>
                <a:gd name="T32" fmla="*/ 2147483647 w 802"/>
                <a:gd name="T33" fmla="*/ 2147483647 h 859"/>
                <a:gd name="T34" fmla="*/ 2147483647 w 802"/>
                <a:gd name="T35" fmla="*/ 2147483647 h 859"/>
                <a:gd name="T36" fmla="*/ 2147483647 w 802"/>
                <a:gd name="T37" fmla="*/ 2147483647 h 859"/>
                <a:gd name="T38" fmla="*/ 2147483647 w 802"/>
                <a:gd name="T39" fmla="*/ 2147483647 h 859"/>
                <a:gd name="T40" fmla="*/ 2147483647 w 802"/>
                <a:gd name="T41" fmla="*/ 2147483647 h 859"/>
                <a:gd name="T42" fmla="*/ 2147483647 w 802"/>
                <a:gd name="T43" fmla="*/ 2147483647 h 859"/>
                <a:gd name="T44" fmla="*/ 2147483647 w 802"/>
                <a:gd name="T45" fmla="*/ 2147483647 h 859"/>
                <a:gd name="T46" fmla="*/ 2147483647 w 802"/>
                <a:gd name="T47" fmla="*/ 2147483647 h 859"/>
                <a:gd name="T48" fmla="*/ 2147483647 w 802"/>
                <a:gd name="T49" fmla="*/ 2147483647 h 859"/>
                <a:gd name="T50" fmla="*/ 2147483647 w 802"/>
                <a:gd name="T51" fmla="*/ 2147483647 h 859"/>
                <a:gd name="T52" fmla="*/ 2147483647 w 802"/>
                <a:gd name="T53" fmla="*/ 2147483647 h 859"/>
                <a:gd name="T54" fmla="*/ 2147483647 w 802"/>
                <a:gd name="T55" fmla="*/ 2147483647 h 859"/>
                <a:gd name="T56" fmla="*/ 2147483647 w 802"/>
                <a:gd name="T57" fmla="*/ 2147483647 h 859"/>
                <a:gd name="T58" fmla="*/ 2147483647 w 802"/>
                <a:gd name="T59" fmla="*/ 0 h 859"/>
                <a:gd name="T60" fmla="*/ 2147483647 w 802"/>
                <a:gd name="T61" fmla="*/ 2147483647 h 85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2"/>
                <a:gd name="T94" fmla="*/ 0 h 859"/>
                <a:gd name="T95" fmla="*/ 802 w 802"/>
                <a:gd name="T96" fmla="*/ 859 h 85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2" h="859">
                  <a:moveTo>
                    <a:pt x="17" y="35"/>
                  </a:moveTo>
                  <a:lnTo>
                    <a:pt x="92" y="157"/>
                  </a:lnTo>
                  <a:lnTo>
                    <a:pt x="52" y="244"/>
                  </a:lnTo>
                  <a:lnTo>
                    <a:pt x="75" y="331"/>
                  </a:lnTo>
                  <a:lnTo>
                    <a:pt x="122" y="354"/>
                  </a:lnTo>
                  <a:lnTo>
                    <a:pt x="110" y="453"/>
                  </a:lnTo>
                  <a:lnTo>
                    <a:pt x="17" y="568"/>
                  </a:lnTo>
                  <a:lnTo>
                    <a:pt x="0" y="696"/>
                  </a:lnTo>
                  <a:lnTo>
                    <a:pt x="0" y="835"/>
                  </a:lnTo>
                  <a:lnTo>
                    <a:pt x="92" y="772"/>
                  </a:lnTo>
                  <a:lnTo>
                    <a:pt x="157" y="824"/>
                  </a:lnTo>
                  <a:lnTo>
                    <a:pt x="429" y="778"/>
                  </a:lnTo>
                  <a:lnTo>
                    <a:pt x="598" y="859"/>
                  </a:lnTo>
                  <a:lnTo>
                    <a:pt x="732" y="824"/>
                  </a:lnTo>
                  <a:lnTo>
                    <a:pt x="656" y="760"/>
                  </a:lnTo>
                  <a:lnTo>
                    <a:pt x="656" y="505"/>
                  </a:lnTo>
                  <a:lnTo>
                    <a:pt x="767" y="493"/>
                  </a:lnTo>
                  <a:lnTo>
                    <a:pt x="755" y="418"/>
                  </a:lnTo>
                  <a:lnTo>
                    <a:pt x="802" y="418"/>
                  </a:lnTo>
                  <a:lnTo>
                    <a:pt x="796" y="342"/>
                  </a:lnTo>
                  <a:lnTo>
                    <a:pt x="668" y="354"/>
                  </a:lnTo>
                  <a:lnTo>
                    <a:pt x="616" y="104"/>
                  </a:lnTo>
                  <a:lnTo>
                    <a:pt x="581" y="104"/>
                  </a:lnTo>
                  <a:lnTo>
                    <a:pt x="569" y="63"/>
                  </a:lnTo>
                  <a:lnTo>
                    <a:pt x="511" y="69"/>
                  </a:lnTo>
                  <a:lnTo>
                    <a:pt x="506" y="139"/>
                  </a:lnTo>
                  <a:lnTo>
                    <a:pt x="360" y="150"/>
                  </a:lnTo>
                  <a:lnTo>
                    <a:pt x="354" y="122"/>
                  </a:lnTo>
                  <a:lnTo>
                    <a:pt x="331" y="122"/>
                  </a:lnTo>
                  <a:lnTo>
                    <a:pt x="290" y="0"/>
                  </a:lnTo>
                  <a:lnTo>
                    <a:pt x="17" y="3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3" name="Freeform 835"/>
            <p:cNvSpPr>
              <a:spLocks/>
            </p:cNvSpPr>
            <p:nvPr/>
          </p:nvSpPr>
          <p:spPr bwMode="auto">
            <a:xfrm>
              <a:off x="6704372" y="4604769"/>
              <a:ext cx="429525" cy="324700"/>
            </a:xfrm>
            <a:custGeom>
              <a:avLst/>
              <a:gdLst>
                <a:gd name="T0" fmla="*/ 2147483647 w 779"/>
                <a:gd name="T1" fmla="*/ 2147483647 h 702"/>
                <a:gd name="T2" fmla="*/ 2147483647 w 779"/>
                <a:gd name="T3" fmla="*/ 2147483647 h 702"/>
                <a:gd name="T4" fmla="*/ 2147483647 w 779"/>
                <a:gd name="T5" fmla="*/ 2147483647 h 702"/>
                <a:gd name="T6" fmla="*/ 2147483647 w 779"/>
                <a:gd name="T7" fmla="*/ 2147483647 h 702"/>
                <a:gd name="T8" fmla="*/ 2147483647 w 779"/>
                <a:gd name="T9" fmla="*/ 2147483647 h 702"/>
                <a:gd name="T10" fmla="*/ 2147483647 w 779"/>
                <a:gd name="T11" fmla="*/ 2147483647 h 702"/>
                <a:gd name="T12" fmla="*/ 2147483647 w 779"/>
                <a:gd name="T13" fmla="*/ 2147483647 h 702"/>
                <a:gd name="T14" fmla="*/ 2147483647 w 779"/>
                <a:gd name="T15" fmla="*/ 2147483647 h 702"/>
                <a:gd name="T16" fmla="*/ 2147483647 w 779"/>
                <a:gd name="T17" fmla="*/ 2147483647 h 702"/>
                <a:gd name="T18" fmla="*/ 2147483647 w 779"/>
                <a:gd name="T19" fmla="*/ 2147483647 h 702"/>
                <a:gd name="T20" fmla="*/ 2147483647 w 779"/>
                <a:gd name="T21" fmla="*/ 2147483647 h 702"/>
                <a:gd name="T22" fmla="*/ 0 w 779"/>
                <a:gd name="T23" fmla="*/ 2147483647 h 702"/>
                <a:gd name="T24" fmla="*/ 0 w 779"/>
                <a:gd name="T25" fmla="*/ 2147483647 h 702"/>
                <a:gd name="T26" fmla="*/ 2147483647 w 779"/>
                <a:gd name="T27" fmla="*/ 2147483647 h 702"/>
                <a:gd name="T28" fmla="*/ 2147483647 w 779"/>
                <a:gd name="T29" fmla="*/ 2147483647 h 702"/>
                <a:gd name="T30" fmla="*/ 2147483647 w 779"/>
                <a:gd name="T31" fmla="*/ 2147483647 h 702"/>
                <a:gd name="T32" fmla="*/ 2147483647 w 779"/>
                <a:gd name="T33" fmla="*/ 2147483647 h 702"/>
                <a:gd name="T34" fmla="*/ 2147483647 w 779"/>
                <a:gd name="T35" fmla="*/ 2147483647 h 702"/>
                <a:gd name="T36" fmla="*/ 2147483647 w 779"/>
                <a:gd name="T37" fmla="*/ 2147483647 h 702"/>
                <a:gd name="T38" fmla="*/ 2147483647 w 779"/>
                <a:gd name="T39" fmla="*/ 2147483647 h 702"/>
                <a:gd name="T40" fmla="*/ 2147483647 w 779"/>
                <a:gd name="T41" fmla="*/ 2147483647 h 702"/>
                <a:gd name="T42" fmla="*/ 2147483647 w 779"/>
                <a:gd name="T43" fmla="*/ 2147483647 h 702"/>
                <a:gd name="T44" fmla="*/ 2147483647 w 779"/>
                <a:gd name="T45" fmla="*/ 2147483647 h 702"/>
                <a:gd name="T46" fmla="*/ 2147483647 w 779"/>
                <a:gd name="T47" fmla="*/ 2147483647 h 702"/>
                <a:gd name="T48" fmla="*/ 2147483647 w 779"/>
                <a:gd name="T49" fmla="*/ 2147483647 h 702"/>
                <a:gd name="T50" fmla="*/ 2147483647 w 779"/>
                <a:gd name="T51" fmla="*/ 2147483647 h 702"/>
                <a:gd name="T52" fmla="*/ 2147483647 w 779"/>
                <a:gd name="T53" fmla="*/ 2147483647 h 702"/>
                <a:gd name="T54" fmla="*/ 2147483647 w 779"/>
                <a:gd name="T55" fmla="*/ 2147483647 h 702"/>
                <a:gd name="T56" fmla="*/ 2147483647 w 779"/>
                <a:gd name="T57" fmla="*/ 2147483647 h 702"/>
                <a:gd name="T58" fmla="*/ 2147483647 w 779"/>
                <a:gd name="T59" fmla="*/ 0 h 702"/>
                <a:gd name="T60" fmla="*/ 2147483647 w 779"/>
                <a:gd name="T61" fmla="*/ 2147483647 h 702"/>
                <a:gd name="T62" fmla="*/ 2147483647 w 779"/>
                <a:gd name="T63" fmla="*/ 2147483647 h 7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9"/>
                <a:gd name="T97" fmla="*/ 0 h 702"/>
                <a:gd name="T98" fmla="*/ 779 w 779"/>
                <a:gd name="T99" fmla="*/ 702 h 7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9" h="702">
                  <a:moveTo>
                    <a:pt x="779" y="203"/>
                  </a:moveTo>
                  <a:lnTo>
                    <a:pt x="720" y="296"/>
                  </a:lnTo>
                  <a:lnTo>
                    <a:pt x="680" y="325"/>
                  </a:lnTo>
                  <a:lnTo>
                    <a:pt x="686" y="413"/>
                  </a:lnTo>
                  <a:lnTo>
                    <a:pt x="523" y="482"/>
                  </a:lnTo>
                  <a:lnTo>
                    <a:pt x="553" y="535"/>
                  </a:lnTo>
                  <a:lnTo>
                    <a:pt x="483" y="540"/>
                  </a:lnTo>
                  <a:lnTo>
                    <a:pt x="337" y="702"/>
                  </a:lnTo>
                  <a:lnTo>
                    <a:pt x="221" y="697"/>
                  </a:lnTo>
                  <a:lnTo>
                    <a:pt x="157" y="662"/>
                  </a:lnTo>
                  <a:lnTo>
                    <a:pt x="76" y="691"/>
                  </a:lnTo>
                  <a:lnTo>
                    <a:pt x="0" y="627"/>
                  </a:lnTo>
                  <a:lnTo>
                    <a:pt x="0" y="372"/>
                  </a:lnTo>
                  <a:lnTo>
                    <a:pt x="105" y="355"/>
                  </a:lnTo>
                  <a:lnTo>
                    <a:pt x="99" y="285"/>
                  </a:lnTo>
                  <a:lnTo>
                    <a:pt x="146" y="285"/>
                  </a:lnTo>
                  <a:lnTo>
                    <a:pt x="146" y="238"/>
                  </a:lnTo>
                  <a:lnTo>
                    <a:pt x="204" y="233"/>
                  </a:lnTo>
                  <a:lnTo>
                    <a:pt x="284" y="303"/>
                  </a:lnTo>
                  <a:lnTo>
                    <a:pt x="326" y="296"/>
                  </a:lnTo>
                  <a:lnTo>
                    <a:pt x="326" y="273"/>
                  </a:lnTo>
                  <a:lnTo>
                    <a:pt x="476" y="383"/>
                  </a:lnTo>
                  <a:lnTo>
                    <a:pt x="529" y="383"/>
                  </a:lnTo>
                  <a:lnTo>
                    <a:pt x="523" y="273"/>
                  </a:lnTo>
                  <a:lnTo>
                    <a:pt x="494" y="296"/>
                  </a:lnTo>
                  <a:lnTo>
                    <a:pt x="419" y="261"/>
                  </a:lnTo>
                  <a:lnTo>
                    <a:pt x="453" y="146"/>
                  </a:lnTo>
                  <a:lnTo>
                    <a:pt x="396" y="139"/>
                  </a:lnTo>
                  <a:lnTo>
                    <a:pt x="431" y="17"/>
                  </a:lnTo>
                  <a:lnTo>
                    <a:pt x="558" y="0"/>
                  </a:lnTo>
                  <a:lnTo>
                    <a:pt x="732" y="87"/>
                  </a:lnTo>
                  <a:lnTo>
                    <a:pt x="779" y="20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4" name="Freeform 836"/>
            <p:cNvSpPr>
              <a:spLocks/>
            </p:cNvSpPr>
            <p:nvPr/>
          </p:nvSpPr>
          <p:spPr bwMode="auto">
            <a:xfrm>
              <a:off x="7078959" y="4699682"/>
              <a:ext cx="99890" cy="214802"/>
            </a:xfrm>
            <a:custGeom>
              <a:avLst/>
              <a:gdLst>
                <a:gd name="T0" fmla="*/ 2147483647 w 192"/>
                <a:gd name="T1" fmla="*/ 2147483647 h 459"/>
                <a:gd name="T2" fmla="*/ 2147483647 w 192"/>
                <a:gd name="T3" fmla="*/ 2147483647 h 459"/>
                <a:gd name="T4" fmla="*/ 2147483647 w 192"/>
                <a:gd name="T5" fmla="*/ 2147483647 h 459"/>
                <a:gd name="T6" fmla="*/ 2147483647 w 192"/>
                <a:gd name="T7" fmla="*/ 2147483647 h 459"/>
                <a:gd name="T8" fmla="*/ 2147483647 w 192"/>
                <a:gd name="T9" fmla="*/ 2147483647 h 459"/>
                <a:gd name="T10" fmla="*/ 2147483647 w 192"/>
                <a:gd name="T11" fmla="*/ 0 h 459"/>
                <a:gd name="T12" fmla="*/ 2147483647 w 192"/>
                <a:gd name="T13" fmla="*/ 2147483647 h 459"/>
                <a:gd name="T14" fmla="*/ 0 w 192"/>
                <a:gd name="T15" fmla="*/ 2147483647 h 459"/>
                <a:gd name="T16" fmla="*/ 2147483647 w 192"/>
                <a:gd name="T17" fmla="*/ 2147483647 h 4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2"/>
                <a:gd name="T28" fmla="*/ 0 h 459"/>
                <a:gd name="T29" fmla="*/ 192 w 192"/>
                <a:gd name="T30" fmla="*/ 459 h 4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2" h="459">
                  <a:moveTo>
                    <a:pt x="6" y="215"/>
                  </a:moveTo>
                  <a:lnTo>
                    <a:pt x="105" y="249"/>
                  </a:lnTo>
                  <a:lnTo>
                    <a:pt x="145" y="459"/>
                  </a:lnTo>
                  <a:lnTo>
                    <a:pt x="187" y="371"/>
                  </a:lnTo>
                  <a:lnTo>
                    <a:pt x="192" y="225"/>
                  </a:lnTo>
                  <a:lnTo>
                    <a:pt x="99" y="0"/>
                  </a:lnTo>
                  <a:lnTo>
                    <a:pt x="40" y="93"/>
                  </a:lnTo>
                  <a:lnTo>
                    <a:pt x="0" y="127"/>
                  </a:lnTo>
                  <a:lnTo>
                    <a:pt x="6" y="21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5" name="Freeform 837"/>
            <p:cNvSpPr>
              <a:spLocks/>
            </p:cNvSpPr>
            <p:nvPr/>
          </p:nvSpPr>
          <p:spPr bwMode="auto">
            <a:xfrm>
              <a:off x="6349763" y="4899499"/>
              <a:ext cx="329634" cy="404627"/>
            </a:xfrm>
            <a:custGeom>
              <a:avLst/>
              <a:gdLst>
                <a:gd name="T0" fmla="*/ 2147483647 w 610"/>
                <a:gd name="T1" fmla="*/ 2147483647 h 860"/>
                <a:gd name="T2" fmla="*/ 2147483647 w 610"/>
                <a:gd name="T3" fmla="*/ 2147483647 h 860"/>
                <a:gd name="T4" fmla="*/ 2147483647 w 610"/>
                <a:gd name="T5" fmla="*/ 2147483647 h 860"/>
                <a:gd name="T6" fmla="*/ 2147483647 w 610"/>
                <a:gd name="T7" fmla="*/ 2147483647 h 860"/>
                <a:gd name="T8" fmla="*/ 2147483647 w 610"/>
                <a:gd name="T9" fmla="*/ 2147483647 h 860"/>
                <a:gd name="T10" fmla="*/ 2147483647 w 610"/>
                <a:gd name="T11" fmla="*/ 2147483647 h 860"/>
                <a:gd name="T12" fmla="*/ 2147483647 w 610"/>
                <a:gd name="T13" fmla="*/ 2147483647 h 860"/>
                <a:gd name="T14" fmla="*/ 2147483647 w 610"/>
                <a:gd name="T15" fmla="*/ 2147483647 h 860"/>
                <a:gd name="T16" fmla="*/ 2147483647 w 610"/>
                <a:gd name="T17" fmla="*/ 2147483647 h 860"/>
                <a:gd name="T18" fmla="*/ 2147483647 w 610"/>
                <a:gd name="T19" fmla="*/ 2147483647 h 860"/>
                <a:gd name="T20" fmla="*/ 2147483647 w 610"/>
                <a:gd name="T21" fmla="*/ 2147483647 h 860"/>
                <a:gd name="T22" fmla="*/ 0 w 610"/>
                <a:gd name="T23" fmla="*/ 2147483647 h 860"/>
                <a:gd name="T24" fmla="*/ 2147483647 w 610"/>
                <a:gd name="T25" fmla="*/ 0 h 860"/>
                <a:gd name="T26" fmla="*/ 2147483647 w 610"/>
                <a:gd name="T27" fmla="*/ 2147483647 h 860"/>
                <a:gd name="T28" fmla="*/ 2147483647 w 610"/>
                <a:gd name="T29" fmla="*/ 2147483647 h 860"/>
                <a:gd name="T30" fmla="*/ 2147483647 w 610"/>
                <a:gd name="T31" fmla="*/ 2147483647 h 86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10"/>
                <a:gd name="T49" fmla="*/ 0 h 860"/>
                <a:gd name="T50" fmla="*/ 610 w 610"/>
                <a:gd name="T51" fmla="*/ 860 h 86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10" h="860">
                  <a:moveTo>
                    <a:pt x="610" y="87"/>
                  </a:moveTo>
                  <a:lnTo>
                    <a:pt x="598" y="314"/>
                  </a:lnTo>
                  <a:lnTo>
                    <a:pt x="516" y="366"/>
                  </a:lnTo>
                  <a:lnTo>
                    <a:pt x="516" y="796"/>
                  </a:lnTo>
                  <a:lnTo>
                    <a:pt x="464" y="860"/>
                  </a:lnTo>
                  <a:lnTo>
                    <a:pt x="389" y="837"/>
                  </a:lnTo>
                  <a:lnTo>
                    <a:pt x="383" y="755"/>
                  </a:lnTo>
                  <a:lnTo>
                    <a:pt x="337" y="825"/>
                  </a:lnTo>
                  <a:lnTo>
                    <a:pt x="237" y="703"/>
                  </a:lnTo>
                  <a:lnTo>
                    <a:pt x="174" y="349"/>
                  </a:lnTo>
                  <a:lnTo>
                    <a:pt x="110" y="290"/>
                  </a:lnTo>
                  <a:lnTo>
                    <a:pt x="0" y="63"/>
                  </a:lnTo>
                  <a:lnTo>
                    <a:pt x="92" y="0"/>
                  </a:lnTo>
                  <a:lnTo>
                    <a:pt x="157" y="52"/>
                  </a:lnTo>
                  <a:lnTo>
                    <a:pt x="429" y="6"/>
                  </a:lnTo>
                  <a:lnTo>
                    <a:pt x="610" y="8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6" name="Freeform 838"/>
            <p:cNvSpPr>
              <a:spLocks/>
            </p:cNvSpPr>
            <p:nvPr/>
          </p:nvSpPr>
          <p:spPr bwMode="auto">
            <a:xfrm>
              <a:off x="6994050" y="4689689"/>
              <a:ext cx="369591" cy="529512"/>
            </a:xfrm>
            <a:custGeom>
              <a:avLst/>
              <a:gdLst>
                <a:gd name="T0" fmla="*/ 2147483647 w 680"/>
                <a:gd name="T1" fmla="*/ 2147483647 h 1144"/>
                <a:gd name="T2" fmla="*/ 2147483647 w 680"/>
                <a:gd name="T3" fmla="*/ 2147483647 h 1144"/>
                <a:gd name="T4" fmla="*/ 2147483647 w 680"/>
                <a:gd name="T5" fmla="*/ 2147483647 h 1144"/>
                <a:gd name="T6" fmla="*/ 2147483647 w 680"/>
                <a:gd name="T7" fmla="*/ 2147483647 h 1144"/>
                <a:gd name="T8" fmla="*/ 2147483647 w 680"/>
                <a:gd name="T9" fmla="*/ 2147483647 h 1144"/>
                <a:gd name="T10" fmla="*/ 2147483647 w 680"/>
                <a:gd name="T11" fmla="*/ 2147483647 h 1144"/>
                <a:gd name="T12" fmla="*/ 2147483647 w 680"/>
                <a:gd name="T13" fmla="*/ 2147483647 h 1144"/>
                <a:gd name="T14" fmla="*/ 2147483647 w 680"/>
                <a:gd name="T15" fmla="*/ 2147483647 h 1144"/>
                <a:gd name="T16" fmla="*/ 2147483647 w 680"/>
                <a:gd name="T17" fmla="*/ 2147483647 h 1144"/>
                <a:gd name="T18" fmla="*/ 2147483647 w 680"/>
                <a:gd name="T19" fmla="*/ 2147483647 h 1144"/>
                <a:gd name="T20" fmla="*/ 2147483647 w 680"/>
                <a:gd name="T21" fmla="*/ 2147483647 h 1144"/>
                <a:gd name="T22" fmla="*/ 2147483647 w 680"/>
                <a:gd name="T23" fmla="*/ 2147483647 h 1144"/>
                <a:gd name="T24" fmla="*/ 2147483647 w 680"/>
                <a:gd name="T25" fmla="*/ 2147483647 h 1144"/>
                <a:gd name="T26" fmla="*/ 2147483647 w 680"/>
                <a:gd name="T27" fmla="*/ 2147483647 h 1144"/>
                <a:gd name="T28" fmla="*/ 2147483647 w 680"/>
                <a:gd name="T29" fmla="*/ 2147483647 h 1144"/>
                <a:gd name="T30" fmla="*/ 2147483647 w 680"/>
                <a:gd name="T31" fmla="*/ 2147483647 h 1144"/>
                <a:gd name="T32" fmla="*/ 2147483647 w 680"/>
                <a:gd name="T33" fmla="*/ 0 h 1144"/>
                <a:gd name="T34" fmla="*/ 2147483647 w 680"/>
                <a:gd name="T35" fmla="*/ 2147483647 h 1144"/>
                <a:gd name="T36" fmla="*/ 2147483647 w 680"/>
                <a:gd name="T37" fmla="*/ 2147483647 h 1144"/>
                <a:gd name="T38" fmla="*/ 2147483647 w 680"/>
                <a:gd name="T39" fmla="*/ 2147483647 h 1144"/>
                <a:gd name="T40" fmla="*/ 2147483647 w 680"/>
                <a:gd name="T41" fmla="*/ 2147483647 h 1144"/>
                <a:gd name="T42" fmla="*/ 2147483647 w 680"/>
                <a:gd name="T43" fmla="*/ 2147483647 h 1144"/>
                <a:gd name="T44" fmla="*/ 2147483647 w 680"/>
                <a:gd name="T45" fmla="*/ 2147483647 h 1144"/>
                <a:gd name="T46" fmla="*/ 2147483647 w 680"/>
                <a:gd name="T47" fmla="*/ 2147483647 h 1144"/>
                <a:gd name="T48" fmla="*/ 2147483647 w 680"/>
                <a:gd name="T49" fmla="*/ 2147483647 h 1144"/>
                <a:gd name="T50" fmla="*/ 2147483647 w 680"/>
                <a:gd name="T51" fmla="*/ 2147483647 h 1144"/>
                <a:gd name="T52" fmla="*/ 0 w 680"/>
                <a:gd name="T53" fmla="*/ 2147483647 h 1144"/>
                <a:gd name="T54" fmla="*/ 2147483647 w 680"/>
                <a:gd name="T55" fmla="*/ 2147483647 h 1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80"/>
                <a:gd name="T85" fmla="*/ 0 h 1144"/>
                <a:gd name="T86" fmla="*/ 680 w 680"/>
                <a:gd name="T87" fmla="*/ 1144 h 1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80" h="1144">
                  <a:moveTo>
                    <a:pt x="30" y="355"/>
                  </a:moveTo>
                  <a:lnTo>
                    <a:pt x="175" y="453"/>
                  </a:lnTo>
                  <a:lnTo>
                    <a:pt x="187" y="564"/>
                  </a:lnTo>
                  <a:lnTo>
                    <a:pt x="128" y="569"/>
                  </a:lnTo>
                  <a:lnTo>
                    <a:pt x="163" y="662"/>
                  </a:lnTo>
                  <a:lnTo>
                    <a:pt x="47" y="831"/>
                  </a:lnTo>
                  <a:lnTo>
                    <a:pt x="82" y="1132"/>
                  </a:lnTo>
                  <a:lnTo>
                    <a:pt x="145" y="1144"/>
                  </a:lnTo>
                  <a:lnTo>
                    <a:pt x="175" y="1028"/>
                  </a:lnTo>
                  <a:lnTo>
                    <a:pt x="320" y="923"/>
                  </a:lnTo>
                  <a:lnTo>
                    <a:pt x="309" y="709"/>
                  </a:lnTo>
                  <a:lnTo>
                    <a:pt x="267" y="686"/>
                  </a:lnTo>
                  <a:lnTo>
                    <a:pt x="291" y="627"/>
                  </a:lnTo>
                  <a:lnTo>
                    <a:pt x="378" y="569"/>
                  </a:lnTo>
                  <a:lnTo>
                    <a:pt x="407" y="517"/>
                  </a:lnTo>
                  <a:lnTo>
                    <a:pt x="640" y="343"/>
                  </a:lnTo>
                  <a:lnTo>
                    <a:pt x="680" y="0"/>
                  </a:lnTo>
                  <a:lnTo>
                    <a:pt x="500" y="23"/>
                  </a:lnTo>
                  <a:lnTo>
                    <a:pt x="471" y="70"/>
                  </a:lnTo>
                  <a:lnTo>
                    <a:pt x="332" y="53"/>
                  </a:lnTo>
                  <a:lnTo>
                    <a:pt x="274" y="81"/>
                  </a:lnTo>
                  <a:lnTo>
                    <a:pt x="344" y="233"/>
                  </a:lnTo>
                  <a:lnTo>
                    <a:pt x="344" y="400"/>
                  </a:lnTo>
                  <a:lnTo>
                    <a:pt x="302" y="477"/>
                  </a:lnTo>
                  <a:lnTo>
                    <a:pt x="262" y="267"/>
                  </a:lnTo>
                  <a:lnTo>
                    <a:pt x="163" y="233"/>
                  </a:lnTo>
                  <a:lnTo>
                    <a:pt x="0" y="302"/>
                  </a:lnTo>
                  <a:lnTo>
                    <a:pt x="30" y="35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7" name="Freeform 839"/>
            <p:cNvSpPr>
              <a:spLocks/>
            </p:cNvSpPr>
            <p:nvPr/>
          </p:nvSpPr>
          <p:spPr bwMode="auto">
            <a:xfrm>
              <a:off x="6829235" y="4854540"/>
              <a:ext cx="264709" cy="219799"/>
            </a:xfrm>
            <a:custGeom>
              <a:avLst/>
              <a:gdLst>
                <a:gd name="T0" fmla="*/ 0 w 489"/>
                <a:gd name="T1" fmla="*/ 2147483647 h 476"/>
                <a:gd name="T2" fmla="*/ 2147483647 w 489"/>
                <a:gd name="T3" fmla="*/ 2147483647 h 476"/>
                <a:gd name="T4" fmla="*/ 2147483647 w 489"/>
                <a:gd name="T5" fmla="*/ 2147483647 h 476"/>
                <a:gd name="T6" fmla="*/ 2147483647 w 489"/>
                <a:gd name="T7" fmla="*/ 2147483647 h 476"/>
                <a:gd name="T8" fmla="*/ 2147483647 w 489"/>
                <a:gd name="T9" fmla="*/ 2147483647 h 476"/>
                <a:gd name="T10" fmla="*/ 2147483647 w 489"/>
                <a:gd name="T11" fmla="*/ 2147483647 h 476"/>
                <a:gd name="T12" fmla="*/ 2147483647 w 489"/>
                <a:gd name="T13" fmla="*/ 2147483647 h 476"/>
                <a:gd name="T14" fmla="*/ 2147483647 w 489"/>
                <a:gd name="T15" fmla="*/ 2147483647 h 476"/>
                <a:gd name="T16" fmla="*/ 2147483647 w 489"/>
                <a:gd name="T17" fmla="*/ 2147483647 h 476"/>
                <a:gd name="T18" fmla="*/ 2147483647 w 489"/>
                <a:gd name="T19" fmla="*/ 0 h 476"/>
                <a:gd name="T20" fmla="*/ 2147483647 w 489"/>
                <a:gd name="T21" fmla="*/ 2147483647 h 476"/>
                <a:gd name="T22" fmla="*/ 2147483647 w 489"/>
                <a:gd name="T23" fmla="*/ 2147483647 h 476"/>
                <a:gd name="T24" fmla="*/ 0 w 489"/>
                <a:gd name="T25" fmla="*/ 2147483647 h 4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9"/>
                <a:gd name="T40" fmla="*/ 0 h 476"/>
                <a:gd name="T41" fmla="*/ 489 w 489"/>
                <a:gd name="T42" fmla="*/ 476 h 47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9" h="476">
                  <a:moveTo>
                    <a:pt x="0" y="162"/>
                  </a:moveTo>
                  <a:lnTo>
                    <a:pt x="63" y="336"/>
                  </a:lnTo>
                  <a:lnTo>
                    <a:pt x="116" y="336"/>
                  </a:lnTo>
                  <a:lnTo>
                    <a:pt x="133" y="389"/>
                  </a:lnTo>
                  <a:lnTo>
                    <a:pt x="349" y="476"/>
                  </a:lnTo>
                  <a:lnTo>
                    <a:pt x="465" y="307"/>
                  </a:lnTo>
                  <a:lnTo>
                    <a:pt x="430" y="214"/>
                  </a:lnTo>
                  <a:lnTo>
                    <a:pt x="489" y="209"/>
                  </a:lnTo>
                  <a:lnTo>
                    <a:pt x="477" y="98"/>
                  </a:lnTo>
                  <a:lnTo>
                    <a:pt x="332" y="0"/>
                  </a:lnTo>
                  <a:lnTo>
                    <a:pt x="262" y="5"/>
                  </a:lnTo>
                  <a:lnTo>
                    <a:pt x="116" y="167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8" name="Freeform 840"/>
            <p:cNvSpPr>
              <a:spLocks/>
            </p:cNvSpPr>
            <p:nvPr/>
          </p:nvSpPr>
          <p:spPr bwMode="auto">
            <a:xfrm>
              <a:off x="6634449" y="4914484"/>
              <a:ext cx="319647" cy="314710"/>
            </a:xfrm>
            <a:custGeom>
              <a:avLst/>
              <a:gdLst>
                <a:gd name="T0" fmla="*/ 0 w 593"/>
                <a:gd name="T1" fmla="*/ 2147483647 h 674"/>
                <a:gd name="T2" fmla="*/ 2147483647 w 593"/>
                <a:gd name="T3" fmla="*/ 2147483647 h 674"/>
                <a:gd name="T4" fmla="*/ 2147483647 w 593"/>
                <a:gd name="T5" fmla="*/ 2147483647 h 674"/>
                <a:gd name="T6" fmla="*/ 2147483647 w 593"/>
                <a:gd name="T7" fmla="*/ 2147483647 h 674"/>
                <a:gd name="T8" fmla="*/ 2147483647 w 593"/>
                <a:gd name="T9" fmla="*/ 2147483647 h 674"/>
                <a:gd name="T10" fmla="*/ 2147483647 w 593"/>
                <a:gd name="T11" fmla="*/ 2147483647 h 674"/>
                <a:gd name="T12" fmla="*/ 2147483647 w 593"/>
                <a:gd name="T13" fmla="*/ 2147483647 h 674"/>
                <a:gd name="T14" fmla="*/ 2147483647 w 593"/>
                <a:gd name="T15" fmla="*/ 2147483647 h 674"/>
                <a:gd name="T16" fmla="*/ 2147483647 w 593"/>
                <a:gd name="T17" fmla="*/ 2147483647 h 674"/>
                <a:gd name="T18" fmla="*/ 2147483647 w 593"/>
                <a:gd name="T19" fmla="*/ 2147483647 h 674"/>
                <a:gd name="T20" fmla="*/ 2147483647 w 593"/>
                <a:gd name="T21" fmla="*/ 2147483647 h 674"/>
                <a:gd name="T22" fmla="*/ 2147483647 w 593"/>
                <a:gd name="T23" fmla="*/ 2147483647 h 674"/>
                <a:gd name="T24" fmla="*/ 2147483647 w 593"/>
                <a:gd name="T25" fmla="*/ 0 h 674"/>
                <a:gd name="T26" fmla="*/ 2147483647 w 593"/>
                <a:gd name="T27" fmla="*/ 2147483647 h 674"/>
                <a:gd name="T28" fmla="*/ 2147483647 w 593"/>
                <a:gd name="T29" fmla="*/ 2147483647 h 674"/>
                <a:gd name="T30" fmla="*/ 0 w 593"/>
                <a:gd name="T31" fmla="*/ 2147483647 h 674"/>
                <a:gd name="T32" fmla="*/ 0 w 593"/>
                <a:gd name="T33" fmla="*/ 2147483647 h 67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93"/>
                <a:gd name="T52" fmla="*/ 0 h 674"/>
                <a:gd name="T53" fmla="*/ 593 w 593"/>
                <a:gd name="T54" fmla="*/ 674 h 67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93" h="674">
                  <a:moveTo>
                    <a:pt x="0" y="622"/>
                  </a:moveTo>
                  <a:lnTo>
                    <a:pt x="53" y="674"/>
                  </a:lnTo>
                  <a:lnTo>
                    <a:pt x="135" y="640"/>
                  </a:lnTo>
                  <a:lnTo>
                    <a:pt x="216" y="552"/>
                  </a:lnTo>
                  <a:lnTo>
                    <a:pt x="338" y="581"/>
                  </a:lnTo>
                  <a:lnTo>
                    <a:pt x="379" y="552"/>
                  </a:lnTo>
                  <a:lnTo>
                    <a:pt x="361" y="488"/>
                  </a:lnTo>
                  <a:lnTo>
                    <a:pt x="593" y="296"/>
                  </a:lnTo>
                  <a:lnTo>
                    <a:pt x="501" y="262"/>
                  </a:lnTo>
                  <a:lnTo>
                    <a:pt x="477" y="209"/>
                  </a:lnTo>
                  <a:lnTo>
                    <a:pt x="424" y="209"/>
                  </a:lnTo>
                  <a:lnTo>
                    <a:pt x="361" y="35"/>
                  </a:lnTo>
                  <a:lnTo>
                    <a:pt x="297" y="0"/>
                  </a:lnTo>
                  <a:lnTo>
                    <a:pt x="94" y="64"/>
                  </a:lnTo>
                  <a:lnTo>
                    <a:pt x="82" y="291"/>
                  </a:lnTo>
                  <a:lnTo>
                    <a:pt x="0" y="337"/>
                  </a:lnTo>
                  <a:lnTo>
                    <a:pt x="0" y="62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39" name="Freeform 841"/>
            <p:cNvSpPr>
              <a:spLocks/>
            </p:cNvSpPr>
            <p:nvPr/>
          </p:nvSpPr>
          <p:spPr bwMode="auto">
            <a:xfrm>
              <a:off x="6534559" y="5049359"/>
              <a:ext cx="534409" cy="454582"/>
            </a:xfrm>
            <a:custGeom>
              <a:avLst/>
              <a:gdLst>
                <a:gd name="T0" fmla="*/ 0 w 982"/>
                <a:gd name="T1" fmla="*/ 2147483647 h 970"/>
                <a:gd name="T2" fmla="*/ 2147483647 w 982"/>
                <a:gd name="T3" fmla="*/ 2147483647 h 970"/>
                <a:gd name="T4" fmla="*/ 2147483647 w 982"/>
                <a:gd name="T5" fmla="*/ 2147483647 h 970"/>
                <a:gd name="T6" fmla="*/ 2147483647 w 982"/>
                <a:gd name="T7" fmla="*/ 2147483647 h 970"/>
                <a:gd name="T8" fmla="*/ 2147483647 w 982"/>
                <a:gd name="T9" fmla="*/ 2147483647 h 970"/>
                <a:gd name="T10" fmla="*/ 2147483647 w 982"/>
                <a:gd name="T11" fmla="*/ 2147483647 h 970"/>
                <a:gd name="T12" fmla="*/ 2147483647 w 982"/>
                <a:gd name="T13" fmla="*/ 2147483647 h 970"/>
                <a:gd name="T14" fmla="*/ 2147483647 w 982"/>
                <a:gd name="T15" fmla="*/ 2147483647 h 970"/>
                <a:gd name="T16" fmla="*/ 2147483647 w 982"/>
                <a:gd name="T17" fmla="*/ 2147483647 h 970"/>
                <a:gd name="T18" fmla="*/ 2147483647 w 982"/>
                <a:gd name="T19" fmla="*/ 2147483647 h 970"/>
                <a:gd name="T20" fmla="*/ 2147483647 w 982"/>
                <a:gd name="T21" fmla="*/ 2147483647 h 970"/>
                <a:gd name="T22" fmla="*/ 2147483647 w 982"/>
                <a:gd name="T23" fmla="*/ 2147483647 h 970"/>
                <a:gd name="T24" fmla="*/ 2147483647 w 982"/>
                <a:gd name="T25" fmla="*/ 2147483647 h 970"/>
                <a:gd name="T26" fmla="*/ 2147483647 w 982"/>
                <a:gd name="T27" fmla="*/ 2147483647 h 970"/>
                <a:gd name="T28" fmla="*/ 2147483647 w 982"/>
                <a:gd name="T29" fmla="*/ 2147483647 h 970"/>
                <a:gd name="T30" fmla="*/ 2147483647 w 982"/>
                <a:gd name="T31" fmla="*/ 2147483647 h 970"/>
                <a:gd name="T32" fmla="*/ 2147483647 w 982"/>
                <a:gd name="T33" fmla="*/ 2147483647 h 970"/>
                <a:gd name="T34" fmla="*/ 2147483647 w 982"/>
                <a:gd name="T35" fmla="*/ 2147483647 h 970"/>
                <a:gd name="T36" fmla="*/ 2147483647 w 982"/>
                <a:gd name="T37" fmla="*/ 0 h 970"/>
                <a:gd name="T38" fmla="*/ 2147483647 w 982"/>
                <a:gd name="T39" fmla="*/ 2147483647 h 970"/>
                <a:gd name="T40" fmla="*/ 2147483647 w 982"/>
                <a:gd name="T41" fmla="*/ 2147483647 h 970"/>
                <a:gd name="T42" fmla="*/ 2147483647 w 982"/>
                <a:gd name="T43" fmla="*/ 2147483647 h 970"/>
                <a:gd name="T44" fmla="*/ 2147483647 w 982"/>
                <a:gd name="T45" fmla="*/ 2147483647 h 970"/>
                <a:gd name="T46" fmla="*/ 2147483647 w 982"/>
                <a:gd name="T47" fmla="*/ 2147483647 h 970"/>
                <a:gd name="T48" fmla="*/ 2147483647 w 982"/>
                <a:gd name="T49" fmla="*/ 2147483647 h 970"/>
                <a:gd name="T50" fmla="*/ 2147483647 w 982"/>
                <a:gd name="T51" fmla="*/ 2147483647 h 970"/>
                <a:gd name="T52" fmla="*/ 2147483647 w 982"/>
                <a:gd name="T53" fmla="*/ 2147483647 h 970"/>
                <a:gd name="T54" fmla="*/ 2147483647 w 982"/>
                <a:gd name="T55" fmla="*/ 2147483647 h 970"/>
                <a:gd name="T56" fmla="*/ 2147483647 w 982"/>
                <a:gd name="T57" fmla="*/ 2147483647 h 970"/>
                <a:gd name="T58" fmla="*/ 2147483647 w 982"/>
                <a:gd name="T59" fmla="*/ 2147483647 h 970"/>
                <a:gd name="T60" fmla="*/ 0 w 982"/>
                <a:gd name="T61" fmla="*/ 2147483647 h 97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82"/>
                <a:gd name="T94" fmla="*/ 0 h 970"/>
                <a:gd name="T95" fmla="*/ 982 w 982"/>
                <a:gd name="T96" fmla="*/ 970 h 97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82" h="970">
                  <a:moveTo>
                    <a:pt x="0" y="500"/>
                  </a:moveTo>
                  <a:lnTo>
                    <a:pt x="110" y="710"/>
                  </a:lnTo>
                  <a:lnTo>
                    <a:pt x="87" y="831"/>
                  </a:lnTo>
                  <a:lnTo>
                    <a:pt x="127" y="942"/>
                  </a:lnTo>
                  <a:lnTo>
                    <a:pt x="203" y="970"/>
                  </a:lnTo>
                  <a:lnTo>
                    <a:pt x="296" y="907"/>
                  </a:lnTo>
                  <a:lnTo>
                    <a:pt x="418" y="895"/>
                  </a:lnTo>
                  <a:lnTo>
                    <a:pt x="593" y="814"/>
                  </a:lnTo>
                  <a:lnTo>
                    <a:pt x="755" y="721"/>
                  </a:lnTo>
                  <a:lnTo>
                    <a:pt x="964" y="431"/>
                  </a:lnTo>
                  <a:lnTo>
                    <a:pt x="982" y="366"/>
                  </a:lnTo>
                  <a:lnTo>
                    <a:pt x="924" y="354"/>
                  </a:lnTo>
                  <a:lnTo>
                    <a:pt x="860" y="413"/>
                  </a:lnTo>
                  <a:lnTo>
                    <a:pt x="819" y="407"/>
                  </a:lnTo>
                  <a:lnTo>
                    <a:pt x="842" y="332"/>
                  </a:lnTo>
                  <a:lnTo>
                    <a:pt x="848" y="302"/>
                  </a:lnTo>
                  <a:lnTo>
                    <a:pt x="924" y="302"/>
                  </a:lnTo>
                  <a:lnTo>
                    <a:pt x="889" y="53"/>
                  </a:lnTo>
                  <a:lnTo>
                    <a:pt x="760" y="0"/>
                  </a:lnTo>
                  <a:lnTo>
                    <a:pt x="540" y="175"/>
                  </a:lnTo>
                  <a:lnTo>
                    <a:pt x="558" y="256"/>
                  </a:lnTo>
                  <a:lnTo>
                    <a:pt x="517" y="285"/>
                  </a:lnTo>
                  <a:lnTo>
                    <a:pt x="395" y="256"/>
                  </a:lnTo>
                  <a:lnTo>
                    <a:pt x="326" y="332"/>
                  </a:lnTo>
                  <a:lnTo>
                    <a:pt x="232" y="378"/>
                  </a:lnTo>
                  <a:lnTo>
                    <a:pt x="179" y="326"/>
                  </a:lnTo>
                  <a:lnTo>
                    <a:pt x="179" y="477"/>
                  </a:lnTo>
                  <a:lnTo>
                    <a:pt x="127" y="541"/>
                  </a:lnTo>
                  <a:lnTo>
                    <a:pt x="64" y="518"/>
                  </a:lnTo>
                  <a:lnTo>
                    <a:pt x="46" y="436"/>
                  </a:lnTo>
                  <a:lnTo>
                    <a:pt x="0" y="50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0" name="Freeform 842"/>
            <p:cNvSpPr>
              <a:spLocks/>
            </p:cNvSpPr>
            <p:nvPr/>
          </p:nvSpPr>
          <p:spPr bwMode="auto">
            <a:xfrm>
              <a:off x="6974073" y="5189231"/>
              <a:ext cx="64929" cy="54948"/>
            </a:xfrm>
            <a:custGeom>
              <a:avLst/>
              <a:gdLst>
                <a:gd name="T0" fmla="*/ 2147483647 w 116"/>
                <a:gd name="T1" fmla="*/ 0 h 111"/>
                <a:gd name="T2" fmla="*/ 2147483647 w 116"/>
                <a:gd name="T3" fmla="*/ 0 h 111"/>
                <a:gd name="T4" fmla="*/ 0 w 116"/>
                <a:gd name="T5" fmla="*/ 2147483647 h 111"/>
                <a:gd name="T6" fmla="*/ 2147483647 w 116"/>
                <a:gd name="T7" fmla="*/ 2147483647 h 111"/>
                <a:gd name="T8" fmla="*/ 2147483647 w 116"/>
                <a:gd name="T9" fmla="*/ 2147483647 h 111"/>
                <a:gd name="T10" fmla="*/ 2147483647 w 116"/>
                <a:gd name="T11" fmla="*/ 0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6"/>
                <a:gd name="T19" fmla="*/ 0 h 111"/>
                <a:gd name="T20" fmla="*/ 116 w 116"/>
                <a:gd name="T21" fmla="*/ 111 h 1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6" h="111">
                  <a:moveTo>
                    <a:pt x="104" y="0"/>
                  </a:moveTo>
                  <a:lnTo>
                    <a:pt x="41" y="0"/>
                  </a:lnTo>
                  <a:lnTo>
                    <a:pt x="0" y="99"/>
                  </a:lnTo>
                  <a:lnTo>
                    <a:pt x="47" y="111"/>
                  </a:lnTo>
                  <a:lnTo>
                    <a:pt x="116" y="5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1" name="Freeform 843"/>
            <p:cNvSpPr>
              <a:spLocks/>
            </p:cNvSpPr>
            <p:nvPr/>
          </p:nvSpPr>
          <p:spPr bwMode="auto">
            <a:xfrm>
              <a:off x="6869188" y="5274154"/>
              <a:ext cx="69923" cy="69935"/>
            </a:xfrm>
            <a:custGeom>
              <a:avLst/>
              <a:gdLst>
                <a:gd name="T0" fmla="*/ 2147483647 w 133"/>
                <a:gd name="T1" fmla="*/ 0 h 145"/>
                <a:gd name="T2" fmla="*/ 2147483647 w 133"/>
                <a:gd name="T3" fmla="*/ 2147483647 h 145"/>
                <a:gd name="T4" fmla="*/ 0 w 133"/>
                <a:gd name="T5" fmla="*/ 2147483647 h 145"/>
                <a:gd name="T6" fmla="*/ 2147483647 w 133"/>
                <a:gd name="T7" fmla="*/ 2147483647 h 145"/>
                <a:gd name="T8" fmla="*/ 2147483647 w 133"/>
                <a:gd name="T9" fmla="*/ 2147483647 h 145"/>
                <a:gd name="T10" fmla="*/ 2147483647 w 133"/>
                <a:gd name="T11" fmla="*/ 2147483647 h 145"/>
                <a:gd name="T12" fmla="*/ 2147483647 w 133"/>
                <a:gd name="T13" fmla="*/ 2147483647 h 145"/>
                <a:gd name="T14" fmla="*/ 2147483647 w 133"/>
                <a:gd name="T15" fmla="*/ 2147483647 h 145"/>
                <a:gd name="T16" fmla="*/ 2147483647 w 133"/>
                <a:gd name="T17" fmla="*/ 0 h 1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3"/>
                <a:gd name="T28" fmla="*/ 0 h 145"/>
                <a:gd name="T29" fmla="*/ 133 w 133"/>
                <a:gd name="T30" fmla="*/ 145 h 1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3" h="145">
                  <a:moveTo>
                    <a:pt x="98" y="0"/>
                  </a:moveTo>
                  <a:lnTo>
                    <a:pt x="17" y="23"/>
                  </a:lnTo>
                  <a:lnTo>
                    <a:pt x="0" y="81"/>
                  </a:lnTo>
                  <a:lnTo>
                    <a:pt x="28" y="145"/>
                  </a:lnTo>
                  <a:lnTo>
                    <a:pt x="81" y="145"/>
                  </a:lnTo>
                  <a:lnTo>
                    <a:pt x="133" y="70"/>
                  </a:lnTo>
                  <a:lnTo>
                    <a:pt x="133" y="40"/>
                  </a:lnTo>
                  <a:lnTo>
                    <a:pt x="128" y="17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2" name="Freeform 844"/>
            <p:cNvSpPr>
              <a:spLocks/>
            </p:cNvSpPr>
            <p:nvPr/>
          </p:nvSpPr>
          <p:spPr bwMode="auto">
            <a:xfrm>
              <a:off x="5980172" y="2311880"/>
              <a:ext cx="14985" cy="24978"/>
            </a:xfrm>
            <a:custGeom>
              <a:avLst/>
              <a:gdLst>
                <a:gd name="T0" fmla="*/ 2147483647 w 24"/>
                <a:gd name="T1" fmla="*/ 0 h 58"/>
                <a:gd name="T2" fmla="*/ 2147483647 w 24"/>
                <a:gd name="T3" fmla="*/ 2147483647 h 58"/>
                <a:gd name="T4" fmla="*/ 2147483647 w 24"/>
                <a:gd name="T5" fmla="*/ 2147483647 h 58"/>
                <a:gd name="T6" fmla="*/ 2147483647 w 24"/>
                <a:gd name="T7" fmla="*/ 2147483647 h 58"/>
                <a:gd name="T8" fmla="*/ 2147483647 w 24"/>
                <a:gd name="T9" fmla="*/ 2147483647 h 58"/>
                <a:gd name="T10" fmla="*/ 0 w 24"/>
                <a:gd name="T11" fmla="*/ 2147483647 h 58"/>
                <a:gd name="T12" fmla="*/ 2147483647 w 24"/>
                <a:gd name="T13" fmla="*/ 0 h 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58"/>
                <a:gd name="T23" fmla="*/ 24 w 24"/>
                <a:gd name="T24" fmla="*/ 58 h 5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58">
                  <a:moveTo>
                    <a:pt x="12" y="0"/>
                  </a:moveTo>
                  <a:lnTo>
                    <a:pt x="24" y="35"/>
                  </a:lnTo>
                  <a:lnTo>
                    <a:pt x="6" y="58"/>
                  </a:lnTo>
                  <a:lnTo>
                    <a:pt x="6" y="52"/>
                  </a:lnTo>
                  <a:lnTo>
                    <a:pt x="6" y="40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3" name="Freeform 845"/>
            <p:cNvSpPr>
              <a:spLocks/>
            </p:cNvSpPr>
            <p:nvPr/>
          </p:nvSpPr>
          <p:spPr bwMode="auto">
            <a:xfrm>
              <a:off x="5960193" y="2316872"/>
              <a:ext cx="9990" cy="14985"/>
            </a:xfrm>
            <a:custGeom>
              <a:avLst/>
              <a:gdLst>
                <a:gd name="T0" fmla="*/ 2147483647 w 18"/>
                <a:gd name="T1" fmla="*/ 0 h 35"/>
                <a:gd name="T2" fmla="*/ 0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2147483647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35"/>
                <a:gd name="T20" fmla="*/ 18 w 18"/>
                <a:gd name="T21" fmla="*/ 35 h 3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35">
                  <a:moveTo>
                    <a:pt x="6" y="0"/>
                  </a:moveTo>
                  <a:lnTo>
                    <a:pt x="0" y="24"/>
                  </a:lnTo>
                  <a:lnTo>
                    <a:pt x="11" y="35"/>
                  </a:lnTo>
                  <a:lnTo>
                    <a:pt x="18" y="18"/>
                  </a:lnTo>
                  <a:lnTo>
                    <a:pt x="18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4" name="Freeform 846"/>
            <p:cNvSpPr>
              <a:spLocks/>
            </p:cNvSpPr>
            <p:nvPr/>
          </p:nvSpPr>
          <p:spPr bwMode="auto">
            <a:xfrm>
              <a:off x="5965187" y="2281905"/>
              <a:ext cx="29966" cy="19982"/>
            </a:xfrm>
            <a:custGeom>
              <a:avLst/>
              <a:gdLst>
                <a:gd name="T0" fmla="*/ 2147483647 w 53"/>
                <a:gd name="T1" fmla="*/ 2147483647 h 47"/>
                <a:gd name="T2" fmla="*/ 0 w 53"/>
                <a:gd name="T3" fmla="*/ 2147483647 h 47"/>
                <a:gd name="T4" fmla="*/ 2147483647 w 53"/>
                <a:gd name="T5" fmla="*/ 2147483647 h 47"/>
                <a:gd name="T6" fmla="*/ 2147483647 w 53"/>
                <a:gd name="T7" fmla="*/ 2147483647 h 47"/>
                <a:gd name="T8" fmla="*/ 2147483647 w 53"/>
                <a:gd name="T9" fmla="*/ 2147483647 h 47"/>
                <a:gd name="T10" fmla="*/ 2147483647 w 53"/>
                <a:gd name="T11" fmla="*/ 0 h 47"/>
                <a:gd name="T12" fmla="*/ 2147483647 w 53"/>
                <a:gd name="T13" fmla="*/ 0 h 47"/>
                <a:gd name="T14" fmla="*/ 2147483647 w 53"/>
                <a:gd name="T15" fmla="*/ 2147483647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3"/>
                <a:gd name="T25" fmla="*/ 0 h 47"/>
                <a:gd name="T26" fmla="*/ 53 w 53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3" h="47">
                  <a:moveTo>
                    <a:pt x="7" y="18"/>
                  </a:moveTo>
                  <a:lnTo>
                    <a:pt x="0" y="30"/>
                  </a:lnTo>
                  <a:lnTo>
                    <a:pt x="18" y="47"/>
                  </a:lnTo>
                  <a:lnTo>
                    <a:pt x="42" y="41"/>
                  </a:lnTo>
                  <a:lnTo>
                    <a:pt x="53" y="18"/>
                  </a:lnTo>
                  <a:lnTo>
                    <a:pt x="30" y="0"/>
                  </a:lnTo>
                  <a:lnTo>
                    <a:pt x="7" y="0"/>
                  </a:lnTo>
                  <a:lnTo>
                    <a:pt x="7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5" name="Freeform 847"/>
            <p:cNvSpPr>
              <a:spLocks/>
            </p:cNvSpPr>
            <p:nvPr/>
          </p:nvSpPr>
          <p:spPr bwMode="auto">
            <a:xfrm>
              <a:off x="6065078" y="2271915"/>
              <a:ext cx="19977" cy="9989"/>
            </a:xfrm>
            <a:custGeom>
              <a:avLst/>
              <a:gdLst>
                <a:gd name="T0" fmla="*/ 2147483647 w 28"/>
                <a:gd name="T1" fmla="*/ 2147483647 h 23"/>
                <a:gd name="T2" fmla="*/ 0 w 28"/>
                <a:gd name="T3" fmla="*/ 2147483647 h 23"/>
                <a:gd name="T4" fmla="*/ 2147483647 w 28"/>
                <a:gd name="T5" fmla="*/ 2147483647 h 23"/>
                <a:gd name="T6" fmla="*/ 2147483647 w 28"/>
                <a:gd name="T7" fmla="*/ 2147483647 h 23"/>
                <a:gd name="T8" fmla="*/ 2147483647 w 28"/>
                <a:gd name="T9" fmla="*/ 2147483647 h 23"/>
                <a:gd name="T10" fmla="*/ 2147483647 w 28"/>
                <a:gd name="T11" fmla="*/ 0 h 23"/>
                <a:gd name="T12" fmla="*/ 2147483647 w 28"/>
                <a:gd name="T13" fmla="*/ 2147483647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23"/>
                <a:gd name="T23" fmla="*/ 28 w 28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23">
                  <a:moveTo>
                    <a:pt x="11" y="6"/>
                  </a:moveTo>
                  <a:lnTo>
                    <a:pt x="0" y="18"/>
                  </a:lnTo>
                  <a:lnTo>
                    <a:pt x="11" y="23"/>
                  </a:lnTo>
                  <a:lnTo>
                    <a:pt x="28" y="23"/>
                  </a:lnTo>
                  <a:lnTo>
                    <a:pt x="23" y="6"/>
                  </a:lnTo>
                  <a:lnTo>
                    <a:pt x="17" y="0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6" name="Freeform 848"/>
            <p:cNvSpPr>
              <a:spLocks/>
            </p:cNvSpPr>
            <p:nvPr/>
          </p:nvSpPr>
          <p:spPr bwMode="auto">
            <a:xfrm>
              <a:off x="5935221" y="2406791"/>
              <a:ext cx="64929" cy="59945"/>
            </a:xfrm>
            <a:custGeom>
              <a:avLst/>
              <a:gdLst>
                <a:gd name="T0" fmla="*/ 2147483647 w 123"/>
                <a:gd name="T1" fmla="*/ 0 h 127"/>
                <a:gd name="T2" fmla="*/ 2147483647 w 123"/>
                <a:gd name="T3" fmla="*/ 2147483647 h 127"/>
                <a:gd name="T4" fmla="*/ 0 w 123"/>
                <a:gd name="T5" fmla="*/ 2147483647 h 127"/>
                <a:gd name="T6" fmla="*/ 2147483647 w 123"/>
                <a:gd name="T7" fmla="*/ 2147483647 h 127"/>
                <a:gd name="T8" fmla="*/ 2147483647 w 123"/>
                <a:gd name="T9" fmla="*/ 2147483647 h 127"/>
                <a:gd name="T10" fmla="*/ 2147483647 w 123"/>
                <a:gd name="T11" fmla="*/ 2147483647 h 127"/>
                <a:gd name="T12" fmla="*/ 2147483647 w 123"/>
                <a:gd name="T13" fmla="*/ 2147483647 h 127"/>
                <a:gd name="T14" fmla="*/ 2147483647 w 123"/>
                <a:gd name="T15" fmla="*/ 2147483647 h 127"/>
                <a:gd name="T16" fmla="*/ 2147483647 w 123"/>
                <a:gd name="T17" fmla="*/ 2147483647 h 127"/>
                <a:gd name="T18" fmla="*/ 2147483647 w 123"/>
                <a:gd name="T19" fmla="*/ 2147483647 h 127"/>
                <a:gd name="T20" fmla="*/ 2147483647 w 123"/>
                <a:gd name="T21" fmla="*/ 0 h 1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3"/>
                <a:gd name="T34" fmla="*/ 0 h 127"/>
                <a:gd name="T35" fmla="*/ 123 w 123"/>
                <a:gd name="T36" fmla="*/ 127 h 1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3" h="127">
                  <a:moveTo>
                    <a:pt x="53" y="0"/>
                  </a:moveTo>
                  <a:lnTo>
                    <a:pt x="12" y="35"/>
                  </a:lnTo>
                  <a:lnTo>
                    <a:pt x="0" y="80"/>
                  </a:lnTo>
                  <a:lnTo>
                    <a:pt x="12" y="104"/>
                  </a:lnTo>
                  <a:lnTo>
                    <a:pt x="30" y="98"/>
                  </a:lnTo>
                  <a:lnTo>
                    <a:pt x="82" y="127"/>
                  </a:lnTo>
                  <a:lnTo>
                    <a:pt x="88" y="122"/>
                  </a:lnTo>
                  <a:lnTo>
                    <a:pt x="123" y="80"/>
                  </a:lnTo>
                  <a:lnTo>
                    <a:pt x="111" y="23"/>
                  </a:lnTo>
                  <a:lnTo>
                    <a:pt x="70" y="11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7" name="Freeform 849"/>
            <p:cNvSpPr>
              <a:spLocks/>
            </p:cNvSpPr>
            <p:nvPr/>
          </p:nvSpPr>
          <p:spPr bwMode="auto">
            <a:xfrm>
              <a:off x="5855310" y="2401795"/>
              <a:ext cx="129856" cy="139872"/>
            </a:xfrm>
            <a:custGeom>
              <a:avLst/>
              <a:gdLst>
                <a:gd name="T0" fmla="*/ 2147483647 w 233"/>
                <a:gd name="T1" fmla="*/ 2147483647 h 308"/>
                <a:gd name="T2" fmla="*/ 2147483647 w 233"/>
                <a:gd name="T3" fmla="*/ 0 h 308"/>
                <a:gd name="T4" fmla="*/ 2147483647 w 233"/>
                <a:gd name="T5" fmla="*/ 2147483647 h 308"/>
                <a:gd name="T6" fmla="*/ 2147483647 w 233"/>
                <a:gd name="T7" fmla="*/ 2147483647 h 308"/>
                <a:gd name="T8" fmla="*/ 2147483647 w 233"/>
                <a:gd name="T9" fmla="*/ 2147483647 h 308"/>
                <a:gd name="T10" fmla="*/ 2147483647 w 233"/>
                <a:gd name="T11" fmla="*/ 2147483647 h 308"/>
                <a:gd name="T12" fmla="*/ 2147483647 w 233"/>
                <a:gd name="T13" fmla="*/ 2147483647 h 308"/>
                <a:gd name="T14" fmla="*/ 2147483647 w 233"/>
                <a:gd name="T15" fmla="*/ 2147483647 h 308"/>
                <a:gd name="T16" fmla="*/ 2147483647 w 233"/>
                <a:gd name="T17" fmla="*/ 2147483647 h 308"/>
                <a:gd name="T18" fmla="*/ 2147483647 w 233"/>
                <a:gd name="T19" fmla="*/ 2147483647 h 308"/>
                <a:gd name="T20" fmla="*/ 2147483647 w 233"/>
                <a:gd name="T21" fmla="*/ 2147483647 h 308"/>
                <a:gd name="T22" fmla="*/ 2147483647 w 233"/>
                <a:gd name="T23" fmla="*/ 2147483647 h 308"/>
                <a:gd name="T24" fmla="*/ 0 w 233"/>
                <a:gd name="T25" fmla="*/ 2147483647 h 308"/>
                <a:gd name="T26" fmla="*/ 2147483647 w 233"/>
                <a:gd name="T27" fmla="*/ 2147483647 h 308"/>
                <a:gd name="T28" fmla="*/ 2147483647 w 233"/>
                <a:gd name="T29" fmla="*/ 2147483647 h 308"/>
                <a:gd name="T30" fmla="*/ 2147483647 w 233"/>
                <a:gd name="T31" fmla="*/ 2147483647 h 308"/>
                <a:gd name="T32" fmla="*/ 2147483647 w 233"/>
                <a:gd name="T33" fmla="*/ 2147483647 h 308"/>
                <a:gd name="T34" fmla="*/ 2147483647 w 233"/>
                <a:gd name="T35" fmla="*/ 2147483647 h 308"/>
                <a:gd name="T36" fmla="*/ 2147483647 w 233"/>
                <a:gd name="T37" fmla="*/ 2147483647 h 308"/>
                <a:gd name="T38" fmla="*/ 2147483647 w 233"/>
                <a:gd name="T39" fmla="*/ 2147483647 h 308"/>
                <a:gd name="T40" fmla="*/ 2147483647 w 233"/>
                <a:gd name="T41" fmla="*/ 2147483647 h 308"/>
                <a:gd name="T42" fmla="*/ 2147483647 w 233"/>
                <a:gd name="T43" fmla="*/ 2147483647 h 308"/>
                <a:gd name="T44" fmla="*/ 2147483647 w 233"/>
                <a:gd name="T45" fmla="*/ 2147483647 h 308"/>
                <a:gd name="T46" fmla="*/ 2147483647 w 233"/>
                <a:gd name="T47" fmla="*/ 2147483647 h 308"/>
                <a:gd name="T48" fmla="*/ 2147483647 w 233"/>
                <a:gd name="T49" fmla="*/ 2147483647 h 308"/>
                <a:gd name="T50" fmla="*/ 2147483647 w 233"/>
                <a:gd name="T51" fmla="*/ 2147483647 h 308"/>
                <a:gd name="T52" fmla="*/ 2147483647 w 233"/>
                <a:gd name="T53" fmla="*/ 2147483647 h 30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3"/>
                <a:gd name="T82" fmla="*/ 0 h 308"/>
                <a:gd name="T83" fmla="*/ 233 w 233"/>
                <a:gd name="T84" fmla="*/ 308 h 30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3" h="308">
                  <a:moveTo>
                    <a:pt x="198" y="18"/>
                  </a:moveTo>
                  <a:lnTo>
                    <a:pt x="192" y="0"/>
                  </a:lnTo>
                  <a:lnTo>
                    <a:pt x="157" y="29"/>
                  </a:lnTo>
                  <a:lnTo>
                    <a:pt x="123" y="35"/>
                  </a:lnTo>
                  <a:lnTo>
                    <a:pt x="88" y="46"/>
                  </a:lnTo>
                  <a:lnTo>
                    <a:pt x="116" y="81"/>
                  </a:lnTo>
                  <a:lnTo>
                    <a:pt x="70" y="70"/>
                  </a:lnTo>
                  <a:lnTo>
                    <a:pt x="53" y="87"/>
                  </a:lnTo>
                  <a:lnTo>
                    <a:pt x="64" y="133"/>
                  </a:lnTo>
                  <a:lnTo>
                    <a:pt x="41" y="140"/>
                  </a:lnTo>
                  <a:lnTo>
                    <a:pt x="41" y="151"/>
                  </a:lnTo>
                  <a:lnTo>
                    <a:pt x="64" y="180"/>
                  </a:lnTo>
                  <a:lnTo>
                    <a:pt x="0" y="244"/>
                  </a:lnTo>
                  <a:lnTo>
                    <a:pt x="46" y="290"/>
                  </a:lnTo>
                  <a:lnTo>
                    <a:pt x="116" y="308"/>
                  </a:lnTo>
                  <a:lnTo>
                    <a:pt x="163" y="255"/>
                  </a:lnTo>
                  <a:lnTo>
                    <a:pt x="198" y="297"/>
                  </a:lnTo>
                  <a:lnTo>
                    <a:pt x="221" y="273"/>
                  </a:lnTo>
                  <a:lnTo>
                    <a:pt x="210" y="209"/>
                  </a:lnTo>
                  <a:lnTo>
                    <a:pt x="227" y="186"/>
                  </a:lnTo>
                  <a:lnTo>
                    <a:pt x="233" y="140"/>
                  </a:lnTo>
                  <a:lnTo>
                    <a:pt x="227" y="145"/>
                  </a:lnTo>
                  <a:lnTo>
                    <a:pt x="175" y="116"/>
                  </a:lnTo>
                  <a:lnTo>
                    <a:pt x="157" y="122"/>
                  </a:lnTo>
                  <a:lnTo>
                    <a:pt x="145" y="98"/>
                  </a:lnTo>
                  <a:lnTo>
                    <a:pt x="157" y="53"/>
                  </a:lnTo>
                  <a:lnTo>
                    <a:pt x="198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8" name="Freeform 850"/>
            <p:cNvSpPr>
              <a:spLocks/>
            </p:cNvSpPr>
            <p:nvPr/>
          </p:nvSpPr>
          <p:spPr bwMode="auto">
            <a:xfrm>
              <a:off x="6000149" y="2486719"/>
              <a:ext cx="64929" cy="74930"/>
            </a:xfrm>
            <a:custGeom>
              <a:avLst/>
              <a:gdLst>
                <a:gd name="T0" fmla="*/ 2147483647 w 122"/>
                <a:gd name="T1" fmla="*/ 2147483647 h 163"/>
                <a:gd name="T2" fmla="*/ 2147483647 w 122"/>
                <a:gd name="T3" fmla="*/ 2147483647 h 163"/>
                <a:gd name="T4" fmla="*/ 2147483647 w 122"/>
                <a:gd name="T5" fmla="*/ 2147483647 h 163"/>
                <a:gd name="T6" fmla="*/ 2147483647 w 122"/>
                <a:gd name="T7" fmla="*/ 2147483647 h 163"/>
                <a:gd name="T8" fmla="*/ 2147483647 w 122"/>
                <a:gd name="T9" fmla="*/ 2147483647 h 163"/>
                <a:gd name="T10" fmla="*/ 2147483647 w 122"/>
                <a:gd name="T11" fmla="*/ 2147483647 h 163"/>
                <a:gd name="T12" fmla="*/ 2147483647 w 122"/>
                <a:gd name="T13" fmla="*/ 2147483647 h 163"/>
                <a:gd name="T14" fmla="*/ 0 w 122"/>
                <a:gd name="T15" fmla="*/ 2147483647 h 163"/>
                <a:gd name="T16" fmla="*/ 2147483647 w 122"/>
                <a:gd name="T17" fmla="*/ 2147483647 h 163"/>
                <a:gd name="T18" fmla="*/ 2147483647 w 122"/>
                <a:gd name="T19" fmla="*/ 2147483647 h 163"/>
                <a:gd name="T20" fmla="*/ 2147483647 w 122"/>
                <a:gd name="T21" fmla="*/ 2147483647 h 163"/>
                <a:gd name="T22" fmla="*/ 2147483647 w 122"/>
                <a:gd name="T23" fmla="*/ 2147483647 h 163"/>
                <a:gd name="T24" fmla="*/ 2147483647 w 122"/>
                <a:gd name="T25" fmla="*/ 0 h 163"/>
                <a:gd name="T26" fmla="*/ 2147483647 w 122"/>
                <a:gd name="T27" fmla="*/ 2147483647 h 163"/>
                <a:gd name="T28" fmla="*/ 2147483647 w 122"/>
                <a:gd name="T29" fmla="*/ 2147483647 h 1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2"/>
                <a:gd name="T46" fmla="*/ 0 h 163"/>
                <a:gd name="T47" fmla="*/ 122 w 122"/>
                <a:gd name="T48" fmla="*/ 163 h 1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2" h="163">
                  <a:moveTo>
                    <a:pt x="98" y="6"/>
                  </a:moveTo>
                  <a:lnTo>
                    <a:pt x="122" y="46"/>
                  </a:lnTo>
                  <a:lnTo>
                    <a:pt x="98" y="52"/>
                  </a:lnTo>
                  <a:lnTo>
                    <a:pt x="110" y="76"/>
                  </a:lnTo>
                  <a:lnTo>
                    <a:pt x="93" y="111"/>
                  </a:lnTo>
                  <a:lnTo>
                    <a:pt x="98" y="122"/>
                  </a:lnTo>
                  <a:lnTo>
                    <a:pt x="63" y="163"/>
                  </a:lnTo>
                  <a:lnTo>
                    <a:pt x="0" y="146"/>
                  </a:lnTo>
                  <a:lnTo>
                    <a:pt x="6" y="104"/>
                  </a:lnTo>
                  <a:lnTo>
                    <a:pt x="35" y="99"/>
                  </a:lnTo>
                  <a:lnTo>
                    <a:pt x="40" y="34"/>
                  </a:lnTo>
                  <a:lnTo>
                    <a:pt x="35" y="6"/>
                  </a:lnTo>
                  <a:lnTo>
                    <a:pt x="46" y="0"/>
                  </a:lnTo>
                  <a:lnTo>
                    <a:pt x="70" y="12"/>
                  </a:lnTo>
                  <a:lnTo>
                    <a:pt x="98" y="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49" name="Freeform 851"/>
            <p:cNvSpPr>
              <a:spLocks/>
            </p:cNvSpPr>
            <p:nvPr/>
          </p:nvSpPr>
          <p:spPr bwMode="auto">
            <a:xfrm>
              <a:off x="5980172" y="2411788"/>
              <a:ext cx="194785" cy="194821"/>
            </a:xfrm>
            <a:custGeom>
              <a:avLst/>
              <a:gdLst>
                <a:gd name="T0" fmla="*/ 2147483647 w 360"/>
                <a:gd name="T1" fmla="*/ 2147483647 h 413"/>
                <a:gd name="T2" fmla="*/ 2147483647 w 360"/>
                <a:gd name="T3" fmla="*/ 2147483647 h 413"/>
                <a:gd name="T4" fmla="*/ 2147483647 w 360"/>
                <a:gd name="T5" fmla="*/ 2147483647 h 413"/>
                <a:gd name="T6" fmla="*/ 2147483647 w 360"/>
                <a:gd name="T7" fmla="*/ 2147483647 h 413"/>
                <a:gd name="T8" fmla="*/ 2147483647 w 360"/>
                <a:gd name="T9" fmla="*/ 2147483647 h 413"/>
                <a:gd name="T10" fmla="*/ 2147483647 w 360"/>
                <a:gd name="T11" fmla="*/ 0 h 413"/>
                <a:gd name="T12" fmla="*/ 2147483647 w 360"/>
                <a:gd name="T13" fmla="*/ 2147483647 h 413"/>
                <a:gd name="T14" fmla="*/ 2147483647 w 360"/>
                <a:gd name="T15" fmla="*/ 2147483647 h 413"/>
                <a:gd name="T16" fmla="*/ 2147483647 w 360"/>
                <a:gd name="T17" fmla="*/ 2147483647 h 413"/>
                <a:gd name="T18" fmla="*/ 2147483647 w 360"/>
                <a:gd name="T19" fmla="*/ 2147483647 h 413"/>
                <a:gd name="T20" fmla="*/ 2147483647 w 360"/>
                <a:gd name="T21" fmla="*/ 2147483647 h 413"/>
                <a:gd name="T22" fmla="*/ 2147483647 w 360"/>
                <a:gd name="T23" fmla="*/ 2147483647 h 413"/>
                <a:gd name="T24" fmla="*/ 2147483647 w 360"/>
                <a:gd name="T25" fmla="*/ 2147483647 h 413"/>
                <a:gd name="T26" fmla="*/ 2147483647 w 360"/>
                <a:gd name="T27" fmla="*/ 2147483647 h 413"/>
                <a:gd name="T28" fmla="*/ 2147483647 w 360"/>
                <a:gd name="T29" fmla="*/ 2147483647 h 413"/>
                <a:gd name="T30" fmla="*/ 2147483647 w 360"/>
                <a:gd name="T31" fmla="*/ 2147483647 h 413"/>
                <a:gd name="T32" fmla="*/ 2147483647 w 360"/>
                <a:gd name="T33" fmla="*/ 2147483647 h 413"/>
                <a:gd name="T34" fmla="*/ 2147483647 w 360"/>
                <a:gd name="T35" fmla="*/ 2147483647 h 413"/>
                <a:gd name="T36" fmla="*/ 2147483647 w 360"/>
                <a:gd name="T37" fmla="*/ 2147483647 h 413"/>
                <a:gd name="T38" fmla="*/ 2147483647 w 360"/>
                <a:gd name="T39" fmla="*/ 2147483647 h 413"/>
                <a:gd name="T40" fmla="*/ 2147483647 w 360"/>
                <a:gd name="T41" fmla="*/ 2147483647 h 413"/>
                <a:gd name="T42" fmla="*/ 2147483647 w 360"/>
                <a:gd name="T43" fmla="*/ 2147483647 h 413"/>
                <a:gd name="T44" fmla="*/ 2147483647 w 360"/>
                <a:gd name="T45" fmla="*/ 2147483647 h 413"/>
                <a:gd name="T46" fmla="*/ 2147483647 w 360"/>
                <a:gd name="T47" fmla="*/ 2147483647 h 413"/>
                <a:gd name="T48" fmla="*/ 2147483647 w 360"/>
                <a:gd name="T49" fmla="*/ 2147483647 h 413"/>
                <a:gd name="T50" fmla="*/ 0 w 360"/>
                <a:gd name="T51" fmla="*/ 2147483647 h 413"/>
                <a:gd name="T52" fmla="*/ 2147483647 w 360"/>
                <a:gd name="T53" fmla="*/ 2147483647 h 413"/>
                <a:gd name="T54" fmla="*/ 2147483647 w 360"/>
                <a:gd name="T55" fmla="*/ 2147483647 h 413"/>
                <a:gd name="T56" fmla="*/ 2147483647 w 360"/>
                <a:gd name="T57" fmla="*/ 2147483647 h 413"/>
                <a:gd name="T58" fmla="*/ 2147483647 w 360"/>
                <a:gd name="T59" fmla="*/ 2147483647 h 413"/>
                <a:gd name="T60" fmla="*/ 2147483647 w 360"/>
                <a:gd name="T61" fmla="*/ 2147483647 h 413"/>
                <a:gd name="T62" fmla="*/ 2147483647 w 360"/>
                <a:gd name="T63" fmla="*/ 2147483647 h 413"/>
                <a:gd name="T64" fmla="*/ 2147483647 w 360"/>
                <a:gd name="T65" fmla="*/ 2147483647 h 413"/>
                <a:gd name="T66" fmla="*/ 2147483647 w 360"/>
                <a:gd name="T67" fmla="*/ 2147483647 h 413"/>
                <a:gd name="T68" fmla="*/ 2147483647 w 360"/>
                <a:gd name="T69" fmla="*/ 2147483647 h 413"/>
                <a:gd name="T70" fmla="*/ 2147483647 w 360"/>
                <a:gd name="T71" fmla="*/ 2147483647 h 4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60"/>
                <a:gd name="T109" fmla="*/ 0 h 413"/>
                <a:gd name="T110" fmla="*/ 360 w 360"/>
                <a:gd name="T111" fmla="*/ 413 h 4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60" h="413">
                  <a:moveTo>
                    <a:pt x="128" y="116"/>
                  </a:moveTo>
                  <a:lnTo>
                    <a:pt x="157" y="104"/>
                  </a:lnTo>
                  <a:lnTo>
                    <a:pt x="163" y="69"/>
                  </a:lnTo>
                  <a:lnTo>
                    <a:pt x="203" y="29"/>
                  </a:lnTo>
                  <a:lnTo>
                    <a:pt x="208" y="6"/>
                  </a:lnTo>
                  <a:lnTo>
                    <a:pt x="215" y="0"/>
                  </a:lnTo>
                  <a:lnTo>
                    <a:pt x="226" y="24"/>
                  </a:lnTo>
                  <a:lnTo>
                    <a:pt x="215" y="69"/>
                  </a:lnTo>
                  <a:lnTo>
                    <a:pt x="243" y="69"/>
                  </a:lnTo>
                  <a:lnTo>
                    <a:pt x="267" y="93"/>
                  </a:lnTo>
                  <a:lnTo>
                    <a:pt x="261" y="139"/>
                  </a:lnTo>
                  <a:lnTo>
                    <a:pt x="278" y="191"/>
                  </a:lnTo>
                  <a:lnTo>
                    <a:pt x="313" y="198"/>
                  </a:lnTo>
                  <a:lnTo>
                    <a:pt x="360" y="256"/>
                  </a:lnTo>
                  <a:lnTo>
                    <a:pt x="348" y="296"/>
                  </a:lnTo>
                  <a:lnTo>
                    <a:pt x="296" y="325"/>
                  </a:lnTo>
                  <a:lnTo>
                    <a:pt x="337" y="366"/>
                  </a:lnTo>
                  <a:lnTo>
                    <a:pt x="313" y="383"/>
                  </a:lnTo>
                  <a:lnTo>
                    <a:pt x="267" y="390"/>
                  </a:lnTo>
                  <a:lnTo>
                    <a:pt x="250" y="383"/>
                  </a:lnTo>
                  <a:lnTo>
                    <a:pt x="232" y="395"/>
                  </a:lnTo>
                  <a:lnTo>
                    <a:pt x="163" y="401"/>
                  </a:lnTo>
                  <a:lnTo>
                    <a:pt x="133" y="383"/>
                  </a:lnTo>
                  <a:lnTo>
                    <a:pt x="58" y="413"/>
                  </a:lnTo>
                  <a:lnTo>
                    <a:pt x="6" y="395"/>
                  </a:lnTo>
                  <a:lnTo>
                    <a:pt x="0" y="383"/>
                  </a:lnTo>
                  <a:lnTo>
                    <a:pt x="29" y="378"/>
                  </a:lnTo>
                  <a:lnTo>
                    <a:pt x="53" y="337"/>
                  </a:lnTo>
                  <a:lnTo>
                    <a:pt x="98" y="320"/>
                  </a:lnTo>
                  <a:lnTo>
                    <a:pt x="128" y="279"/>
                  </a:lnTo>
                  <a:lnTo>
                    <a:pt x="128" y="268"/>
                  </a:lnTo>
                  <a:lnTo>
                    <a:pt x="145" y="233"/>
                  </a:lnTo>
                  <a:lnTo>
                    <a:pt x="140" y="203"/>
                  </a:lnTo>
                  <a:lnTo>
                    <a:pt x="157" y="198"/>
                  </a:lnTo>
                  <a:lnTo>
                    <a:pt x="133" y="163"/>
                  </a:lnTo>
                  <a:lnTo>
                    <a:pt x="128" y="11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0" name="Freeform 852"/>
            <p:cNvSpPr>
              <a:spLocks/>
            </p:cNvSpPr>
            <p:nvPr/>
          </p:nvSpPr>
          <p:spPr bwMode="auto">
            <a:xfrm>
              <a:off x="5995155" y="2281905"/>
              <a:ext cx="99890" cy="184832"/>
            </a:xfrm>
            <a:custGeom>
              <a:avLst/>
              <a:gdLst>
                <a:gd name="T0" fmla="*/ 2147483647 w 197"/>
                <a:gd name="T1" fmla="*/ 2147483647 h 401"/>
                <a:gd name="T2" fmla="*/ 2147483647 w 197"/>
                <a:gd name="T3" fmla="*/ 2147483647 h 401"/>
                <a:gd name="T4" fmla="*/ 2147483647 w 197"/>
                <a:gd name="T5" fmla="*/ 2147483647 h 401"/>
                <a:gd name="T6" fmla="*/ 2147483647 w 197"/>
                <a:gd name="T7" fmla="*/ 2147483647 h 401"/>
                <a:gd name="T8" fmla="*/ 2147483647 w 197"/>
                <a:gd name="T9" fmla="*/ 2147483647 h 401"/>
                <a:gd name="T10" fmla="*/ 2147483647 w 197"/>
                <a:gd name="T11" fmla="*/ 2147483647 h 401"/>
                <a:gd name="T12" fmla="*/ 2147483647 w 197"/>
                <a:gd name="T13" fmla="*/ 2147483647 h 401"/>
                <a:gd name="T14" fmla="*/ 0 w 197"/>
                <a:gd name="T15" fmla="*/ 2147483647 h 401"/>
                <a:gd name="T16" fmla="*/ 0 w 197"/>
                <a:gd name="T17" fmla="*/ 2147483647 h 401"/>
                <a:gd name="T18" fmla="*/ 2147483647 w 197"/>
                <a:gd name="T19" fmla="*/ 2147483647 h 401"/>
                <a:gd name="T20" fmla="*/ 2147483647 w 197"/>
                <a:gd name="T21" fmla="*/ 2147483647 h 401"/>
                <a:gd name="T22" fmla="*/ 2147483647 w 197"/>
                <a:gd name="T23" fmla="*/ 2147483647 h 401"/>
                <a:gd name="T24" fmla="*/ 2147483647 w 197"/>
                <a:gd name="T25" fmla="*/ 2147483647 h 401"/>
                <a:gd name="T26" fmla="*/ 2147483647 w 197"/>
                <a:gd name="T27" fmla="*/ 2147483647 h 401"/>
                <a:gd name="T28" fmla="*/ 2147483647 w 197"/>
                <a:gd name="T29" fmla="*/ 2147483647 h 401"/>
                <a:gd name="T30" fmla="*/ 2147483647 w 197"/>
                <a:gd name="T31" fmla="*/ 0 h 401"/>
                <a:gd name="T32" fmla="*/ 2147483647 w 197"/>
                <a:gd name="T33" fmla="*/ 2147483647 h 401"/>
                <a:gd name="T34" fmla="*/ 2147483647 w 197"/>
                <a:gd name="T35" fmla="*/ 2147483647 h 401"/>
                <a:gd name="T36" fmla="*/ 2147483647 w 197"/>
                <a:gd name="T37" fmla="*/ 2147483647 h 401"/>
                <a:gd name="T38" fmla="*/ 2147483647 w 197"/>
                <a:gd name="T39" fmla="*/ 2147483647 h 401"/>
                <a:gd name="T40" fmla="*/ 2147483647 w 197"/>
                <a:gd name="T41" fmla="*/ 2147483647 h 401"/>
                <a:gd name="T42" fmla="*/ 2147483647 w 197"/>
                <a:gd name="T43" fmla="*/ 2147483647 h 401"/>
                <a:gd name="T44" fmla="*/ 2147483647 w 197"/>
                <a:gd name="T45" fmla="*/ 2147483647 h 401"/>
                <a:gd name="T46" fmla="*/ 2147483647 w 197"/>
                <a:gd name="T47" fmla="*/ 2147483647 h 401"/>
                <a:gd name="T48" fmla="*/ 2147483647 w 197"/>
                <a:gd name="T49" fmla="*/ 2147483647 h 401"/>
                <a:gd name="T50" fmla="*/ 2147483647 w 197"/>
                <a:gd name="T51" fmla="*/ 2147483647 h 401"/>
                <a:gd name="T52" fmla="*/ 2147483647 w 197"/>
                <a:gd name="T53" fmla="*/ 2147483647 h 401"/>
                <a:gd name="T54" fmla="*/ 2147483647 w 197"/>
                <a:gd name="T55" fmla="*/ 2147483647 h 401"/>
                <a:gd name="T56" fmla="*/ 2147483647 w 197"/>
                <a:gd name="T57" fmla="*/ 2147483647 h 401"/>
                <a:gd name="T58" fmla="*/ 2147483647 w 197"/>
                <a:gd name="T59" fmla="*/ 2147483647 h 401"/>
                <a:gd name="T60" fmla="*/ 2147483647 w 197"/>
                <a:gd name="T61" fmla="*/ 2147483647 h 401"/>
                <a:gd name="T62" fmla="*/ 2147483647 w 197"/>
                <a:gd name="T63" fmla="*/ 2147483647 h 4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7"/>
                <a:gd name="T97" fmla="*/ 0 h 401"/>
                <a:gd name="T98" fmla="*/ 197 w 197"/>
                <a:gd name="T99" fmla="*/ 401 h 4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7" h="401">
                  <a:moveTo>
                    <a:pt x="115" y="401"/>
                  </a:moveTo>
                  <a:lnTo>
                    <a:pt x="98" y="354"/>
                  </a:lnTo>
                  <a:lnTo>
                    <a:pt x="104" y="314"/>
                  </a:lnTo>
                  <a:lnTo>
                    <a:pt x="69" y="337"/>
                  </a:lnTo>
                  <a:lnTo>
                    <a:pt x="40" y="309"/>
                  </a:lnTo>
                  <a:lnTo>
                    <a:pt x="35" y="250"/>
                  </a:lnTo>
                  <a:lnTo>
                    <a:pt x="17" y="204"/>
                  </a:lnTo>
                  <a:lnTo>
                    <a:pt x="0" y="209"/>
                  </a:lnTo>
                  <a:lnTo>
                    <a:pt x="0" y="175"/>
                  </a:lnTo>
                  <a:lnTo>
                    <a:pt x="23" y="140"/>
                  </a:lnTo>
                  <a:lnTo>
                    <a:pt x="17" y="122"/>
                  </a:lnTo>
                  <a:lnTo>
                    <a:pt x="23" y="75"/>
                  </a:lnTo>
                  <a:lnTo>
                    <a:pt x="40" y="65"/>
                  </a:lnTo>
                  <a:lnTo>
                    <a:pt x="28" y="47"/>
                  </a:lnTo>
                  <a:lnTo>
                    <a:pt x="40" y="6"/>
                  </a:lnTo>
                  <a:lnTo>
                    <a:pt x="45" y="0"/>
                  </a:lnTo>
                  <a:lnTo>
                    <a:pt x="127" y="18"/>
                  </a:lnTo>
                  <a:lnTo>
                    <a:pt x="127" y="41"/>
                  </a:lnTo>
                  <a:lnTo>
                    <a:pt x="98" y="47"/>
                  </a:lnTo>
                  <a:lnTo>
                    <a:pt x="87" y="87"/>
                  </a:lnTo>
                  <a:lnTo>
                    <a:pt x="110" y="82"/>
                  </a:lnTo>
                  <a:lnTo>
                    <a:pt x="115" y="99"/>
                  </a:lnTo>
                  <a:lnTo>
                    <a:pt x="145" y="99"/>
                  </a:lnTo>
                  <a:lnTo>
                    <a:pt x="173" y="128"/>
                  </a:lnTo>
                  <a:lnTo>
                    <a:pt x="127" y="232"/>
                  </a:lnTo>
                  <a:lnTo>
                    <a:pt x="179" y="244"/>
                  </a:lnTo>
                  <a:lnTo>
                    <a:pt x="197" y="285"/>
                  </a:lnTo>
                  <a:lnTo>
                    <a:pt x="190" y="291"/>
                  </a:lnTo>
                  <a:lnTo>
                    <a:pt x="185" y="314"/>
                  </a:lnTo>
                  <a:lnTo>
                    <a:pt x="145" y="354"/>
                  </a:lnTo>
                  <a:lnTo>
                    <a:pt x="139" y="389"/>
                  </a:lnTo>
                  <a:lnTo>
                    <a:pt x="115" y="40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1" name="Freeform 853"/>
            <p:cNvSpPr>
              <a:spLocks/>
            </p:cNvSpPr>
            <p:nvPr/>
          </p:nvSpPr>
          <p:spPr bwMode="auto">
            <a:xfrm>
              <a:off x="8287622" y="2496708"/>
              <a:ext cx="1753063" cy="1223875"/>
            </a:xfrm>
            <a:custGeom>
              <a:avLst/>
              <a:gdLst>
                <a:gd name="T0" fmla="*/ 2147483647 w 3231"/>
                <a:gd name="T1" fmla="*/ 2147483647 h 2637"/>
                <a:gd name="T2" fmla="*/ 2147483647 w 3231"/>
                <a:gd name="T3" fmla="*/ 2147483647 h 2637"/>
                <a:gd name="T4" fmla="*/ 2147483647 w 3231"/>
                <a:gd name="T5" fmla="*/ 2147483647 h 2637"/>
                <a:gd name="T6" fmla="*/ 2147483647 w 3231"/>
                <a:gd name="T7" fmla="*/ 2147483647 h 2637"/>
                <a:gd name="T8" fmla="*/ 2147483647 w 3231"/>
                <a:gd name="T9" fmla="*/ 2147483647 h 2637"/>
                <a:gd name="T10" fmla="*/ 2147483647 w 3231"/>
                <a:gd name="T11" fmla="*/ 2147483647 h 2637"/>
                <a:gd name="T12" fmla="*/ 2147483647 w 3231"/>
                <a:gd name="T13" fmla="*/ 2147483647 h 2637"/>
                <a:gd name="T14" fmla="*/ 2147483647 w 3231"/>
                <a:gd name="T15" fmla="*/ 2147483647 h 2637"/>
                <a:gd name="T16" fmla="*/ 2147483647 w 3231"/>
                <a:gd name="T17" fmla="*/ 2147483647 h 2637"/>
                <a:gd name="T18" fmla="*/ 2147483647 w 3231"/>
                <a:gd name="T19" fmla="*/ 2147483647 h 2637"/>
                <a:gd name="T20" fmla="*/ 2147483647 w 3231"/>
                <a:gd name="T21" fmla="*/ 2147483647 h 2637"/>
                <a:gd name="T22" fmla="*/ 2147483647 w 3231"/>
                <a:gd name="T23" fmla="*/ 2147483647 h 2637"/>
                <a:gd name="T24" fmla="*/ 2147483647 w 3231"/>
                <a:gd name="T25" fmla="*/ 2147483647 h 2637"/>
                <a:gd name="T26" fmla="*/ 2147483647 w 3231"/>
                <a:gd name="T27" fmla="*/ 2147483647 h 2637"/>
                <a:gd name="T28" fmla="*/ 2147483647 w 3231"/>
                <a:gd name="T29" fmla="*/ 2147483647 h 2637"/>
                <a:gd name="T30" fmla="*/ 2147483647 w 3231"/>
                <a:gd name="T31" fmla="*/ 2147483647 h 2637"/>
                <a:gd name="T32" fmla="*/ 2147483647 w 3231"/>
                <a:gd name="T33" fmla="*/ 2147483647 h 2637"/>
                <a:gd name="T34" fmla="*/ 2147483647 w 3231"/>
                <a:gd name="T35" fmla="*/ 2147483647 h 2637"/>
                <a:gd name="T36" fmla="*/ 2147483647 w 3231"/>
                <a:gd name="T37" fmla="*/ 2147483647 h 2637"/>
                <a:gd name="T38" fmla="*/ 2147483647 w 3231"/>
                <a:gd name="T39" fmla="*/ 2147483647 h 2637"/>
                <a:gd name="T40" fmla="*/ 2147483647 w 3231"/>
                <a:gd name="T41" fmla="*/ 2147483647 h 2637"/>
                <a:gd name="T42" fmla="*/ 2147483647 w 3231"/>
                <a:gd name="T43" fmla="*/ 2147483647 h 2637"/>
                <a:gd name="T44" fmla="*/ 2147483647 w 3231"/>
                <a:gd name="T45" fmla="*/ 2147483647 h 2637"/>
                <a:gd name="T46" fmla="*/ 2147483647 w 3231"/>
                <a:gd name="T47" fmla="*/ 2147483647 h 2637"/>
                <a:gd name="T48" fmla="*/ 2147483647 w 3231"/>
                <a:gd name="T49" fmla="*/ 2147483647 h 2637"/>
                <a:gd name="T50" fmla="*/ 2147483647 w 3231"/>
                <a:gd name="T51" fmla="*/ 2147483647 h 2637"/>
                <a:gd name="T52" fmla="*/ 2147483647 w 3231"/>
                <a:gd name="T53" fmla="*/ 2147483647 h 2637"/>
                <a:gd name="T54" fmla="*/ 2147483647 w 3231"/>
                <a:gd name="T55" fmla="*/ 2147483647 h 2637"/>
                <a:gd name="T56" fmla="*/ 2147483647 w 3231"/>
                <a:gd name="T57" fmla="*/ 0 h 2637"/>
                <a:gd name="T58" fmla="*/ 2147483647 w 3231"/>
                <a:gd name="T59" fmla="*/ 2147483647 h 2637"/>
                <a:gd name="T60" fmla="*/ 2147483647 w 3231"/>
                <a:gd name="T61" fmla="*/ 2147483647 h 2637"/>
                <a:gd name="T62" fmla="*/ 2147483647 w 3231"/>
                <a:gd name="T63" fmla="*/ 2147483647 h 2637"/>
                <a:gd name="T64" fmla="*/ 2147483647 w 3231"/>
                <a:gd name="T65" fmla="*/ 2147483647 h 2637"/>
                <a:gd name="T66" fmla="*/ 2147483647 w 3231"/>
                <a:gd name="T67" fmla="*/ 2147483647 h 2637"/>
                <a:gd name="T68" fmla="*/ 2147483647 w 3231"/>
                <a:gd name="T69" fmla="*/ 2147483647 h 2637"/>
                <a:gd name="T70" fmla="*/ 2147483647 w 3231"/>
                <a:gd name="T71" fmla="*/ 2147483647 h 2637"/>
                <a:gd name="T72" fmla="*/ 2147483647 w 3231"/>
                <a:gd name="T73" fmla="*/ 2147483647 h 2637"/>
                <a:gd name="T74" fmla="*/ 2147483647 w 3231"/>
                <a:gd name="T75" fmla="*/ 2147483647 h 2637"/>
                <a:gd name="T76" fmla="*/ 2147483647 w 3231"/>
                <a:gd name="T77" fmla="*/ 2147483647 h 2637"/>
                <a:gd name="T78" fmla="*/ 2147483647 w 3231"/>
                <a:gd name="T79" fmla="*/ 2147483647 h 2637"/>
                <a:gd name="T80" fmla="*/ 2147483647 w 3231"/>
                <a:gd name="T81" fmla="*/ 2147483647 h 2637"/>
                <a:gd name="T82" fmla="*/ 2147483647 w 3231"/>
                <a:gd name="T83" fmla="*/ 2147483647 h 263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31"/>
                <a:gd name="T127" fmla="*/ 0 h 2637"/>
                <a:gd name="T128" fmla="*/ 3231 w 3231"/>
                <a:gd name="T129" fmla="*/ 2637 h 263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31" h="2637">
                  <a:moveTo>
                    <a:pt x="81" y="1458"/>
                  </a:moveTo>
                  <a:lnTo>
                    <a:pt x="133" y="1580"/>
                  </a:lnTo>
                  <a:lnTo>
                    <a:pt x="256" y="1598"/>
                  </a:lnTo>
                  <a:lnTo>
                    <a:pt x="337" y="1545"/>
                  </a:lnTo>
                  <a:lnTo>
                    <a:pt x="337" y="1638"/>
                  </a:lnTo>
                  <a:lnTo>
                    <a:pt x="273" y="1767"/>
                  </a:lnTo>
                  <a:lnTo>
                    <a:pt x="261" y="1807"/>
                  </a:lnTo>
                  <a:lnTo>
                    <a:pt x="302" y="1911"/>
                  </a:lnTo>
                  <a:lnTo>
                    <a:pt x="343" y="1946"/>
                  </a:lnTo>
                  <a:lnTo>
                    <a:pt x="400" y="1958"/>
                  </a:lnTo>
                  <a:lnTo>
                    <a:pt x="540" y="2011"/>
                  </a:lnTo>
                  <a:lnTo>
                    <a:pt x="651" y="2103"/>
                  </a:lnTo>
                  <a:lnTo>
                    <a:pt x="767" y="2080"/>
                  </a:lnTo>
                  <a:lnTo>
                    <a:pt x="791" y="2150"/>
                  </a:lnTo>
                  <a:lnTo>
                    <a:pt x="901" y="2150"/>
                  </a:lnTo>
                  <a:lnTo>
                    <a:pt x="1017" y="2150"/>
                  </a:lnTo>
                  <a:lnTo>
                    <a:pt x="1133" y="2126"/>
                  </a:lnTo>
                  <a:lnTo>
                    <a:pt x="1220" y="2056"/>
                  </a:lnTo>
                  <a:lnTo>
                    <a:pt x="1307" y="2056"/>
                  </a:lnTo>
                  <a:lnTo>
                    <a:pt x="1307" y="2103"/>
                  </a:lnTo>
                  <a:lnTo>
                    <a:pt x="1471" y="2150"/>
                  </a:lnTo>
                  <a:lnTo>
                    <a:pt x="1517" y="2260"/>
                  </a:lnTo>
                  <a:lnTo>
                    <a:pt x="1517" y="2341"/>
                  </a:lnTo>
                  <a:lnTo>
                    <a:pt x="1581" y="2405"/>
                  </a:lnTo>
                  <a:lnTo>
                    <a:pt x="1668" y="2422"/>
                  </a:lnTo>
                  <a:lnTo>
                    <a:pt x="1691" y="2527"/>
                  </a:lnTo>
                  <a:lnTo>
                    <a:pt x="1743" y="2544"/>
                  </a:lnTo>
                  <a:lnTo>
                    <a:pt x="1865" y="2475"/>
                  </a:lnTo>
                  <a:lnTo>
                    <a:pt x="1935" y="2480"/>
                  </a:lnTo>
                  <a:lnTo>
                    <a:pt x="1941" y="2527"/>
                  </a:lnTo>
                  <a:lnTo>
                    <a:pt x="1988" y="2567"/>
                  </a:lnTo>
                  <a:lnTo>
                    <a:pt x="2075" y="2550"/>
                  </a:lnTo>
                  <a:lnTo>
                    <a:pt x="2104" y="2637"/>
                  </a:lnTo>
                  <a:lnTo>
                    <a:pt x="2167" y="2637"/>
                  </a:lnTo>
                  <a:lnTo>
                    <a:pt x="2167" y="2567"/>
                  </a:lnTo>
                  <a:lnTo>
                    <a:pt x="2279" y="2550"/>
                  </a:lnTo>
                  <a:lnTo>
                    <a:pt x="2324" y="2480"/>
                  </a:lnTo>
                  <a:lnTo>
                    <a:pt x="2394" y="2504"/>
                  </a:lnTo>
                  <a:lnTo>
                    <a:pt x="2505" y="2434"/>
                  </a:lnTo>
                  <a:lnTo>
                    <a:pt x="2638" y="2283"/>
                  </a:lnTo>
                  <a:lnTo>
                    <a:pt x="2638" y="2236"/>
                  </a:lnTo>
                  <a:lnTo>
                    <a:pt x="2685" y="2213"/>
                  </a:lnTo>
                  <a:lnTo>
                    <a:pt x="2715" y="2126"/>
                  </a:lnTo>
                  <a:lnTo>
                    <a:pt x="2755" y="2011"/>
                  </a:lnTo>
                  <a:lnTo>
                    <a:pt x="2755" y="1987"/>
                  </a:lnTo>
                  <a:lnTo>
                    <a:pt x="2685" y="2011"/>
                  </a:lnTo>
                  <a:lnTo>
                    <a:pt x="2638" y="1946"/>
                  </a:lnTo>
                  <a:lnTo>
                    <a:pt x="2668" y="1899"/>
                  </a:lnTo>
                  <a:lnTo>
                    <a:pt x="2621" y="1830"/>
                  </a:lnTo>
                  <a:lnTo>
                    <a:pt x="2715" y="1830"/>
                  </a:lnTo>
                  <a:lnTo>
                    <a:pt x="2685" y="1767"/>
                  </a:lnTo>
                  <a:lnTo>
                    <a:pt x="2621" y="1650"/>
                  </a:lnTo>
                  <a:lnTo>
                    <a:pt x="2551" y="1603"/>
                  </a:lnTo>
                  <a:lnTo>
                    <a:pt x="2551" y="1563"/>
                  </a:lnTo>
                  <a:lnTo>
                    <a:pt x="2668" y="1446"/>
                  </a:lnTo>
                  <a:lnTo>
                    <a:pt x="2598" y="1401"/>
                  </a:lnTo>
                  <a:lnTo>
                    <a:pt x="2575" y="1383"/>
                  </a:lnTo>
                  <a:lnTo>
                    <a:pt x="2528" y="1446"/>
                  </a:lnTo>
                  <a:lnTo>
                    <a:pt x="2464" y="1401"/>
                  </a:lnTo>
                  <a:lnTo>
                    <a:pt x="2418" y="1359"/>
                  </a:lnTo>
                  <a:lnTo>
                    <a:pt x="2418" y="1289"/>
                  </a:lnTo>
                  <a:lnTo>
                    <a:pt x="2528" y="1226"/>
                  </a:lnTo>
                  <a:lnTo>
                    <a:pt x="2598" y="1132"/>
                  </a:lnTo>
                  <a:lnTo>
                    <a:pt x="2621" y="1156"/>
                  </a:lnTo>
                  <a:lnTo>
                    <a:pt x="2621" y="1226"/>
                  </a:lnTo>
                  <a:lnTo>
                    <a:pt x="2621" y="1266"/>
                  </a:lnTo>
                  <a:lnTo>
                    <a:pt x="2715" y="1226"/>
                  </a:lnTo>
                  <a:lnTo>
                    <a:pt x="2778" y="1202"/>
                  </a:lnTo>
                  <a:lnTo>
                    <a:pt x="2848" y="1110"/>
                  </a:lnTo>
                  <a:lnTo>
                    <a:pt x="2889" y="1063"/>
                  </a:lnTo>
                  <a:lnTo>
                    <a:pt x="2959" y="1017"/>
                  </a:lnTo>
                  <a:lnTo>
                    <a:pt x="2982" y="953"/>
                  </a:lnTo>
                  <a:lnTo>
                    <a:pt x="3045" y="883"/>
                  </a:lnTo>
                  <a:lnTo>
                    <a:pt x="3045" y="836"/>
                  </a:lnTo>
                  <a:lnTo>
                    <a:pt x="3069" y="796"/>
                  </a:lnTo>
                  <a:lnTo>
                    <a:pt x="3092" y="703"/>
                  </a:lnTo>
                  <a:lnTo>
                    <a:pt x="3161" y="726"/>
                  </a:lnTo>
                  <a:lnTo>
                    <a:pt x="3231" y="546"/>
                  </a:lnTo>
                  <a:lnTo>
                    <a:pt x="3184" y="436"/>
                  </a:lnTo>
                  <a:lnTo>
                    <a:pt x="3080" y="494"/>
                  </a:lnTo>
                  <a:lnTo>
                    <a:pt x="2959" y="454"/>
                  </a:lnTo>
                  <a:lnTo>
                    <a:pt x="2959" y="407"/>
                  </a:lnTo>
                  <a:lnTo>
                    <a:pt x="2889" y="360"/>
                  </a:lnTo>
                  <a:lnTo>
                    <a:pt x="2778" y="360"/>
                  </a:lnTo>
                  <a:lnTo>
                    <a:pt x="2638" y="203"/>
                  </a:lnTo>
                  <a:lnTo>
                    <a:pt x="2621" y="70"/>
                  </a:lnTo>
                  <a:lnTo>
                    <a:pt x="2528" y="0"/>
                  </a:lnTo>
                  <a:lnTo>
                    <a:pt x="2279" y="93"/>
                  </a:lnTo>
                  <a:lnTo>
                    <a:pt x="2348" y="116"/>
                  </a:lnTo>
                  <a:lnTo>
                    <a:pt x="2324" y="163"/>
                  </a:lnTo>
                  <a:lnTo>
                    <a:pt x="2324" y="320"/>
                  </a:lnTo>
                  <a:lnTo>
                    <a:pt x="2214" y="389"/>
                  </a:lnTo>
                  <a:lnTo>
                    <a:pt x="2167" y="436"/>
                  </a:lnTo>
                  <a:lnTo>
                    <a:pt x="2167" y="546"/>
                  </a:lnTo>
                  <a:lnTo>
                    <a:pt x="2279" y="546"/>
                  </a:lnTo>
                  <a:lnTo>
                    <a:pt x="2324" y="523"/>
                  </a:lnTo>
                  <a:lnTo>
                    <a:pt x="2371" y="593"/>
                  </a:lnTo>
                  <a:lnTo>
                    <a:pt x="2371" y="639"/>
                  </a:lnTo>
                  <a:lnTo>
                    <a:pt x="2371" y="680"/>
                  </a:lnTo>
                  <a:lnTo>
                    <a:pt x="2301" y="680"/>
                  </a:lnTo>
                  <a:lnTo>
                    <a:pt x="2167" y="813"/>
                  </a:lnTo>
                  <a:lnTo>
                    <a:pt x="2010" y="860"/>
                  </a:lnTo>
                  <a:lnTo>
                    <a:pt x="2010" y="953"/>
                  </a:lnTo>
                  <a:lnTo>
                    <a:pt x="1900" y="1045"/>
                  </a:lnTo>
                  <a:lnTo>
                    <a:pt x="1674" y="1110"/>
                  </a:lnTo>
                  <a:lnTo>
                    <a:pt x="1627" y="1132"/>
                  </a:lnTo>
                  <a:lnTo>
                    <a:pt x="1424" y="1063"/>
                  </a:lnTo>
                  <a:lnTo>
                    <a:pt x="1377" y="1045"/>
                  </a:lnTo>
                  <a:lnTo>
                    <a:pt x="1220" y="1045"/>
                  </a:lnTo>
                  <a:lnTo>
                    <a:pt x="1063" y="906"/>
                  </a:lnTo>
                  <a:lnTo>
                    <a:pt x="948" y="906"/>
                  </a:lnTo>
                  <a:lnTo>
                    <a:pt x="836" y="860"/>
                  </a:lnTo>
                  <a:lnTo>
                    <a:pt x="836" y="726"/>
                  </a:lnTo>
                  <a:lnTo>
                    <a:pt x="791" y="656"/>
                  </a:lnTo>
                  <a:lnTo>
                    <a:pt x="680" y="639"/>
                  </a:lnTo>
                  <a:lnTo>
                    <a:pt x="634" y="593"/>
                  </a:lnTo>
                  <a:lnTo>
                    <a:pt x="587" y="680"/>
                  </a:lnTo>
                  <a:lnTo>
                    <a:pt x="447" y="726"/>
                  </a:lnTo>
                  <a:lnTo>
                    <a:pt x="383" y="813"/>
                  </a:lnTo>
                  <a:lnTo>
                    <a:pt x="430" y="883"/>
                  </a:lnTo>
                  <a:lnTo>
                    <a:pt x="290" y="906"/>
                  </a:lnTo>
                  <a:lnTo>
                    <a:pt x="360" y="1000"/>
                  </a:lnTo>
                  <a:lnTo>
                    <a:pt x="360" y="1063"/>
                  </a:lnTo>
                  <a:lnTo>
                    <a:pt x="273" y="1156"/>
                  </a:lnTo>
                  <a:lnTo>
                    <a:pt x="203" y="1226"/>
                  </a:lnTo>
                  <a:lnTo>
                    <a:pt x="116" y="1226"/>
                  </a:lnTo>
                  <a:lnTo>
                    <a:pt x="0" y="1313"/>
                  </a:lnTo>
                  <a:lnTo>
                    <a:pt x="81" y="145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2" name="Freeform 854"/>
            <p:cNvSpPr>
              <a:spLocks/>
            </p:cNvSpPr>
            <p:nvPr/>
          </p:nvSpPr>
          <p:spPr bwMode="auto">
            <a:xfrm>
              <a:off x="8627246" y="2636579"/>
              <a:ext cx="948953" cy="384645"/>
            </a:xfrm>
            <a:custGeom>
              <a:avLst/>
              <a:gdLst>
                <a:gd name="T0" fmla="*/ 0 w 1744"/>
                <a:gd name="T1" fmla="*/ 2147483647 h 835"/>
                <a:gd name="T2" fmla="*/ 2147483647 w 1744"/>
                <a:gd name="T3" fmla="*/ 2147483647 h 835"/>
                <a:gd name="T4" fmla="*/ 2147483647 w 1744"/>
                <a:gd name="T5" fmla="*/ 2147483647 h 835"/>
                <a:gd name="T6" fmla="*/ 2147483647 w 1744"/>
                <a:gd name="T7" fmla="*/ 2147483647 h 835"/>
                <a:gd name="T8" fmla="*/ 2147483647 w 1744"/>
                <a:gd name="T9" fmla="*/ 2147483647 h 835"/>
                <a:gd name="T10" fmla="*/ 2147483647 w 1744"/>
                <a:gd name="T11" fmla="*/ 2147483647 h 835"/>
                <a:gd name="T12" fmla="*/ 2147483647 w 1744"/>
                <a:gd name="T13" fmla="*/ 0 h 835"/>
                <a:gd name="T14" fmla="*/ 2147483647 w 1744"/>
                <a:gd name="T15" fmla="*/ 0 h 835"/>
                <a:gd name="T16" fmla="*/ 2147483647 w 1744"/>
                <a:gd name="T17" fmla="*/ 2147483647 h 835"/>
                <a:gd name="T18" fmla="*/ 2147483647 w 1744"/>
                <a:gd name="T19" fmla="*/ 2147483647 h 835"/>
                <a:gd name="T20" fmla="*/ 2147483647 w 1744"/>
                <a:gd name="T21" fmla="*/ 2147483647 h 835"/>
                <a:gd name="T22" fmla="*/ 2147483647 w 1744"/>
                <a:gd name="T23" fmla="*/ 2147483647 h 835"/>
                <a:gd name="T24" fmla="*/ 2147483647 w 1744"/>
                <a:gd name="T25" fmla="*/ 2147483647 h 835"/>
                <a:gd name="T26" fmla="*/ 2147483647 w 1744"/>
                <a:gd name="T27" fmla="*/ 2147483647 h 835"/>
                <a:gd name="T28" fmla="*/ 2147483647 w 1744"/>
                <a:gd name="T29" fmla="*/ 2147483647 h 835"/>
                <a:gd name="T30" fmla="*/ 2147483647 w 1744"/>
                <a:gd name="T31" fmla="*/ 2147483647 h 835"/>
                <a:gd name="T32" fmla="*/ 2147483647 w 1744"/>
                <a:gd name="T33" fmla="*/ 2147483647 h 835"/>
                <a:gd name="T34" fmla="*/ 2147483647 w 1744"/>
                <a:gd name="T35" fmla="*/ 2147483647 h 835"/>
                <a:gd name="T36" fmla="*/ 2147483647 w 1744"/>
                <a:gd name="T37" fmla="*/ 2147483647 h 835"/>
                <a:gd name="T38" fmla="*/ 2147483647 w 1744"/>
                <a:gd name="T39" fmla="*/ 2147483647 h 835"/>
                <a:gd name="T40" fmla="*/ 2147483647 w 1744"/>
                <a:gd name="T41" fmla="*/ 2147483647 h 835"/>
                <a:gd name="T42" fmla="*/ 2147483647 w 1744"/>
                <a:gd name="T43" fmla="*/ 2147483647 h 835"/>
                <a:gd name="T44" fmla="*/ 2147483647 w 1744"/>
                <a:gd name="T45" fmla="*/ 2147483647 h 835"/>
                <a:gd name="T46" fmla="*/ 2147483647 w 1744"/>
                <a:gd name="T47" fmla="*/ 2147483647 h 835"/>
                <a:gd name="T48" fmla="*/ 2147483647 w 1744"/>
                <a:gd name="T49" fmla="*/ 2147483647 h 835"/>
                <a:gd name="T50" fmla="*/ 2147483647 w 1744"/>
                <a:gd name="T51" fmla="*/ 2147483647 h 835"/>
                <a:gd name="T52" fmla="*/ 2147483647 w 1744"/>
                <a:gd name="T53" fmla="*/ 2147483647 h 835"/>
                <a:gd name="T54" fmla="*/ 2147483647 w 1744"/>
                <a:gd name="T55" fmla="*/ 2147483647 h 835"/>
                <a:gd name="T56" fmla="*/ 2147483647 w 1744"/>
                <a:gd name="T57" fmla="*/ 2147483647 h 835"/>
                <a:gd name="T58" fmla="*/ 2147483647 w 1744"/>
                <a:gd name="T59" fmla="*/ 2147483647 h 835"/>
                <a:gd name="T60" fmla="*/ 2147483647 w 1744"/>
                <a:gd name="T61" fmla="*/ 2147483647 h 835"/>
                <a:gd name="T62" fmla="*/ 2147483647 w 1744"/>
                <a:gd name="T63" fmla="*/ 2147483647 h 835"/>
                <a:gd name="T64" fmla="*/ 2147483647 w 1744"/>
                <a:gd name="T65" fmla="*/ 2147483647 h 835"/>
                <a:gd name="T66" fmla="*/ 2147483647 w 1744"/>
                <a:gd name="T67" fmla="*/ 2147483647 h 835"/>
                <a:gd name="T68" fmla="*/ 2147483647 w 1744"/>
                <a:gd name="T69" fmla="*/ 2147483647 h 835"/>
                <a:gd name="T70" fmla="*/ 2147483647 w 1744"/>
                <a:gd name="T71" fmla="*/ 2147483647 h 835"/>
                <a:gd name="T72" fmla="*/ 2147483647 w 1744"/>
                <a:gd name="T73" fmla="*/ 2147483647 h 835"/>
                <a:gd name="T74" fmla="*/ 0 w 1744"/>
                <a:gd name="T75" fmla="*/ 2147483647 h 835"/>
                <a:gd name="T76" fmla="*/ 0 w 1744"/>
                <a:gd name="T77" fmla="*/ 2147483647 h 83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44"/>
                <a:gd name="T118" fmla="*/ 0 h 835"/>
                <a:gd name="T119" fmla="*/ 1744 w 1744"/>
                <a:gd name="T120" fmla="*/ 835 h 83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44" h="835">
                  <a:moveTo>
                    <a:pt x="0" y="267"/>
                  </a:moveTo>
                  <a:lnTo>
                    <a:pt x="99" y="202"/>
                  </a:lnTo>
                  <a:lnTo>
                    <a:pt x="268" y="98"/>
                  </a:lnTo>
                  <a:lnTo>
                    <a:pt x="326" y="92"/>
                  </a:lnTo>
                  <a:lnTo>
                    <a:pt x="454" y="174"/>
                  </a:lnTo>
                  <a:lnTo>
                    <a:pt x="530" y="157"/>
                  </a:lnTo>
                  <a:lnTo>
                    <a:pt x="617" y="0"/>
                  </a:lnTo>
                  <a:lnTo>
                    <a:pt x="710" y="0"/>
                  </a:lnTo>
                  <a:lnTo>
                    <a:pt x="797" y="139"/>
                  </a:lnTo>
                  <a:lnTo>
                    <a:pt x="867" y="139"/>
                  </a:lnTo>
                  <a:lnTo>
                    <a:pt x="994" y="75"/>
                  </a:lnTo>
                  <a:lnTo>
                    <a:pt x="1111" y="157"/>
                  </a:lnTo>
                  <a:lnTo>
                    <a:pt x="1338" y="139"/>
                  </a:lnTo>
                  <a:lnTo>
                    <a:pt x="1407" y="46"/>
                  </a:lnTo>
                  <a:lnTo>
                    <a:pt x="1488" y="87"/>
                  </a:lnTo>
                  <a:lnTo>
                    <a:pt x="1582" y="92"/>
                  </a:lnTo>
                  <a:lnTo>
                    <a:pt x="1540" y="127"/>
                  </a:lnTo>
                  <a:lnTo>
                    <a:pt x="1540" y="249"/>
                  </a:lnTo>
                  <a:lnTo>
                    <a:pt x="1652" y="244"/>
                  </a:lnTo>
                  <a:lnTo>
                    <a:pt x="1704" y="232"/>
                  </a:lnTo>
                  <a:lnTo>
                    <a:pt x="1744" y="302"/>
                  </a:lnTo>
                  <a:lnTo>
                    <a:pt x="1744" y="383"/>
                  </a:lnTo>
                  <a:lnTo>
                    <a:pt x="1674" y="383"/>
                  </a:lnTo>
                  <a:lnTo>
                    <a:pt x="1535" y="528"/>
                  </a:lnTo>
                  <a:lnTo>
                    <a:pt x="1383" y="557"/>
                  </a:lnTo>
                  <a:lnTo>
                    <a:pt x="1383" y="650"/>
                  </a:lnTo>
                  <a:lnTo>
                    <a:pt x="1268" y="743"/>
                  </a:lnTo>
                  <a:lnTo>
                    <a:pt x="1000" y="835"/>
                  </a:lnTo>
                  <a:lnTo>
                    <a:pt x="785" y="766"/>
                  </a:lnTo>
                  <a:lnTo>
                    <a:pt x="750" y="748"/>
                  </a:lnTo>
                  <a:lnTo>
                    <a:pt x="593" y="748"/>
                  </a:lnTo>
                  <a:lnTo>
                    <a:pt x="436" y="609"/>
                  </a:lnTo>
                  <a:lnTo>
                    <a:pt x="303" y="609"/>
                  </a:lnTo>
                  <a:lnTo>
                    <a:pt x="209" y="563"/>
                  </a:lnTo>
                  <a:lnTo>
                    <a:pt x="209" y="429"/>
                  </a:lnTo>
                  <a:lnTo>
                    <a:pt x="140" y="359"/>
                  </a:lnTo>
                  <a:lnTo>
                    <a:pt x="59" y="342"/>
                  </a:lnTo>
                  <a:lnTo>
                    <a:pt x="0" y="307"/>
                  </a:lnTo>
                  <a:lnTo>
                    <a:pt x="0" y="26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3" name="Freeform 855"/>
            <p:cNvSpPr>
              <a:spLocks/>
            </p:cNvSpPr>
            <p:nvPr/>
          </p:nvSpPr>
          <p:spPr bwMode="auto">
            <a:xfrm>
              <a:off x="9805945" y="2866367"/>
              <a:ext cx="179800" cy="264758"/>
            </a:xfrm>
            <a:custGeom>
              <a:avLst/>
              <a:gdLst>
                <a:gd name="T0" fmla="*/ 2147483647 w 337"/>
                <a:gd name="T1" fmla="*/ 0 h 563"/>
                <a:gd name="T2" fmla="*/ 2147483647 w 337"/>
                <a:gd name="T3" fmla="*/ 2147483647 h 563"/>
                <a:gd name="T4" fmla="*/ 2147483647 w 337"/>
                <a:gd name="T5" fmla="*/ 2147483647 h 563"/>
                <a:gd name="T6" fmla="*/ 2147483647 w 337"/>
                <a:gd name="T7" fmla="*/ 2147483647 h 563"/>
                <a:gd name="T8" fmla="*/ 2147483647 w 337"/>
                <a:gd name="T9" fmla="*/ 2147483647 h 563"/>
                <a:gd name="T10" fmla="*/ 2147483647 w 337"/>
                <a:gd name="T11" fmla="*/ 2147483647 h 563"/>
                <a:gd name="T12" fmla="*/ 2147483647 w 337"/>
                <a:gd name="T13" fmla="*/ 2147483647 h 563"/>
                <a:gd name="T14" fmla="*/ 2147483647 w 337"/>
                <a:gd name="T15" fmla="*/ 2147483647 h 563"/>
                <a:gd name="T16" fmla="*/ 2147483647 w 337"/>
                <a:gd name="T17" fmla="*/ 2147483647 h 563"/>
                <a:gd name="T18" fmla="*/ 2147483647 w 337"/>
                <a:gd name="T19" fmla="*/ 2147483647 h 563"/>
                <a:gd name="T20" fmla="*/ 2147483647 w 337"/>
                <a:gd name="T21" fmla="*/ 2147483647 h 563"/>
                <a:gd name="T22" fmla="*/ 2147483647 w 337"/>
                <a:gd name="T23" fmla="*/ 2147483647 h 563"/>
                <a:gd name="T24" fmla="*/ 2147483647 w 337"/>
                <a:gd name="T25" fmla="*/ 2147483647 h 563"/>
                <a:gd name="T26" fmla="*/ 0 w 337"/>
                <a:gd name="T27" fmla="*/ 2147483647 h 563"/>
                <a:gd name="T28" fmla="*/ 2147483647 w 337"/>
                <a:gd name="T29" fmla="*/ 2147483647 h 563"/>
                <a:gd name="T30" fmla="*/ 2147483647 w 337"/>
                <a:gd name="T31" fmla="*/ 2147483647 h 563"/>
                <a:gd name="T32" fmla="*/ 2147483647 w 337"/>
                <a:gd name="T33" fmla="*/ 2147483647 h 563"/>
                <a:gd name="T34" fmla="*/ 2147483647 w 337"/>
                <a:gd name="T35" fmla="*/ 2147483647 h 563"/>
                <a:gd name="T36" fmla="*/ 2147483647 w 337"/>
                <a:gd name="T37" fmla="*/ 2147483647 h 563"/>
                <a:gd name="T38" fmla="*/ 2147483647 w 337"/>
                <a:gd name="T39" fmla="*/ 0 h 5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37"/>
                <a:gd name="T61" fmla="*/ 0 h 563"/>
                <a:gd name="T62" fmla="*/ 337 w 337"/>
                <a:gd name="T63" fmla="*/ 563 h 5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37" h="563">
                  <a:moveTo>
                    <a:pt x="267" y="0"/>
                  </a:moveTo>
                  <a:lnTo>
                    <a:pt x="337" y="64"/>
                  </a:lnTo>
                  <a:lnTo>
                    <a:pt x="290" y="134"/>
                  </a:lnTo>
                  <a:lnTo>
                    <a:pt x="267" y="221"/>
                  </a:lnTo>
                  <a:lnTo>
                    <a:pt x="267" y="291"/>
                  </a:lnTo>
                  <a:lnTo>
                    <a:pt x="180" y="383"/>
                  </a:lnTo>
                  <a:lnTo>
                    <a:pt x="157" y="448"/>
                  </a:lnTo>
                  <a:lnTo>
                    <a:pt x="225" y="517"/>
                  </a:lnTo>
                  <a:lnTo>
                    <a:pt x="203" y="540"/>
                  </a:lnTo>
                  <a:lnTo>
                    <a:pt x="133" y="563"/>
                  </a:lnTo>
                  <a:lnTo>
                    <a:pt x="70" y="563"/>
                  </a:lnTo>
                  <a:lnTo>
                    <a:pt x="70" y="470"/>
                  </a:lnTo>
                  <a:lnTo>
                    <a:pt x="46" y="430"/>
                  </a:lnTo>
                  <a:lnTo>
                    <a:pt x="0" y="383"/>
                  </a:lnTo>
                  <a:lnTo>
                    <a:pt x="80" y="273"/>
                  </a:lnTo>
                  <a:lnTo>
                    <a:pt x="133" y="249"/>
                  </a:lnTo>
                  <a:lnTo>
                    <a:pt x="180" y="157"/>
                  </a:lnTo>
                  <a:lnTo>
                    <a:pt x="243" y="87"/>
                  </a:lnTo>
                  <a:lnTo>
                    <a:pt x="243" y="17"/>
                  </a:lnTo>
                  <a:lnTo>
                    <a:pt x="26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4" name="Freeform 856"/>
            <p:cNvSpPr>
              <a:spLocks/>
            </p:cNvSpPr>
            <p:nvPr/>
          </p:nvSpPr>
          <p:spPr bwMode="auto">
            <a:xfrm>
              <a:off x="9865879" y="3106146"/>
              <a:ext cx="109877" cy="124886"/>
            </a:xfrm>
            <a:custGeom>
              <a:avLst/>
              <a:gdLst>
                <a:gd name="T0" fmla="*/ 0 w 203"/>
                <a:gd name="T1" fmla="*/ 2147483647 h 267"/>
                <a:gd name="T2" fmla="*/ 2147483647 w 203"/>
                <a:gd name="T3" fmla="*/ 2147483647 h 267"/>
                <a:gd name="T4" fmla="*/ 2147483647 w 203"/>
                <a:gd name="T5" fmla="*/ 2147483647 h 267"/>
                <a:gd name="T6" fmla="*/ 2147483647 w 203"/>
                <a:gd name="T7" fmla="*/ 2147483647 h 267"/>
                <a:gd name="T8" fmla="*/ 2147483647 w 203"/>
                <a:gd name="T9" fmla="*/ 2147483647 h 267"/>
                <a:gd name="T10" fmla="*/ 2147483647 w 203"/>
                <a:gd name="T11" fmla="*/ 2147483647 h 267"/>
                <a:gd name="T12" fmla="*/ 2147483647 w 203"/>
                <a:gd name="T13" fmla="*/ 2147483647 h 267"/>
                <a:gd name="T14" fmla="*/ 2147483647 w 203"/>
                <a:gd name="T15" fmla="*/ 2147483647 h 267"/>
                <a:gd name="T16" fmla="*/ 2147483647 w 203"/>
                <a:gd name="T17" fmla="*/ 0 h 267"/>
                <a:gd name="T18" fmla="*/ 2147483647 w 203"/>
                <a:gd name="T19" fmla="*/ 2147483647 h 267"/>
                <a:gd name="T20" fmla="*/ 0 w 203"/>
                <a:gd name="T21" fmla="*/ 2147483647 h 2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3"/>
                <a:gd name="T34" fmla="*/ 0 h 267"/>
                <a:gd name="T35" fmla="*/ 203 w 203"/>
                <a:gd name="T36" fmla="*/ 267 h 26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3" h="267">
                  <a:moveTo>
                    <a:pt x="0" y="46"/>
                  </a:moveTo>
                  <a:lnTo>
                    <a:pt x="47" y="88"/>
                  </a:lnTo>
                  <a:lnTo>
                    <a:pt x="70" y="180"/>
                  </a:lnTo>
                  <a:lnTo>
                    <a:pt x="70" y="267"/>
                  </a:lnTo>
                  <a:lnTo>
                    <a:pt x="115" y="267"/>
                  </a:lnTo>
                  <a:lnTo>
                    <a:pt x="203" y="250"/>
                  </a:lnTo>
                  <a:lnTo>
                    <a:pt x="203" y="180"/>
                  </a:lnTo>
                  <a:lnTo>
                    <a:pt x="157" y="88"/>
                  </a:lnTo>
                  <a:lnTo>
                    <a:pt x="115" y="0"/>
                  </a:lnTo>
                  <a:lnTo>
                    <a:pt x="70" y="23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5" name="Freeform 857"/>
            <p:cNvSpPr>
              <a:spLocks/>
            </p:cNvSpPr>
            <p:nvPr/>
          </p:nvSpPr>
          <p:spPr bwMode="auto">
            <a:xfrm>
              <a:off x="10145569" y="2406791"/>
              <a:ext cx="149834" cy="364663"/>
            </a:xfrm>
            <a:custGeom>
              <a:avLst/>
              <a:gdLst>
                <a:gd name="T0" fmla="*/ 0 w 273"/>
                <a:gd name="T1" fmla="*/ 0 h 791"/>
                <a:gd name="T2" fmla="*/ 2147483647 w 273"/>
                <a:gd name="T3" fmla="*/ 2147483647 h 791"/>
                <a:gd name="T4" fmla="*/ 2147483647 w 273"/>
                <a:gd name="T5" fmla="*/ 2147483647 h 791"/>
                <a:gd name="T6" fmla="*/ 2147483647 w 273"/>
                <a:gd name="T7" fmla="*/ 2147483647 h 791"/>
                <a:gd name="T8" fmla="*/ 2147483647 w 273"/>
                <a:gd name="T9" fmla="*/ 2147483647 h 791"/>
                <a:gd name="T10" fmla="*/ 2147483647 w 273"/>
                <a:gd name="T11" fmla="*/ 2147483647 h 791"/>
                <a:gd name="T12" fmla="*/ 2147483647 w 273"/>
                <a:gd name="T13" fmla="*/ 2147483647 h 791"/>
                <a:gd name="T14" fmla="*/ 2147483647 w 273"/>
                <a:gd name="T15" fmla="*/ 2147483647 h 791"/>
                <a:gd name="T16" fmla="*/ 2147483647 w 273"/>
                <a:gd name="T17" fmla="*/ 2147483647 h 791"/>
                <a:gd name="T18" fmla="*/ 2147483647 w 273"/>
                <a:gd name="T19" fmla="*/ 2147483647 h 791"/>
                <a:gd name="T20" fmla="*/ 2147483647 w 273"/>
                <a:gd name="T21" fmla="*/ 2147483647 h 791"/>
                <a:gd name="T22" fmla="*/ 2147483647 w 273"/>
                <a:gd name="T23" fmla="*/ 2147483647 h 791"/>
                <a:gd name="T24" fmla="*/ 2147483647 w 273"/>
                <a:gd name="T25" fmla="*/ 2147483647 h 791"/>
                <a:gd name="T26" fmla="*/ 2147483647 w 273"/>
                <a:gd name="T27" fmla="*/ 2147483647 h 791"/>
                <a:gd name="T28" fmla="*/ 2147483647 w 273"/>
                <a:gd name="T29" fmla="*/ 2147483647 h 791"/>
                <a:gd name="T30" fmla="*/ 2147483647 w 273"/>
                <a:gd name="T31" fmla="*/ 2147483647 h 791"/>
                <a:gd name="T32" fmla="*/ 2147483647 w 273"/>
                <a:gd name="T33" fmla="*/ 0 h 791"/>
                <a:gd name="T34" fmla="*/ 0 w 273"/>
                <a:gd name="T35" fmla="*/ 0 h 79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3"/>
                <a:gd name="T55" fmla="*/ 0 h 791"/>
                <a:gd name="T56" fmla="*/ 273 w 273"/>
                <a:gd name="T57" fmla="*/ 791 h 79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3" h="791">
                  <a:moveTo>
                    <a:pt x="0" y="0"/>
                  </a:moveTo>
                  <a:lnTo>
                    <a:pt x="46" y="87"/>
                  </a:lnTo>
                  <a:lnTo>
                    <a:pt x="69" y="251"/>
                  </a:lnTo>
                  <a:lnTo>
                    <a:pt x="116" y="587"/>
                  </a:lnTo>
                  <a:lnTo>
                    <a:pt x="139" y="767"/>
                  </a:lnTo>
                  <a:lnTo>
                    <a:pt x="139" y="791"/>
                  </a:lnTo>
                  <a:lnTo>
                    <a:pt x="203" y="744"/>
                  </a:lnTo>
                  <a:lnTo>
                    <a:pt x="250" y="791"/>
                  </a:lnTo>
                  <a:lnTo>
                    <a:pt x="273" y="744"/>
                  </a:lnTo>
                  <a:lnTo>
                    <a:pt x="203" y="697"/>
                  </a:lnTo>
                  <a:lnTo>
                    <a:pt x="163" y="495"/>
                  </a:lnTo>
                  <a:lnTo>
                    <a:pt x="203" y="495"/>
                  </a:lnTo>
                  <a:lnTo>
                    <a:pt x="203" y="425"/>
                  </a:lnTo>
                  <a:lnTo>
                    <a:pt x="116" y="314"/>
                  </a:lnTo>
                  <a:lnTo>
                    <a:pt x="116" y="157"/>
                  </a:lnTo>
                  <a:lnTo>
                    <a:pt x="69" y="24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6" name="Freeform 858"/>
            <p:cNvSpPr>
              <a:spLocks/>
            </p:cNvSpPr>
            <p:nvPr/>
          </p:nvSpPr>
          <p:spPr bwMode="auto">
            <a:xfrm>
              <a:off x="10245460" y="2791436"/>
              <a:ext cx="154828" cy="154857"/>
            </a:xfrm>
            <a:custGeom>
              <a:avLst/>
              <a:gdLst>
                <a:gd name="T0" fmla="*/ 0 w 291"/>
                <a:gd name="T1" fmla="*/ 0 h 331"/>
                <a:gd name="T2" fmla="*/ 2147483647 w 291"/>
                <a:gd name="T3" fmla="*/ 2147483647 h 331"/>
                <a:gd name="T4" fmla="*/ 0 w 291"/>
                <a:gd name="T5" fmla="*/ 2147483647 h 331"/>
                <a:gd name="T6" fmla="*/ 2147483647 w 291"/>
                <a:gd name="T7" fmla="*/ 2147483647 h 331"/>
                <a:gd name="T8" fmla="*/ 2147483647 w 291"/>
                <a:gd name="T9" fmla="*/ 2147483647 h 331"/>
                <a:gd name="T10" fmla="*/ 2147483647 w 291"/>
                <a:gd name="T11" fmla="*/ 2147483647 h 331"/>
                <a:gd name="T12" fmla="*/ 2147483647 w 291"/>
                <a:gd name="T13" fmla="*/ 2147483647 h 331"/>
                <a:gd name="T14" fmla="*/ 2147483647 w 291"/>
                <a:gd name="T15" fmla="*/ 2147483647 h 331"/>
                <a:gd name="T16" fmla="*/ 2147483647 w 291"/>
                <a:gd name="T17" fmla="*/ 2147483647 h 331"/>
                <a:gd name="T18" fmla="*/ 2147483647 w 291"/>
                <a:gd name="T19" fmla="*/ 2147483647 h 331"/>
                <a:gd name="T20" fmla="*/ 2147483647 w 291"/>
                <a:gd name="T21" fmla="*/ 2147483647 h 331"/>
                <a:gd name="T22" fmla="*/ 0 w 291"/>
                <a:gd name="T23" fmla="*/ 0 h 3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1"/>
                <a:gd name="T37" fmla="*/ 0 h 331"/>
                <a:gd name="T38" fmla="*/ 291 w 291"/>
                <a:gd name="T39" fmla="*/ 331 h 3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1" h="331">
                  <a:moveTo>
                    <a:pt x="0" y="0"/>
                  </a:moveTo>
                  <a:lnTo>
                    <a:pt x="17" y="134"/>
                  </a:lnTo>
                  <a:lnTo>
                    <a:pt x="0" y="314"/>
                  </a:lnTo>
                  <a:lnTo>
                    <a:pt x="87" y="291"/>
                  </a:lnTo>
                  <a:lnTo>
                    <a:pt x="151" y="331"/>
                  </a:lnTo>
                  <a:lnTo>
                    <a:pt x="180" y="314"/>
                  </a:lnTo>
                  <a:lnTo>
                    <a:pt x="180" y="267"/>
                  </a:lnTo>
                  <a:lnTo>
                    <a:pt x="291" y="174"/>
                  </a:lnTo>
                  <a:lnTo>
                    <a:pt x="244" y="134"/>
                  </a:lnTo>
                  <a:lnTo>
                    <a:pt x="151" y="111"/>
                  </a:lnTo>
                  <a:lnTo>
                    <a:pt x="4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7" name="Freeform 859"/>
            <p:cNvSpPr>
              <a:spLocks/>
            </p:cNvSpPr>
            <p:nvPr/>
          </p:nvSpPr>
          <p:spPr bwMode="auto">
            <a:xfrm>
              <a:off x="10040685" y="2971272"/>
              <a:ext cx="279691" cy="289732"/>
            </a:xfrm>
            <a:custGeom>
              <a:avLst/>
              <a:gdLst>
                <a:gd name="T0" fmla="*/ 2147483647 w 518"/>
                <a:gd name="T1" fmla="*/ 0 h 633"/>
                <a:gd name="T2" fmla="*/ 2147483647 w 518"/>
                <a:gd name="T3" fmla="*/ 2147483647 h 633"/>
                <a:gd name="T4" fmla="*/ 2147483647 w 518"/>
                <a:gd name="T5" fmla="*/ 2147483647 h 633"/>
                <a:gd name="T6" fmla="*/ 2147483647 w 518"/>
                <a:gd name="T7" fmla="*/ 2147483647 h 633"/>
                <a:gd name="T8" fmla="*/ 2147483647 w 518"/>
                <a:gd name="T9" fmla="*/ 2147483647 h 633"/>
                <a:gd name="T10" fmla="*/ 2147483647 w 518"/>
                <a:gd name="T11" fmla="*/ 2147483647 h 633"/>
                <a:gd name="T12" fmla="*/ 0 w 518"/>
                <a:gd name="T13" fmla="*/ 2147483647 h 633"/>
                <a:gd name="T14" fmla="*/ 2147483647 w 518"/>
                <a:gd name="T15" fmla="*/ 2147483647 h 633"/>
                <a:gd name="T16" fmla="*/ 2147483647 w 518"/>
                <a:gd name="T17" fmla="*/ 2147483647 h 633"/>
                <a:gd name="T18" fmla="*/ 2147483647 w 518"/>
                <a:gd name="T19" fmla="*/ 2147483647 h 633"/>
                <a:gd name="T20" fmla="*/ 2147483647 w 518"/>
                <a:gd name="T21" fmla="*/ 2147483647 h 633"/>
                <a:gd name="T22" fmla="*/ 2147483647 w 518"/>
                <a:gd name="T23" fmla="*/ 2147483647 h 633"/>
                <a:gd name="T24" fmla="*/ 2147483647 w 518"/>
                <a:gd name="T25" fmla="*/ 2147483647 h 633"/>
                <a:gd name="T26" fmla="*/ 2147483647 w 518"/>
                <a:gd name="T27" fmla="*/ 2147483647 h 633"/>
                <a:gd name="T28" fmla="*/ 2147483647 w 518"/>
                <a:gd name="T29" fmla="*/ 2147483647 h 633"/>
                <a:gd name="T30" fmla="*/ 2147483647 w 518"/>
                <a:gd name="T31" fmla="*/ 2147483647 h 633"/>
                <a:gd name="T32" fmla="*/ 2147483647 w 518"/>
                <a:gd name="T33" fmla="*/ 2147483647 h 633"/>
                <a:gd name="T34" fmla="*/ 2147483647 w 518"/>
                <a:gd name="T35" fmla="*/ 2147483647 h 633"/>
                <a:gd name="T36" fmla="*/ 2147483647 w 518"/>
                <a:gd name="T37" fmla="*/ 2147483647 h 633"/>
                <a:gd name="T38" fmla="*/ 2147483647 w 518"/>
                <a:gd name="T39" fmla="*/ 2147483647 h 633"/>
                <a:gd name="T40" fmla="*/ 2147483647 w 518"/>
                <a:gd name="T41" fmla="*/ 2147483647 h 633"/>
                <a:gd name="T42" fmla="*/ 2147483647 w 518"/>
                <a:gd name="T43" fmla="*/ 2147483647 h 633"/>
                <a:gd name="T44" fmla="*/ 2147483647 w 518"/>
                <a:gd name="T45" fmla="*/ 2147483647 h 633"/>
                <a:gd name="T46" fmla="*/ 2147483647 w 518"/>
                <a:gd name="T47" fmla="*/ 2147483647 h 633"/>
                <a:gd name="T48" fmla="*/ 2147483647 w 518"/>
                <a:gd name="T49" fmla="*/ 2147483647 h 633"/>
                <a:gd name="T50" fmla="*/ 2147483647 w 518"/>
                <a:gd name="T51" fmla="*/ 2147483647 h 633"/>
                <a:gd name="T52" fmla="*/ 2147483647 w 518"/>
                <a:gd name="T53" fmla="*/ 0 h 63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18"/>
                <a:gd name="T82" fmla="*/ 0 h 633"/>
                <a:gd name="T83" fmla="*/ 518 w 518"/>
                <a:gd name="T84" fmla="*/ 633 h 63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18" h="633">
                  <a:moveTo>
                    <a:pt x="384" y="0"/>
                  </a:moveTo>
                  <a:lnTo>
                    <a:pt x="361" y="209"/>
                  </a:lnTo>
                  <a:lnTo>
                    <a:pt x="361" y="296"/>
                  </a:lnTo>
                  <a:lnTo>
                    <a:pt x="198" y="429"/>
                  </a:lnTo>
                  <a:lnTo>
                    <a:pt x="198" y="476"/>
                  </a:lnTo>
                  <a:lnTo>
                    <a:pt x="47" y="523"/>
                  </a:lnTo>
                  <a:lnTo>
                    <a:pt x="0" y="586"/>
                  </a:lnTo>
                  <a:lnTo>
                    <a:pt x="65" y="610"/>
                  </a:lnTo>
                  <a:lnTo>
                    <a:pt x="110" y="586"/>
                  </a:lnTo>
                  <a:lnTo>
                    <a:pt x="157" y="586"/>
                  </a:lnTo>
                  <a:lnTo>
                    <a:pt x="221" y="563"/>
                  </a:lnTo>
                  <a:lnTo>
                    <a:pt x="244" y="633"/>
                  </a:lnTo>
                  <a:lnTo>
                    <a:pt x="314" y="610"/>
                  </a:lnTo>
                  <a:lnTo>
                    <a:pt x="314" y="546"/>
                  </a:lnTo>
                  <a:lnTo>
                    <a:pt x="337" y="546"/>
                  </a:lnTo>
                  <a:lnTo>
                    <a:pt x="361" y="523"/>
                  </a:lnTo>
                  <a:lnTo>
                    <a:pt x="448" y="523"/>
                  </a:lnTo>
                  <a:lnTo>
                    <a:pt x="448" y="476"/>
                  </a:lnTo>
                  <a:lnTo>
                    <a:pt x="518" y="499"/>
                  </a:lnTo>
                  <a:lnTo>
                    <a:pt x="494" y="366"/>
                  </a:lnTo>
                  <a:lnTo>
                    <a:pt x="471" y="296"/>
                  </a:lnTo>
                  <a:lnTo>
                    <a:pt x="494" y="227"/>
                  </a:lnTo>
                  <a:lnTo>
                    <a:pt x="494" y="185"/>
                  </a:lnTo>
                  <a:lnTo>
                    <a:pt x="518" y="115"/>
                  </a:lnTo>
                  <a:lnTo>
                    <a:pt x="471" y="28"/>
                  </a:lnTo>
                  <a:lnTo>
                    <a:pt x="448" y="28"/>
                  </a:lnTo>
                  <a:lnTo>
                    <a:pt x="38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8" name="Freeform 860"/>
            <p:cNvSpPr>
              <a:spLocks/>
            </p:cNvSpPr>
            <p:nvPr/>
          </p:nvSpPr>
          <p:spPr bwMode="auto">
            <a:xfrm>
              <a:off x="10100618" y="3261004"/>
              <a:ext cx="44951" cy="34967"/>
            </a:xfrm>
            <a:custGeom>
              <a:avLst/>
              <a:gdLst>
                <a:gd name="T0" fmla="*/ 2147483647 w 88"/>
                <a:gd name="T1" fmla="*/ 0 h 70"/>
                <a:gd name="T2" fmla="*/ 0 w 88"/>
                <a:gd name="T3" fmla="*/ 2147483647 h 70"/>
                <a:gd name="T4" fmla="*/ 0 w 88"/>
                <a:gd name="T5" fmla="*/ 2147483647 h 70"/>
                <a:gd name="T6" fmla="*/ 2147483647 w 88"/>
                <a:gd name="T7" fmla="*/ 2147483647 h 70"/>
                <a:gd name="T8" fmla="*/ 2147483647 w 88"/>
                <a:gd name="T9" fmla="*/ 2147483647 h 70"/>
                <a:gd name="T10" fmla="*/ 2147483647 w 88"/>
                <a:gd name="T11" fmla="*/ 0 h 7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0"/>
                <a:gd name="T20" fmla="*/ 88 w 88"/>
                <a:gd name="T21" fmla="*/ 70 h 7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0">
                  <a:moveTo>
                    <a:pt x="47" y="0"/>
                  </a:moveTo>
                  <a:lnTo>
                    <a:pt x="0" y="23"/>
                  </a:lnTo>
                  <a:lnTo>
                    <a:pt x="0" y="70"/>
                  </a:lnTo>
                  <a:lnTo>
                    <a:pt x="88" y="70"/>
                  </a:lnTo>
                  <a:lnTo>
                    <a:pt x="88" y="23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59" name="Freeform 861"/>
            <p:cNvSpPr>
              <a:spLocks/>
            </p:cNvSpPr>
            <p:nvPr/>
          </p:nvSpPr>
          <p:spPr bwMode="auto">
            <a:xfrm>
              <a:off x="10025702" y="3275993"/>
              <a:ext cx="44951" cy="89916"/>
            </a:xfrm>
            <a:custGeom>
              <a:avLst/>
              <a:gdLst>
                <a:gd name="T0" fmla="*/ 2147483647 w 88"/>
                <a:gd name="T1" fmla="*/ 2147483647 h 204"/>
                <a:gd name="T2" fmla="*/ 2147483647 w 88"/>
                <a:gd name="T3" fmla="*/ 0 h 204"/>
                <a:gd name="T4" fmla="*/ 0 w 88"/>
                <a:gd name="T5" fmla="*/ 2147483647 h 204"/>
                <a:gd name="T6" fmla="*/ 0 w 88"/>
                <a:gd name="T7" fmla="*/ 2147483647 h 204"/>
                <a:gd name="T8" fmla="*/ 2147483647 w 88"/>
                <a:gd name="T9" fmla="*/ 2147483647 h 204"/>
                <a:gd name="T10" fmla="*/ 2147483647 w 88"/>
                <a:gd name="T11" fmla="*/ 2147483647 h 204"/>
                <a:gd name="T12" fmla="*/ 2147483647 w 88"/>
                <a:gd name="T13" fmla="*/ 2147483647 h 204"/>
                <a:gd name="T14" fmla="*/ 2147483647 w 88"/>
                <a:gd name="T15" fmla="*/ 2147483647 h 2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204"/>
                <a:gd name="T26" fmla="*/ 88 w 88"/>
                <a:gd name="T27" fmla="*/ 204 h 2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204">
                  <a:moveTo>
                    <a:pt x="88" y="47"/>
                  </a:moveTo>
                  <a:lnTo>
                    <a:pt x="41" y="0"/>
                  </a:lnTo>
                  <a:lnTo>
                    <a:pt x="0" y="47"/>
                  </a:lnTo>
                  <a:lnTo>
                    <a:pt x="0" y="157"/>
                  </a:lnTo>
                  <a:lnTo>
                    <a:pt x="41" y="204"/>
                  </a:lnTo>
                  <a:lnTo>
                    <a:pt x="70" y="157"/>
                  </a:lnTo>
                  <a:lnTo>
                    <a:pt x="70" y="94"/>
                  </a:lnTo>
                  <a:lnTo>
                    <a:pt x="88" y="4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0" name="Freeform 862"/>
            <p:cNvSpPr>
              <a:spLocks/>
            </p:cNvSpPr>
            <p:nvPr/>
          </p:nvSpPr>
          <p:spPr bwMode="auto">
            <a:xfrm>
              <a:off x="9401392" y="3740564"/>
              <a:ext cx="74918" cy="44960"/>
            </a:xfrm>
            <a:custGeom>
              <a:avLst/>
              <a:gdLst>
                <a:gd name="T0" fmla="*/ 2147483647 w 134"/>
                <a:gd name="T1" fmla="*/ 0 h 93"/>
                <a:gd name="T2" fmla="*/ 2147483647 w 134"/>
                <a:gd name="T3" fmla="*/ 0 h 93"/>
                <a:gd name="T4" fmla="*/ 0 w 134"/>
                <a:gd name="T5" fmla="*/ 2147483647 h 93"/>
                <a:gd name="T6" fmla="*/ 2147483647 w 134"/>
                <a:gd name="T7" fmla="*/ 2147483647 h 93"/>
                <a:gd name="T8" fmla="*/ 2147483647 w 134"/>
                <a:gd name="T9" fmla="*/ 2147483647 h 93"/>
                <a:gd name="T10" fmla="*/ 2147483647 w 134"/>
                <a:gd name="T11" fmla="*/ 0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4"/>
                <a:gd name="T19" fmla="*/ 0 h 93"/>
                <a:gd name="T20" fmla="*/ 134 w 134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4" h="93">
                  <a:moveTo>
                    <a:pt x="110" y="0"/>
                  </a:moveTo>
                  <a:lnTo>
                    <a:pt x="47" y="0"/>
                  </a:lnTo>
                  <a:lnTo>
                    <a:pt x="0" y="47"/>
                  </a:lnTo>
                  <a:lnTo>
                    <a:pt x="47" y="93"/>
                  </a:lnTo>
                  <a:lnTo>
                    <a:pt x="134" y="47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1" name="Freeform 863"/>
            <p:cNvSpPr>
              <a:spLocks/>
            </p:cNvSpPr>
            <p:nvPr/>
          </p:nvSpPr>
          <p:spPr bwMode="auto">
            <a:xfrm>
              <a:off x="9216594" y="3650645"/>
              <a:ext cx="234742" cy="414619"/>
            </a:xfrm>
            <a:custGeom>
              <a:avLst/>
              <a:gdLst>
                <a:gd name="T0" fmla="*/ 0 w 424"/>
                <a:gd name="T1" fmla="*/ 2147483647 h 901"/>
                <a:gd name="T2" fmla="*/ 2147483647 w 424"/>
                <a:gd name="T3" fmla="*/ 2147483647 h 901"/>
                <a:gd name="T4" fmla="*/ 2147483647 w 424"/>
                <a:gd name="T5" fmla="*/ 2147483647 h 901"/>
                <a:gd name="T6" fmla="*/ 2147483647 w 424"/>
                <a:gd name="T7" fmla="*/ 2147483647 h 901"/>
                <a:gd name="T8" fmla="*/ 2147483647 w 424"/>
                <a:gd name="T9" fmla="*/ 2147483647 h 901"/>
                <a:gd name="T10" fmla="*/ 2147483647 w 424"/>
                <a:gd name="T11" fmla="*/ 2147483647 h 901"/>
                <a:gd name="T12" fmla="*/ 2147483647 w 424"/>
                <a:gd name="T13" fmla="*/ 2147483647 h 901"/>
                <a:gd name="T14" fmla="*/ 2147483647 w 424"/>
                <a:gd name="T15" fmla="*/ 2147483647 h 901"/>
                <a:gd name="T16" fmla="*/ 2147483647 w 424"/>
                <a:gd name="T17" fmla="*/ 2147483647 h 901"/>
                <a:gd name="T18" fmla="*/ 2147483647 w 424"/>
                <a:gd name="T19" fmla="*/ 2147483647 h 901"/>
                <a:gd name="T20" fmla="*/ 2147483647 w 424"/>
                <a:gd name="T21" fmla="*/ 2147483647 h 901"/>
                <a:gd name="T22" fmla="*/ 2147483647 w 424"/>
                <a:gd name="T23" fmla="*/ 2147483647 h 901"/>
                <a:gd name="T24" fmla="*/ 2147483647 w 424"/>
                <a:gd name="T25" fmla="*/ 2147483647 h 901"/>
                <a:gd name="T26" fmla="*/ 2147483647 w 424"/>
                <a:gd name="T27" fmla="*/ 2147483647 h 901"/>
                <a:gd name="T28" fmla="*/ 2147483647 w 424"/>
                <a:gd name="T29" fmla="*/ 2147483647 h 901"/>
                <a:gd name="T30" fmla="*/ 2147483647 w 424"/>
                <a:gd name="T31" fmla="*/ 2147483647 h 901"/>
                <a:gd name="T32" fmla="*/ 2147483647 w 424"/>
                <a:gd name="T33" fmla="*/ 2147483647 h 901"/>
                <a:gd name="T34" fmla="*/ 2147483647 w 424"/>
                <a:gd name="T35" fmla="*/ 2147483647 h 901"/>
                <a:gd name="T36" fmla="*/ 2147483647 w 424"/>
                <a:gd name="T37" fmla="*/ 2147483647 h 901"/>
                <a:gd name="T38" fmla="*/ 2147483647 w 424"/>
                <a:gd name="T39" fmla="*/ 2147483647 h 901"/>
                <a:gd name="T40" fmla="*/ 2147483647 w 424"/>
                <a:gd name="T41" fmla="*/ 2147483647 h 901"/>
                <a:gd name="T42" fmla="*/ 2147483647 w 424"/>
                <a:gd name="T43" fmla="*/ 2147483647 h 901"/>
                <a:gd name="T44" fmla="*/ 2147483647 w 424"/>
                <a:gd name="T45" fmla="*/ 2147483647 h 901"/>
                <a:gd name="T46" fmla="*/ 2147483647 w 424"/>
                <a:gd name="T47" fmla="*/ 2147483647 h 901"/>
                <a:gd name="T48" fmla="*/ 2147483647 w 424"/>
                <a:gd name="T49" fmla="*/ 2147483647 h 901"/>
                <a:gd name="T50" fmla="*/ 2147483647 w 424"/>
                <a:gd name="T51" fmla="*/ 2147483647 h 901"/>
                <a:gd name="T52" fmla="*/ 2147483647 w 424"/>
                <a:gd name="T53" fmla="*/ 2147483647 h 901"/>
                <a:gd name="T54" fmla="*/ 2147483647 w 424"/>
                <a:gd name="T55" fmla="*/ 2147483647 h 901"/>
                <a:gd name="T56" fmla="*/ 2147483647 w 424"/>
                <a:gd name="T57" fmla="*/ 2147483647 h 901"/>
                <a:gd name="T58" fmla="*/ 2147483647 w 424"/>
                <a:gd name="T59" fmla="*/ 0 h 901"/>
                <a:gd name="T60" fmla="*/ 2147483647 w 424"/>
                <a:gd name="T61" fmla="*/ 0 h 901"/>
                <a:gd name="T62" fmla="*/ 2147483647 w 424"/>
                <a:gd name="T63" fmla="*/ 0 h 901"/>
                <a:gd name="T64" fmla="*/ 2147483647 w 424"/>
                <a:gd name="T65" fmla="*/ 2147483647 h 901"/>
                <a:gd name="T66" fmla="*/ 0 w 424"/>
                <a:gd name="T67" fmla="*/ 2147483647 h 90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24"/>
                <a:gd name="T103" fmla="*/ 0 h 901"/>
                <a:gd name="T104" fmla="*/ 424 w 424"/>
                <a:gd name="T105" fmla="*/ 901 h 90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24" h="901">
                  <a:moveTo>
                    <a:pt x="0" y="47"/>
                  </a:moveTo>
                  <a:lnTo>
                    <a:pt x="18" y="111"/>
                  </a:lnTo>
                  <a:lnTo>
                    <a:pt x="88" y="111"/>
                  </a:lnTo>
                  <a:lnTo>
                    <a:pt x="133" y="181"/>
                  </a:lnTo>
                  <a:lnTo>
                    <a:pt x="111" y="251"/>
                  </a:lnTo>
                  <a:lnTo>
                    <a:pt x="221" y="384"/>
                  </a:lnTo>
                  <a:lnTo>
                    <a:pt x="314" y="518"/>
                  </a:lnTo>
                  <a:lnTo>
                    <a:pt x="268" y="587"/>
                  </a:lnTo>
                  <a:lnTo>
                    <a:pt x="314" y="704"/>
                  </a:lnTo>
                  <a:lnTo>
                    <a:pt x="221" y="744"/>
                  </a:lnTo>
                  <a:lnTo>
                    <a:pt x="221" y="791"/>
                  </a:lnTo>
                  <a:lnTo>
                    <a:pt x="157" y="814"/>
                  </a:lnTo>
                  <a:lnTo>
                    <a:pt x="157" y="861"/>
                  </a:lnTo>
                  <a:lnTo>
                    <a:pt x="180" y="901"/>
                  </a:lnTo>
                  <a:lnTo>
                    <a:pt x="221" y="878"/>
                  </a:lnTo>
                  <a:lnTo>
                    <a:pt x="355" y="767"/>
                  </a:lnTo>
                  <a:lnTo>
                    <a:pt x="402" y="721"/>
                  </a:lnTo>
                  <a:lnTo>
                    <a:pt x="424" y="634"/>
                  </a:lnTo>
                  <a:lnTo>
                    <a:pt x="402" y="518"/>
                  </a:lnTo>
                  <a:lnTo>
                    <a:pt x="355" y="453"/>
                  </a:lnTo>
                  <a:lnTo>
                    <a:pt x="355" y="408"/>
                  </a:lnTo>
                  <a:lnTo>
                    <a:pt x="290" y="408"/>
                  </a:lnTo>
                  <a:lnTo>
                    <a:pt x="245" y="338"/>
                  </a:lnTo>
                  <a:lnTo>
                    <a:pt x="198" y="251"/>
                  </a:lnTo>
                  <a:lnTo>
                    <a:pt x="198" y="181"/>
                  </a:lnTo>
                  <a:lnTo>
                    <a:pt x="268" y="111"/>
                  </a:lnTo>
                  <a:lnTo>
                    <a:pt x="290" y="87"/>
                  </a:lnTo>
                  <a:lnTo>
                    <a:pt x="268" y="87"/>
                  </a:lnTo>
                  <a:lnTo>
                    <a:pt x="221" y="47"/>
                  </a:lnTo>
                  <a:lnTo>
                    <a:pt x="221" y="0"/>
                  </a:lnTo>
                  <a:lnTo>
                    <a:pt x="198" y="0"/>
                  </a:lnTo>
                  <a:lnTo>
                    <a:pt x="133" y="0"/>
                  </a:lnTo>
                  <a:lnTo>
                    <a:pt x="18" y="7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2" name="Freeform 864"/>
            <p:cNvSpPr>
              <a:spLocks/>
            </p:cNvSpPr>
            <p:nvPr/>
          </p:nvSpPr>
          <p:spPr bwMode="auto">
            <a:xfrm>
              <a:off x="9146674" y="3670627"/>
              <a:ext cx="244729" cy="374656"/>
            </a:xfrm>
            <a:custGeom>
              <a:avLst/>
              <a:gdLst>
                <a:gd name="T0" fmla="*/ 2147483647 w 453"/>
                <a:gd name="T1" fmla="*/ 0 h 814"/>
                <a:gd name="T2" fmla="*/ 2147483647 w 453"/>
                <a:gd name="T3" fmla="*/ 2147483647 h 814"/>
                <a:gd name="T4" fmla="*/ 0 w 453"/>
                <a:gd name="T5" fmla="*/ 2147483647 h 814"/>
                <a:gd name="T6" fmla="*/ 2147483647 w 453"/>
                <a:gd name="T7" fmla="*/ 2147483647 h 814"/>
                <a:gd name="T8" fmla="*/ 2147483647 w 453"/>
                <a:gd name="T9" fmla="*/ 2147483647 h 814"/>
                <a:gd name="T10" fmla="*/ 2147483647 w 453"/>
                <a:gd name="T11" fmla="*/ 2147483647 h 814"/>
                <a:gd name="T12" fmla="*/ 2147483647 w 453"/>
                <a:gd name="T13" fmla="*/ 2147483647 h 814"/>
                <a:gd name="T14" fmla="*/ 2147483647 w 453"/>
                <a:gd name="T15" fmla="*/ 2147483647 h 814"/>
                <a:gd name="T16" fmla="*/ 2147483647 w 453"/>
                <a:gd name="T17" fmla="*/ 2147483647 h 814"/>
                <a:gd name="T18" fmla="*/ 2147483647 w 453"/>
                <a:gd name="T19" fmla="*/ 2147483647 h 814"/>
                <a:gd name="T20" fmla="*/ 2147483647 w 453"/>
                <a:gd name="T21" fmla="*/ 2147483647 h 814"/>
                <a:gd name="T22" fmla="*/ 2147483647 w 453"/>
                <a:gd name="T23" fmla="*/ 2147483647 h 814"/>
                <a:gd name="T24" fmla="*/ 2147483647 w 453"/>
                <a:gd name="T25" fmla="*/ 2147483647 h 814"/>
                <a:gd name="T26" fmla="*/ 2147483647 w 453"/>
                <a:gd name="T27" fmla="*/ 2147483647 h 814"/>
                <a:gd name="T28" fmla="*/ 2147483647 w 453"/>
                <a:gd name="T29" fmla="*/ 2147483647 h 814"/>
                <a:gd name="T30" fmla="*/ 2147483647 w 453"/>
                <a:gd name="T31" fmla="*/ 2147483647 h 814"/>
                <a:gd name="T32" fmla="*/ 2147483647 w 453"/>
                <a:gd name="T33" fmla="*/ 2147483647 h 814"/>
                <a:gd name="T34" fmla="*/ 2147483647 w 453"/>
                <a:gd name="T35" fmla="*/ 2147483647 h 814"/>
                <a:gd name="T36" fmla="*/ 2147483647 w 453"/>
                <a:gd name="T37" fmla="*/ 2147483647 h 814"/>
                <a:gd name="T38" fmla="*/ 2147483647 w 453"/>
                <a:gd name="T39" fmla="*/ 2147483647 h 814"/>
                <a:gd name="T40" fmla="*/ 2147483647 w 453"/>
                <a:gd name="T41" fmla="*/ 2147483647 h 814"/>
                <a:gd name="T42" fmla="*/ 2147483647 w 453"/>
                <a:gd name="T43" fmla="*/ 2147483647 h 814"/>
                <a:gd name="T44" fmla="*/ 2147483647 w 453"/>
                <a:gd name="T45" fmla="*/ 2147483647 h 814"/>
                <a:gd name="T46" fmla="*/ 2147483647 w 453"/>
                <a:gd name="T47" fmla="*/ 2147483647 h 814"/>
                <a:gd name="T48" fmla="*/ 2147483647 w 453"/>
                <a:gd name="T49" fmla="*/ 2147483647 h 814"/>
                <a:gd name="T50" fmla="*/ 2147483647 w 453"/>
                <a:gd name="T51" fmla="*/ 2147483647 h 814"/>
                <a:gd name="T52" fmla="*/ 2147483647 w 453"/>
                <a:gd name="T53" fmla="*/ 2147483647 h 814"/>
                <a:gd name="T54" fmla="*/ 2147483647 w 453"/>
                <a:gd name="T55" fmla="*/ 2147483647 h 814"/>
                <a:gd name="T56" fmla="*/ 2147483647 w 453"/>
                <a:gd name="T57" fmla="*/ 2147483647 h 814"/>
                <a:gd name="T58" fmla="*/ 2147483647 w 453"/>
                <a:gd name="T59" fmla="*/ 2147483647 h 814"/>
                <a:gd name="T60" fmla="*/ 2147483647 w 453"/>
                <a:gd name="T61" fmla="*/ 2147483647 h 814"/>
                <a:gd name="T62" fmla="*/ 2147483647 w 453"/>
                <a:gd name="T63" fmla="*/ 2147483647 h 814"/>
                <a:gd name="T64" fmla="*/ 2147483647 w 453"/>
                <a:gd name="T65" fmla="*/ 2147483647 h 814"/>
                <a:gd name="T66" fmla="*/ 2147483647 w 453"/>
                <a:gd name="T67" fmla="*/ 2147483647 h 814"/>
                <a:gd name="T68" fmla="*/ 2147483647 w 453"/>
                <a:gd name="T69" fmla="*/ 2147483647 h 814"/>
                <a:gd name="T70" fmla="*/ 2147483647 w 453"/>
                <a:gd name="T71" fmla="*/ 2147483647 h 814"/>
                <a:gd name="T72" fmla="*/ 2147483647 w 453"/>
                <a:gd name="T73" fmla="*/ 2147483647 h 814"/>
                <a:gd name="T74" fmla="*/ 2147483647 w 453"/>
                <a:gd name="T75" fmla="*/ 0 h 81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3"/>
                <a:gd name="T115" fmla="*/ 0 h 814"/>
                <a:gd name="T116" fmla="*/ 453 w 453"/>
                <a:gd name="T117" fmla="*/ 814 h 81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3" h="814">
                  <a:moveTo>
                    <a:pt x="110" y="0"/>
                  </a:moveTo>
                  <a:lnTo>
                    <a:pt x="52" y="52"/>
                  </a:lnTo>
                  <a:lnTo>
                    <a:pt x="0" y="134"/>
                  </a:lnTo>
                  <a:lnTo>
                    <a:pt x="70" y="180"/>
                  </a:lnTo>
                  <a:lnTo>
                    <a:pt x="70" y="291"/>
                  </a:lnTo>
                  <a:lnTo>
                    <a:pt x="110" y="314"/>
                  </a:lnTo>
                  <a:lnTo>
                    <a:pt x="180" y="267"/>
                  </a:lnTo>
                  <a:lnTo>
                    <a:pt x="227" y="267"/>
                  </a:lnTo>
                  <a:lnTo>
                    <a:pt x="337" y="406"/>
                  </a:lnTo>
                  <a:lnTo>
                    <a:pt x="337" y="453"/>
                  </a:lnTo>
                  <a:lnTo>
                    <a:pt x="360" y="494"/>
                  </a:lnTo>
                  <a:lnTo>
                    <a:pt x="360" y="563"/>
                  </a:lnTo>
                  <a:lnTo>
                    <a:pt x="337" y="587"/>
                  </a:lnTo>
                  <a:lnTo>
                    <a:pt x="272" y="563"/>
                  </a:lnTo>
                  <a:lnTo>
                    <a:pt x="227" y="518"/>
                  </a:lnTo>
                  <a:lnTo>
                    <a:pt x="174" y="570"/>
                  </a:lnTo>
                  <a:lnTo>
                    <a:pt x="157" y="610"/>
                  </a:lnTo>
                  <a:lnTo>
                    <a:pt x="180" y="697"/>
                  </a:lnTo>
                  <a:lnTo>
                    <a:pt x="227" y="744"/>
                  </a:lnTo>
                  <a:lnTo>
                    <a:pt x="296" y="814"/>
                  </a:lnTo>
                  <a:lnTo>
                    <a:pt x="319" y="790"/>
                  </a:lnTo>
                  <a:lnTo>
                    <a:pt x="360" y="744"/>
                  </a:lnTo>
                  <a:lnTo>
                    <a:pt x="360" y="697"/>
                  </a:lnTo>
                  <a:lnTo>
                    <a:pt x="407" y="674"/>
                  </a:lnTo>
                  <a:lnTo>
                    <a:pt x="447" y="650"/>
                  </a:lnTo>
                  <a:lnTo>
                    <a:pt x="453" y="610"/>
                  </a:lnTo>
                  <a:lnTo>
                    <a:pt x="407" y="563"/>
                  </a:lnTo>
                  <a:lnTo>
                    <a:pt x="436" y="494"/>
                  </a:lnTo>
                  <a:lnTo>
                    <a:pt x="447" y="471"/>
                  </a:lnTo>
                  <a:lnTo>
                    <a:pt x="424" y="424"/>
                  </a:lnTo>
                  <a:lnTo>
                    <a:pt x="319" y="267"/>
                  </a:lnTo>
                  <a:lnTo>
                    <a:pt x="250" y="204"/>
                  </a:lnTo>
                  <a:lnTo>
                    <a:pt x="272" y="134"/>
                  </a:lnTo>
                  <a:lnTo>
                    <a:pt x="250" y="87"/>
                  </a:lnTo>
                  <a:lnTo>
                    <a:pt x="227" y="64"/>
                  </a:lnTo>
                  <a:lnTo>
                    <a:pt x="157" y="64"/>
                  </a:lnTo>
                  <a:lnTo>
                    <a:pt x="157" y="23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3" name="Freeform 865"/>
            <p:cNvSpPr>
              <a:spLocks/>
            </p:cNvSpPr>
            <p:nvPr/>
          </p:nvSpPr>
          <p:spPr bwMode="auto">
            <a:xfrm>
              <a:off x="9076751" y="3730573"/>
              <a:ext cx="264709" cy="399634"/>
            </a:xfrm>
            <a:custGeom>
              <a:avLst/>
              <a:gdLst>
                <a:gd name="T0" fmla="*/ 2147483647 w 482"/>
                <a:gd name="T1" fmla="*/ 0 h 854"/>
                <a:gd name="T2" fmla="*/ 2147483647 w 482"/>
                <a:gd name="T3" fmla="*/ 2147483647 h 854"/>
                <a:gd name="T4" fmla="*/ 2147483647 w 482"/>
                <a:gd name="T5" fmla="*/ 2147483647 h 854"/>
                <a:gd name="T6" fmla="*/ 0 w 482"/>
                <a:gd name="T7" fmla="*/ 2147483647 h 854"/>
                <a:gd name="T8" fmla="*/ 2147483647 w 482"/>
                <a:gd name="T9" fmla="*/ 2147483647 h 854"/>
                <a:gd name="T10" fmla="*/ 2147483647 w 482"/>
                <a:gd name="T11" fmla="*/ 2147483647 h 854"/>
                <a:gd name="T12" fmla="*/ 2147483647 w 482"/>
                <a:gd name="T13" fmla="*/ 2147483647 h 854"/>
                <a:gd name="T14" fmla="*/ 2147483647 w 482"/>
                <a:gd name="T15" fmla="*/ 2147483647 h 854"/>
                <a:gd name="T16" fmla="*/ 2147483647 w 482"/>
                <a:gd name="T17" fmla="*/ 2147483647 h 854"/>
                <a:gd name="T18" fmla="*/ 2147483647 w 482"/>
                <a:gd name="T19" fmla="*/ 2147483647 h 854"/>
                <a:gd name="T20" fmla="*/ 2147483647 w 482"/>
                <a:gd name="T21" fmla="*/ 2147483647 h 854"/>
                <a:gd name="T22" fmla="*/ 2147483647 w 482"/>
                <a:gd name="T23" fmla="*/ 2147483647 h 854"/>
                <a:gd name="T24" fmla="*/ 2147483647 w 482"/>
                <a:gd name="T25" fmla="*/ 2147483647 h 854"/>
                <a:gd name="T26" fmla="*/ 2147483647 w 482"/>
                <a:gd name="T27" fmla="*/ 2147483647 h 854"/>
                <a:gd name="T28" fmla="*/ 2147483647 w 482"/>
                <a:gd name="T29" fmla="*/ 2147483647 h 854"/>
                <a:gd name="T30" fmla="*/ 2147483647 w 482"/>
                <a:gd name="T31" fmla="*/ 2147483647 h 854"/>
                <a:gd name="T32" fmla="*/ 2147483647 w 482"/>
                <a:gd name="T33" fmla="*/ 2147483647 h 854"/>
                <a:gd name="T34" fmla="*/ 2147483647 w 482"/>
                <a:gd name="T35" fmla="*/ 2147483647 h 854"/>
                <a:gd name="T36" fmla="*/ 2147483647 w 482"/>
                <a:gd name="T37" fmla="*/ 2147483647 h 854"/>
                <a:gd name="T38" fmla="*/ 2147483647 w 482"/>
                <a:gd name="T39" fmla="*/ 2147483647 h 854"/>
                <a:gd name="T40" fmla="*/ 2147483647 w 482"/>
                <a:gd name="T41" fmla="*/ 2147483647 h 854"/>
                <a:gd name="T42" fmla="*/ 2147483647 w 482"/>
                <a:gd name="T43" fmla="*/ 2147483647 h 854"/>
                <a:gd name="T44" fmla="*/ 2147483647 w 482"/>
                <a:gd name="T45" fmla="*/ 2147483647 h 854"/>
                <a:gd name="T46" fmla="*/ 2147483647 w 482"/>
                <a:gd name="T47" fmla="*/ 2147483647 h 854"/>
                <a:gd name="T48" fmla="*/ 2147483647 w 482"/>
                <a:gd name="T49" fmla="*/ 2147483647 h 854"/>
                <a:gd name="T50" fmla="*/ 2147483647 w 482"/>
                <a:gd name="T51" fmla="*/ 2147483647 h 854"/>
                <a:gd name="T52" fmla="*/ 2147483647 w 482"/>
                <a:gd name="T53" fmla="*/ 2147483647 h 854"/>
                <a:gd name="T54" fmla="*/ 2147483647 w 482"/>
                <a:gd name="T55" fmla="*/ 2147483647 h 854"/>
                <a:gd name="T56" fmla="*/ 2147483647 w 482"/>
                <a:gd name="T57" fmla="*/ 2147483647 h 854"/>
                <a:gd name="T58" fmla="*/ 2147483647 w 482"/>
                <a:gd name="T59" fmla="*/ 2147483647 h 854"/>
                <a:gd name="T60" fmla="*/ 2147483647 w 482"/>
                <a:gd name="T61" fmla="*/ 2147483647 h 854"/>
                <a:gd name="T62" fmla="*/ 2147483647 w 482"/>
                <a:gd name="T63" fmla="*/ 2147483647 h 854"/>
                <a:gd name="T64" fmla="*/ 2147483647 w 482"/>
                <a:gd name="T65" fmla="*/ 2147483647 h 854"/>
                <a:gd name="T66" fmla="*/ 2147483647 w 482"/>
                <a:gd name="T67" fmla="*/ 0 h 8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2"/>
                <a:gd name="T103" fmla="*/ 0 h 854"/>
                <a:gd name="T104" fmla="*/ 482 w 482"/>
                <a:gd name="T105" fmla="*/ 854 h 8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2" h="854">
                  <a:moveTo>
                    <a:pt x="122" y="0"/>
                  </a:moveTo>
                  <a:lnTo>
                    <a:pt x="99" y="28"/>
                  </a:lnTo>
                  <a:lnTo>
                    <a:pt x="58" y="75"/>
                  </a:lnTo>
                  <a:lnTo>
                    <a:pt x="0" y="140"/>
                  </a:lnTo>
                  <a:lnTo>
                    <a:pt x="75" y="272"/>
                  </a:lnTo>
                  <a:lnTo>
                    <a:pt x="75" y="360"/>
                  </a:lnTo>
                  <a:lnTo>
                    <a:pt x="75" y="406"/>
                  </a:lnTo>
                  <a:lnTo>
                    <a:pt x="99" y="476"/>
                  </a:lnTo>
                  <a:lnTo>
                    <a:pt x="75" y="656"/>
                  </a:lnTo>
                  <a:lnTo>
                    <a:pt x="75" y="720"/>
                  </a:lnTo>
                  <a:lnTo>
                    <a:pt x="145" y="767"/>
                  </a:lnTo>
                  <a:lnTo>
                    <a:pt x="168" y="848"/>
                  </a:lnTo>
                  <a:lnTo>
                    <a:pt x="232" y="854"/>
                  </a:lnTo>
                  <a:lnTo>
                    <a:pt x="192" y="743"/>
                  </a:lnTo>
                  <a:lnTo>
                    <a:pt x="145" y="697"/>
                  </a:lnTo>
                  <a:lnTo>
                    <a:pt x="168" y="540"/>
                  </a:lnTo>
                  <a:lnTo>
                    <a:pt x="168" y="453"/>
                  </a:lnTo>
                  <a:lnTo>
                    <a:pt x="232" y="476"/>
                  </a:lnTo>
                  <a:lnTo>
                    <a:pt x="279" y="476"/>
                  </a:lnTo>
                  <a:lnTo>
                    <a:pt x="302" y="429"/>
                  </a:lnTo>
                  <a:lnTo>
                    <a:pt x="349" y="384"/>
                  </a:lnTo>
                  <a:lnTo>
                    <a:pt x="394" y="429"/>
                  </a:lnTo>
                  <a:lnTo>
                    <a:pt x="476" y="453"/>
                  </a:lnTo>
                  <a:lnTo>
                    <a:pt x="482" y="406"/>
                  </a:lnTo>
                  <a:lnTo>
                    <a:pt x="482" y="337"/>
                  </a:lnTo>
                  <a:lnTo>
                    <a:pt x="459" y="272"/>
                  </a:lnTo>
                  <a:lnTo>
                    <a:pt x="394" y="180"/>
                  </a:lnTo>
                  <a:lnTo>
                    <a:pt x="349" y="133"/>
                  </a:lnTo>
                  <a:lnTo>
                    <a:pt x="296" y="140"/>
                  </a:lnTo>
                  <a:lnTo>
                    <a:pt x="232" y="180"/>
                  </a:lnTo>
                  <a:lnTo>
                    <a:pt x="192" y="133"/>
                  </a:lnTo>
                  <a:lnTo>
                    <a:pt x="185" y="58"/>
                  </a:lnTo>
                  <a:lnTo>
                    <a:pt x="168" y="23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4" name="Freeform 866"/>
            <p:cNvSpPr>
              <a:spLocks/>
            </p:cNvSpPr>
            <p:nvPr/>
          </p:nvSpPr>
          <p:spPr bwMode="auto">
            <a:xfrm>
              <a:off x="8916926" y="3480802"/>
              <a:ext cx="289680" cy="504536"/>
            </a:xfrm>
            <a:custGeom>
              <a:avLst/>
              <a:gdLst>
                <a:gd name="T0" fmla="*/ 2147483647 w 534"/>
                <a:gd name="T1" fmla="*/ 0 h 1075"/>
                <a:gd name="T2" fmla="*/ 2147483647 w 534"/>
                <a:gd name="T3" fmla="*/ 2147483647 h 1075"/>
                <a:gd name="T4" fmla="*/ 2147483647 w 534"/>
                <a:gd name="T5" fmla="*/ 2147483647 h 1075"/>
                <a:gd name="T6" fmla="*/ 2147483647 w 534"/>
                <a:gd name="T7" fmla="*/ 2147483647 h 1075"/>
                <a:gd name="T8" fmla="*/ 2147483647 w 534"/>
                <a:gd name="T9" fmla="*/ 2147483647 h 1075"/>
                <a:gd name="T10" fmla="*/ 2147483647 w 534"/>
                <a:gd name="T11" fmla="*/ 2147483647 h 1075"/>
                <a:gd name="T12" fmla="*/ 2147483647 w 534"/>
                <a:gd name="T13" fmla="*/ 2147483647 h 1075"/>
                <a:gd name="T14" fmla="*/ 2147483647 w 534"/>
                <a:gd name="T15" fmla="*/ 2147483647 h 1075"/>
                <a:gd name="T16" fmla="*/ 0 w 534"/>
                <a:gd name="T17" fmla="*/ 2147483647 h 1075"/>
                <a:gd name="T18" fmla="*/ 2147483647 w 534"/>
                <a:gd name="T19" fmla="*/ 2147483647 h 1075"/>
                <a:gd name="T20" fmla="*/ 2147483647 w 534"/>
                <a:gd name="T21" fmla="*/ 2147483647 h 1075"/>
                <a:gd name="T22" fmla="*/ 2147483647 w 534"/>
                <a:gd name="T23" fmla="*/ 2147483647 h 1075"/>
                <a:gd name="T24" fmla="*/ 2147483647 w 534"/>
                <a:gd name="T25" fmla="*/ 2147483647 h 1075"/>
                <a:gd name="T26" fmla="*/ 2147483647 w 534"/>
                <a:gd name="T27" fmla="*/ 2147483647 h 1075"/>
                <a:gd name="T28" fmla="*/ 2147483647 w 534"/>
                <a:gd name="T29" fmla="*/ 2147483647 h 1075"/>
                <a:gd name="T30" fmla="*/ 2147483647 w 534"/>
                <a:gd name="T31" fmla="*/ 2147483647 h 1075"/>
                <a:gd name="T32" fmla="*/ 2147483647 w 534"/>
                <a:gd name="T33" fmla="*/ 2147483647 h 1075"/>
                <a:gd name="T34" fmla="*/ 2147483647 w 534"/>
                <a:gd name="T35" fmla="*/ 2147483647 h 1075"/>
                <a:gd name="T36" fmla="*/ 2147483647 w 534"/>
                <a:gd name="T37" fmla="*/ 2147483647 h 1075"/>
                <a:gd name="T38" fmla="*/ 2147483647 w 534"/>
                <a:gd name="T39" fmla="*/ 2147483647 h 1075"/>
                <a:gd name="T40" fmla="*/ 2147483647 w 534"/>
                <a:gd name="T41" fmla="*/ 2147483647 h 1075"/>
                <a:gd name="T42" fmla="*/ 2147483647 w 534"/>
                <a:gd name="T43" fmla="*/ 2147483647 h 1075"/>
                <a:gd name="T44" fmla="*/ 2147483647 w 534"/>
                <a:gd name="T45" fmla="*/ 2147483647 h 1075"/>
                <a:gd name="T46" fmla="*/ 2147483647 w 534"/>
                <a:gd name="T47" fmla="*/ 2147483647 h 1075"/>
                <a:gd name="T48" fmla="*/ 2147483647 w 534"/>
                <a:gd name="T49" fmla="*/ 2147483647 h 1075"/>
                <a:gd name="T50" fmla="*/ 2147483647 w 534"/>
                <a:gd name="T51" fmla="*/ 2147483647 h 1075"/>
                <a:gd name="T52" fmla="*/ 2147483647 w 534"/>
                <a:gd name="T53" fmla="*/ 2147483647 h 1075"/>
                <a:gd name="T54" fmla="*/ 2147483647 w 534"/>
                <a:gd name="T55" fmla="*/ 2147483647 h 1075"/>
                <a:gd name="T56" fmla="*/ 2147483647 w 534"/>
                <a:gd name="T57" fmla="*/ 2147483647 h 1075"/>
                <a:gd name="T58" fmla="*/ 2147483647 w 534"/>
                <a:gd name="T59" fmla="*/ 2147483647 h 1075"/>
                <a:gd name="T60" fmla="*/ 2147483647 w 534"/>
                <a:gd name="T61" fmla="*/ 2147483647 h 1075"/>
                <a:gd name="T62" fmla="*/ 2147483647 w 534"/>
                <a:gd name="T63" fmla="*/ 2147483647 h 1075"/>
                <a:gd name="T64" fmla="*/ 2147483647 w 534"/>
                <a:gd name="T65" fmla="*/ 2147483647 h 1075"/>
                <a:gd name="T66" fmla="*/ 2147483647 w 534"/>
                <a:gd name="T67" fmla="*/ 2147483647 h 1075"/>
                <a:gd name="T68" fmla="*/ 2147483647 w 534"/>
                <a:gd name="T69" fmla="*/ 2147483647 h 1075"/>
                <a:gd name="T70" fmla="*/ 2147483647 w 534"/>
                <a:gd name="T71" fmla="*/ 2147483647 h 1075"/>
                <a:gd name="T72" fmla="*/ 2147483647 w 534"/>
                <a:gd name="T73" fmla="*/ 2147483647 h 1075"/>
                <a:gd name="T74" fmla="*/ 2147483647 w 534"/>
                <a:gd name="T75" fmla="*/ 0 h 107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4"/>
                <a:gd name="T115" fmla="*/ 0 h 1075"/>
                <a:gd name="T116" fmla="*/ 534 w 534"/>
                <a:gd name="T117" fmla="*/ 1075 h 107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4" h="1075">
                  <a:moveTo>
                    <a:pt x="244" y="0"/>
                  </a:moveTo>
                  <a:lnTo>
                    <a:pt x="203" y="47"/>
                  </a:lnTo>
                  <a:lnTo>
                    <a:pt x="133" y="110"/>
                  </a:lnTo>
                  <a:lnTo>
                    <a:pt x="93" y="204"/>
                  </a:lnTo>
                  <a:lnTo>
                    <a:pt x="93" y="308"/>
                  </a:lnTo>
                  <a:lnTo>
                    <a:pt x="35" y="308"/>
                  </a:lnTo>
                  <a:lnTo>
                    <a:pt x="23" y="354"/>
                  </a:lnTo>
                  <a:lnTo>
                    <a:pt x="17" y="459"/>
                  </a:lnTo>
                  <a:lnTo>
                    <a:pt x="0" y="511"/>
                  </a:lnTo>
                  <a:lnTo>
                    <a:pt x="63" y="558"/>
                  </a:lnTo>
                  <a:lnTo>
                    <a:pt x="110" y="715"/>
                  </a:lnTo>
                  <a:lnTo>
                    <a:pt x="150" y="785"/>
                  </a:lnTo>
                  <a:lnTo>
                    <a:pt x="180" y="807"/>
                  </a:lnTo>
                  <a:lnTo>
                    <a:pt x="220" y="807"/>
                  </a:lnTo>
                  <a:lnTo>
                    <a:pt x="244" y="715"/>
                  </a:lnTo>
                  <a:lnTo>
                    <a:pt x="290" y="762"/>
                  </a:lnTo>
                  <a:lnTo>
                    <a:pt x="290" y="825"/>
                  </a:lnTo>
                  <a:lnTo>
                    <a:pt x="337" y="895"/>
                  </a:lnTo>
                  <a:lnTo>
                    <a:pt x="354" y="919"/>
                  </a:lnTo>
                  <a:lnTo>
                    <a:pt x="354" y="1011"/>
                  </a:lnTo>
                  <a:lnTo>
                    <a:pt x="401" y="1075"/>
                  </a:lnTo>
                  <a:lnTo>
                    <a:pt x="401" y="988"/>
                  </a:lnTo>
                  <a:lnTo>
                    <a:pt x="377" y="941"/>
                  </a:lnTo>
                  <a:lnTo>
                    <a:pt x="377" y="825"/>
                  </a:lnTo>
                  <a:lnTo>
                    <a:pt x="337" y="738"/>
                  </a:lnTo>
                  <a:lnTo>
                    <a:pt x="302" y="663"/>
                  </a:lnTo>
                  <a:lnTo>
                    <a:pt x="349" y="610"/>
                  </a:lnTo>
                  <a:lnTo>
                    <a:pt x="384" y="575"/>
                  </a:lnTo>
                  <a:lnTo>
                    <a:pt x="424" y="535"/>
                  </a:lnTo>
                  <a:lnTo>
                    <a:pt x="470" y="465"/>
                  </a:lnTo>
                  <a:lnTo>
                    <a:pt x="534" y="406"/>
                  </a:lnTo>
                  <a:lnTo>
                    <a:pt x="505" y="291"/>
                  </a:lnTo>
                  <a:lnTo>
                    <a:pt x="424" y="284"/>
                  </a:lnTo>
                  <a:lnTo>
                    <a:pt x="354" y="221"/>
                  </a:lnTo>
                  <a:lnTo>
                    <a:pt x="354" y="134"/>
                  </a:lnTo>
                  <a:lnTo>
                    <a:pt x="314" y="30"/>
                  </a:lnTo>
                  <a:lnTo>
                    <a:pt x="290" y="24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5" name="Freeform 867"/>
            <p:cNvSpPr>
              <a:spLocks/>
            </p:cNvSpPr>
            <p:nvPr/>
          </p:nvSpPr>
          <p:spPr bwMode="auto">
            <a:xfrm>
              <a:off x="8767093" y="3550740"/>
              <a:ext cx="154828" cy="174839"/>
            </a:xfrm>
            <a:custGeom>
              <a:avLst/>
              <a:gdLst>
                <a:gd name="T0" fmla="*/ 2147483647 w 291"/>
                <a:gd name="T1" fmla="*/ 2147483647 h 366"/>
                <a:gd name="T2" fmla="*/ 2147483647 w 291"/>
                <a:gd name="T3" fmla="*/ 2147483647 h 366"/>
                <a:gd name="T4" fmla="*/ 2147483647 w 291"/>
                <a:gd name="T5" fmla="*/ 2147483647 h 366"/>
                <a:gd name="T6" fmla="*/ 2147483647 w 291"/>
                <a:gd name="T7" fmla="*/ 2147483647 h 366"/>
                <a:gd name="T8" fmla="*/ 2147483647 w 291"/>
                <a:gd name="T9" fmla="*/ 2147483647 h 366"/>
                <a:gd name="T10" fmla="*/ 2147483647 w 291"/>
                <a:gd name="T11" fmla="*/ 2147483647 h 366"/>
                <a:gd name="T12" fmla="*/ 2147483647 w 291"/>
                <a:gd name="T13" fmla="*/ 2147483647 h 366"/>
                <a:gd name="T14" fmla="*/ 2147483647 w 291"/>
                <a:gd name="T15" fmla="*/ 2147483647 h 366"/>
                <a:gd name="T16" fmla="*/ 2147483647 w 291"/>
                <a:gd name="T17" fmla="*/ 2147483647 h 366"/>
                <a:gd name="T18" fmla="*/ 2147483647 w 291"/>
                <a:gd name="T19" fmla="*/ 2147483647 h 366"/>
                <a:gd name="T20" fmla="*/ 0 w 291"/>
                <a:gd name="T21" fmla="*/ 2147483647 h 366"/>
                <a:gd name="T22" fmla="*/ 0 w 291"/>
                <a:gd name="T23" fmla="*/ 2147483647 h 366"/>
                <a:gd name="T24" fmla="*/ 2147483647 w 291"/>
                <a:gd name="T25" fmla="*/ 0 h 366"/>
                <a:gd name="T26" fmla="*/ 2147483647 w 291"/>
                <a:gd name="T27" fmla="*/ 2147483647 h 366"/>
                <a:gd name="T28" fmla="*/ 2147483647 w 291"/>
                <a:gd name="T29" fmla="*/ 2147483647 h 366"/>
                <a:gd name="T30" fmla="*/ 2147483647 w 291"/>
                <a:gd name="T31" fmla="*/ 2147483647 h 366"/>
                <a:gd name="T32" fmla="*/ 2147483647 w 291"/>
                <a:gd name="T33" fmla="*/ 2147483647 h 366"/>
                <a:gd name="T34" fmla="*/ 2147483647 w 291"/>
                <a:gd name="T35" fmla="*/ 2147483647 h 366"/>
                <a:gd name="T36" fmla="*/ 2147483647 w 291"/>
                <a:gd name="T37" fmla="*/ 2147483647 h 366"/>
                <a:gd name="T38" fmla="*/ 2147483647 w 291"/>
                <a:gd name="T39" fmla="*/ 2147483647 h 366"/>
                <a:gd name="T40" fmla="*/ 2147483647 w 291"/>
                <a:gd name="T41" fmla="*/ 2147483647 h 366"/>
                <a:gd name="T42" fmla="*/ 2147483647 w 291"/>
                <a:gd name="T43" fmla="*/ 2147483647 h 36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91"/>
                <a:gd name="T67" fmla="*/ 0 h 366"/>
                <a:gd name="T68" fmla="*/ 291 w 291"/>
                <a:gd name="T69" fmla="*/ 366 h 36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91" h="366">
                  <a:moveTo>
                    <a:pt x="274" y="366"/>
                  </a:moveTo>
                  <a:lnTo>
                    <a:pt x="245" y="289"/>
                  </a:lnTo>
                  <a:lnTo>
                    <a:pt x="175" y="202"/>
                  </a:lnTo>
                  <a:lnTo>
                    <a:pt x="134" y="156"/>
                  </a:lnTo>
                  <a:lnTo>
                    <a:pt x="88" y="92"/>
                  </a:lnTo>
                  <a:lnTo>
                    <a:pt x="65" y="110"/>
                  </a:lnTo>
                  <a:lnTo>
                    <a:pt x="65" y="179"/>
                  </a:lnTo>
                  <a:lnTo>
                    <a:pt x="18" y="249"/>
                  </a:lnTo>
                  <a:lnTo>
                    <a:pt x="18" y="179"/>
                  </a:lnTo>
                  <a:lnTo>
                    <a:pt x="18" y="69"/>
                  </a:lnTo>
                  <a:lnTo>
                    <a:pt x="0" y="45"/>
                  </a:lnTo>
                  <a:lnTo>
                    <a:pt x="0" y="5"/>
                  </a:lnTo>
                  <a:lnTo>
                    <a:pt x="30" y="0"/>
                  </a:lnTo>
                  <a:lnTo>
                    <a:pt x="140" y="22"/>
                  </a:lnTo>
                  <a:lnTo>
                    <a:pt x="152" y="63"/>
                  </a:lnTo>
                  <a:lnTo>
                    <a:pt x="204" y="57"/>
                  </a:lnTo>
                  <a:lnTo>
                    <a:pt x="227" y="98"/>
                  </a:lnTo>
                  <a:lnTo>
                    <a:pt x="233" y="162"/>
                  </a:lnTo>
                  <a:lnTo>
                    <a:pt x="279" y="226"/>
                  </a:lnTo>
                  <a:lnTo>
                    <a:pt x="291" y="249"/>
                  </a:lnTo>
                  <a:lnTo>
                    <a:pt x="285" y="313"/>
                  </a:lnTo>
                  <a:lnTo>
                    <a:pt x="274" y="36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6" name="Freeform 868"/>
            <p:cNvSpPr>
              <a:spLocks/>
            </p:cNvSpPr>
            <p:nvPr/>
          </p:nvSpPr>
          <p:spPr bwMode="auto">
            <a:xfrm>
              <a:off x="8752108" y="3450832"/>
              <a:ext cx="289680" cy="249769"/>
            </a:xfrm>
            <a:custGeom>
              <a:avLst/>
              <a:gdLst>
                <a:gd name="T0" fmla="*/ 2147483647 w 535"/>
                <a:gd name="T1" fmla="*/ 2147483647 h 535"/>
                <a:gd name="T2" fmla="*/ 2147483647 w 535"/>
                <a:gd name="T3" fmla="*/ 2147483647 h 535"/>
                <a:gd name="T4" fmla="*/ 2147483647 w 535"/>
                <a:gd name="T5" fmla="*/ 2147483647 h 535"/>
                <a:gd name="T6" fmla="*/ 2147483647 w 535"/>
                <a:gd name="T7" fmla="*/ 2147483647 h 535"/>
                <a:gd name="T8" fmla="*/ 2147483647 w 535"/>
                <a:gd name="T9" fmla="*/ 2147483647 h 535"/>
                <a:gd name="T10" fmla="*/ 2147483647 w 535"/>
                <a:gd name="T11" fmla="*/ 2147483647 h 535"/>
                <a:gd name="T12" fmla="*/ 2147483647 w 535"/>
                <a:gd name="T13" fmla="*/ 2147483647 h 535"/>
                <a:gd name="T14" fmla="*/ 2147483647 w 535"/>
                <a:gd name="T15" fmla="*/ 2147483647 h 535"/>
                <a:gd name="T16" fmla="*/ 2147483647 w 535"/>
                <a:gd name="T17" fmla="*/ 2147483647 h 535"/>
                <a:gd name="T18" fmla="*/ 2147483647 w 535"/>
                <a:gd name="T19" fmla="*/ 2147483647 h 535"/>
                <a:gd name="T20" fmla="*/ 0 w 535"/>
                <a:gd name="T21" fmla="*/ 2147483647 h 535"/>
                <a:gd name="T22" fmla="*/ 2147483647 w 535"/>
                <a:gd name="T23" fmla="*/ 2147483647 h 535"/>
                <a:gd name="T24" fmla="*/ 2147483647 w 535"/>
                <a:gd name="T25" fmla="*/ 2147483647 h 535"/>
                <a:gd name="T26" fmla="*/ 2147483647 w 535"/>
                <a:gd name="T27" fmla="*/ 2147483647 h 535"/>
                <a:gd name="T28" fmla="*/ 2147483647 w 535"/>
                <a:gd name="T29" fmla="*/ 2147483647 h 535"/>
                <a:gd name="T30" fmla="*/ 2147483647 w 535"/>
                <a:gd name="T31" fmla="*/ 2147483647 h 535"/>
                <a:gd name="T32" fmla="*/ 2147483647 w 535"/>
                <a:gd name="T33" fmla="*/ 2147483647 h 535"/>
                <a:gd name="T34" fmla="*/ 2147483647 w 535"/>
                <a:gd name="T35" fmla="*/ 2147483647 h 535"/>
                <a:gd name="T36" fmla="*/ 2147483647 w 535"/>
                <a:gd name="T37" fmla="*/ 2147483647 h 535"/>
                <a:gd name="T38" fmla="*/ 2147483647 w 535"/>
                <a:gd name="T39" fmla="*/ 0 h 535"/>
                <a:gd name="T40" fmla="*/ 2147483647 w 535"/>
                <a:gd name="T41" fmla="*/ 0 h 535"/>
                <a:gd name="T42" fmla="*/ 2147483647 w 535"/>
                <a:gd name="T43" fmla="*/ 0 h 535"/>
                <a:gd name="T44" fmla="*/ 2147483647 w 535"/>
                <a:gd name="T45" fmla="*/ 2147483647 h 535"/>
                <a:gd name="T46" fmla="*/ 2147483647 w 535"/>
                <a:gd name="T47" fmla="*/ 2147483647 h 535"/>
                <a:gd name="T48" fmla="*/ 2147483647 w 535"/>
                <a:gd name="T49" fmla="*/ 2147483647 h 535"/>
                <a:gd name="T50" fmla="*/ 2147483647 w 535"/>
                <a:gd name="T51" fmla="*/ 2147483647 h 535"/>
                <a:gd name="T52" fmla="*/ 2147483647 w 535"/>
                <a:gd name="T53" fmla="*/ 2147483647 h 535"/>
                <a:gd name="T54" fmla="*/ 2147483647 w 535"/>
                <a:gd name="T55" fmla="*/ 2147483647 h 535"/>
                <a:gd name="T56" fmla="*/ 2147483647 w 535"/>
                <a:gd name="T57" fmla="*/ 2147483647 h 535"/>
                <a:gd name="T58" fmla="*/ 2147483647 w 535"/>
                <a:gd name="T59" fmla="*/ 2147483647 h 535"/>
                <a:gd name="T60" fmla="*/ 2147483647 w 535"/>
                <a:gd name="T61" fmla="*/ 2147483647 h 535"/>
                <a:gd name="T62" fmla="*/ 2147483647 w 535"/>
                <a:gd name="T63" fmla="*/ 2147483647 h 5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35"/>
                <a:gd name="T97" fmla="*/ 0 h 535"/>
                <a:gd name="T98" fmla="*/ 535 w 535"/>
                <a:gd name="T99" fmla="*/ 535 h 5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35" h="535">
                  <a:moveTo>
                    <a:pt x="314" y="535"/>
                  </a:moveTo>
                  <a:lnTo>
                    <a:pt x="314" y="471"/>
                  </a:lnTo>
                  <a:lnTo>
                    <a:pt x="250" y="378"/>
                  </a:lnTo>
                  <a:lnTo>
                    <a:pt x="250" y="332"/>
                  </a:lnTo>
                  <a:lnTo>
                    <a:pt x="250" y="309"/>
                  </a:lnTo>
                  <a:lnTo>
                    <a:pt x="238" y="285"/>
                  </a:lnTo>
                  <a:lnTo>
                    <a:pt x="175" y="291"/>
                  </a:lnTo>
                  <a:lnTo>
                    <a:pt x="163" y="250"/>
                  </a:lnTo>
                  <a:lnTo>
                    <a:pt x="41" y="222"/>
                  </a:lnTo>
                  <a:lnTo>
                    <a:pt x="6" y="222"/>
                  </a:lnTo>
                  <a:lnTo>
                    <a:pt x="0" y="198"/>
                  </a:lnTo>
                  <a:lnTo>
                    <a:pt x="35" y="94"/>
                  </a:lnTo>
                  <a:lnTo>
                    <a:pt x="70" y="94"/>
                  </a:lnTo>
                  <a:lnTo>
                    <a:pt x="70" y="157"/>
                  </a:lnTo>
                  <a:lnTo>
                    <a:pt x="111" y="204"/>
                  </a:lnTo>
                  <a:lnTo>
                    <a:pt x="227" y="180"/>
                  </a:lnTo>
                  <a:lnTo>
                    <a:pt x="227" y="77"/>
                  </a:lnTo>
                  <a:lnTo>
                    <a:pt x="273" y="65"/>
                  </a:lnTo>
                  <a:lnTo>
                    <a:pt x="325" y="30"/>
                  </a:lnTo>
                  <a:lnTo>
                    <a:pt x="367" y="0"/>
                  </a:lnTo>
                  <a:lnTo>
                    <a:pt x="424" y="0"/>
                  </a:lnTo>
                  <a:lnTo>
                    <a:pt x="442" y="0"/>
                  </a:lnTo>
                  <a:lnTo>
                    <a:pt x="459" y="42"/>
                  </a:lnTo>
                  <a:lnTo>
                    <a:pt x="535" y="70"/>
                  </a:lnTo>
                  <a:lnTo>
                    <a:pt x="506" y="105"/>
                  </a:lnTo>
                  <a:lnTo>
                    <a:pt x="424" y="192"/>
                  </a:lnTo>
                  <a:lnTo>
                    <a:pt x="395" y="250"/>
                  </a:lnTo>
                  <a:lnTo>
                    <a:pt x="384" y="332"/>
                  </a:lnTo>
                  <a:lnTo>
                    <a:pt x="384" y="378"/>
                  </a:lnTo>
                  <a:lnTo>
                    <a:pt x="337" y="378"/>
                  </a:lnTo>
                  <a:lnTo>
                    <a:pt x="314" y="448"/>
                  </a:lnTo>
                  <a:lnTo>
                    <a:pt x="314" y="53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7" name="Freeform 869"/>
            <p:cNvSpPr>
              <a:spLocks/>
            </p:cNvSpPr>
            <p:nvPr/>
          </p:nvSpPr>
          <p:spPr bwMode="auto">
            <a:xfrm>
              <a:off x="8787070" y="3485799"/>
              <a:ext cx="94895" cy="59945"/>
            </a:xfrm>
            <a:custGeom>
              <a:avLst/>
              <a:gdLst>
                <a:gd name="T0" fmla="*/ 0 w 168"/>
                <a:gd name="T1" fmla="*/ 2147483647 h 127"/>
                <a:gd name="T2" fmla="*/ 0 w 168"/>
                <a:gd name="T3" fmla="*/ 2147483647 h 127"/>
                <a:gd name="T4" fmla="*/ 2147483647 w 168"/>
                <a:gd name="T5" fmla="*/ 2147483647 h 127"/>
                <a:gd name="T6" fmla="*/ 2147483647 w 168"/>
                <a:gd name="T7" fmla="*/ 2147483647 h 127"/>
                <a:gd name="T8" fmla="*/ 2147483647 w 168"/>
                <a:gd name="T9" fmla="*/ 2147483647 h 127"/>
                <a:gd name="T10" fmla="*/ 2147483647 w 168"/>
                <a:gd name="T11" fmla="*/ 2147483647 h 127"/>
                <a:gd name="T12" fmla="*/ 2147483647 w 168"/>
                <a:gd name="T13" fmla="*/ 2147483647 h 127"/>
                <a:gd name="T14" fmla="*/ 2147483647 w 168"/>
                <a:gd name="T15" fmla="*/ 0 h 127"/>
                <a:gd name="T16" fmla="*/ 2147483647 w 168"/>
                <a:gd name="T17" fmla="*/ 2147483647 h 127"/>
                <a:gd name="T18" fmla="*/ 2147483647 w 168"/>
                <a:gd name="T19" fmla="*/ 2147483647 h 127"/>
                <a:gd name="T20" fmla="*/ 0 w 168"/>
                <a:gd name="T21" fmla="*/ 2147483647 h 1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8"/>
                <a:gd name="T34" fmla="*/ 0 h 127"/>
                <a:gd name="T35" fmla="*/ 168 w 168"/>
                <a:gd name="T36" fmla="*/ 127 h 1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8" h="127">
                  <a:moveTo>
                    <a:pt x="0" y="17"/>
                  </a:moveTo>
                  <a:lnTo>
                    <a:pt x="0" y="75"/>
                  </a:lnTo>
                  <a:lnTo>
                    <a:pt x="18" y="103"/>
                  </a:lnTo>
                  <a:lnTo>
                    <a:pt x="46" y="127"/>
                  </a:lnTo>
                  <a:lnTo>
                    <a:pt x="116" y="110"/>
                  </a:lnTo>
                  <a:lnTo>
                    <a:pt x="168" y="98"/>
                  </a:lnTo>
                  <a:lnTo>
                    <a:pt x="163" y="33"/>
                  </a:lnTo>
                  <a:lnTo>
                    <a:pt x="168" y="0"/>
                  </a:lnTo>
                  <a:lnTo>
                    <a:pt x="98" y="17"/>
                  </a:lnTo>
                  <a:lnTo>
                    <a:pt x="29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8" name="Freeform 870"/>
            <p:cNvSpPr>
              <a:spLocks/>
            </p:cNvSpPr>
            <p:nvPr/>
          </p:nvSpPr>
          <p:spPr bwMode="auto">
            <a:xfrm>
              <a:off x="8142783" y="3191070"/>
              <a:ext cx="634300" cy="854213"/>
            </a:xfrm>
            <a:custGeom>
              <a:avLst/>
              <a:gdLst>
                <a:gd name="T0" fmla="*/ 2147483647 w 1169"/>
                <a:gd name="T1" fmla="*/ 0 h 1848"/>
                <a:gd name="T2" fmla="*/ 2147483647 w 1169"/>
                <a:gd name="T3" fmla="*/ 2147483647 h 1848"/>
                <a:gd name="T4" fmla="*/ 2147483647 w 1169"/>
                <a:gd name="T5" fmla="*/ 2147483647 h 1848"/>
                <a:gd name="T6" fmla="*/ 2147483647 w 1169"/>
                <a:gd name="T7" fmla="*/ 2147483647 h 1848"/>
                <a:gd name="T8" fmla="*/ 2147483647 w 1169"/>
                <a:gd name="T9" fmla="*/ 2147483647 h 1848"/>
                <a:gd name="T10" fmla="*/ 2147483647 w 1169"/>
                <a:gd name="T11" fmla="*/ 2147483647 h 1848"/>
                <a:gd name="T12" fmla="*/ 2147483647 w 1169"/>
                <a:gd name="T13" fmla="*/ 2147483647 h 1848"/>
                <a:gd name="T14" fmla="*/ 2147483647 w 1169"/>
                <a:gd name="T15" fmla="*/ 2147483647 h 1848"/>
                <a:gd name="T16" fmla="*/ 2147483647 w 1169"/>
                <a:gd name="T17" fmla="*/ 2147483647 h 1848"/>
                <a:gd name="T18" fmla="*/ 2147483647 w 1169"/>
                <a:gd name="T19" fmla="*/ 2147483647 h 1848"/>
                <a:gd name="T20" fmla="*/ 2147483647 w 1169"/>
                <a:gd name="T21" fmla="*/ 2147483647 h 1848"/>
                <a:gd name="T22" fmla="*/ 2147483647 w 1169"/>
                <a:gd name="T23" fmla="*/ 2147483647 h 1848"/>
                <a:gd name="T24" fmla="*/ 2147483647 w 1169"/>
                <a:gd name="T25" fmla="*/ 2147483647 h 1848"/>
                <a:gd name="T26" fmla="*/ 2147483647 w 1169"/>
                <a:gd name="T27" fmla="*/ 2147483647 h 1848"/>
                <a:gd name="T28" fmla="*/ 2147483647 w 1169"/>
                <a:gd name="T29" fmla="*/ 2147483647 h 1848"/>
                <a:gd name="T30" fmla="*/ 2147483647 w 1169"/>
                <a:gd name="T31" fmla="*/ 2147483647 h 1848"/>
                <a:gd name="T32" fmla="*/ 2147483647 w 1169"/>
                <a:gd name="T33" fmla="*/ 2147483647 h 1848"/>
                <a:gd name="T34" fmla="*/ 0 w 1169"/>
                <a:gd name="T35" fmla="*/ 2147483647 h 1848"/>
                <a:gd name="T36" fmla="*/ 0 w 1169"/>
                <a:gd name="T37" fmla="*/ 2147483647 h 1848"/>
                <a:gd name="T38" fmla="*/ 2147483647 w 1169"/>
                <a:gd name="T39" fmla="*/ 2147483647 h 1848"/>
                <a:gd name="T40" fmla="*/ 2147483647 w 1169"/>
                <a:gd name="T41" fmla="*/ 2147483647 h 1848"/>
                <a:gd name="T42" fmla="*/ 2147483647 w 1169"/>
                <a:gd name="T43" fmla="*/ 2147483647 h 1848"/>
                <a:gd name="T44" fmla="*/ 2147483647 w 1169"/>
                <a:gd name="T45" fmla="*/ 2147483647 h 1848"/>
                <a:gd name="T46" fmla="*/ 2147483647 w 1169"/>
                <a:gd name="T47" fmla="*/ 2147483647 h 1848"/>
                <a:gd name="T48" fmla="*/ 2147483647 w 1169"/>
                <a:gd name="T49" fmla="*/ 2147483647 h 1848"/>
                <a:gd name="T50" fmla="*/ 2147483647 w 1169"/>
                <a:gd name="T51" fmla="*/ 2147483647 h 1848"/>
                <a:gd name="T52" fmla="*/ 2147483647 w 1169"/>
                <a:gd name="T53" fmla="*/ 2147483647 h 1848"/>
                <a:gd name="T54" fmla="*/ 2147483647 w 1169"/>
                <a:gd name="T55" fmla="*/ 2147483647 h 1848"/>
                <a:gd name="T56" fmla="*/ 2147483647 w 1169"/>
                <a:gd name="T57" fmla="*/ 2147483647 h 1848"/>
                <a:gd name="T58" fmla="*/ 2147483647 w 1169"/>
                <a:gd name="T59" fmla="*/ 2147483647 h 1848"/>
                <a:gd name="T60" fmla="*/ 2147483647 w 1169"/>
                <a:gd name="T61" fmla="*/ 2147483647 h 1848"/>
                <a:gd name="T62" fmla="*/ 2147483647 w 1169"/>
                <a:gd name="T63" fmla="*/ 2147483647 h 1848"/>
                <a:gd name="T64" fmla="*/ 2147483647 w 1169"/>
                <a:gd name="T65" fmla="*/ 2147483647 h 1848"/>
                <a:gd name="T66" fmla="*/ 2147483647 w 1169"/>
                <a:gd name="T67" fmla="*/ 2147483647 h 1848"/>
                <a:gd name="T68" fmla="*/ 2147483647 w 1169"/>
                <a:gd name="T69" fmla="*/ 2147483647 h 1848"/>
                <a:gd name="T70" fmla="*/ 2147483647 w 1169"/>
                <a:gd name="T71" fmla="*/ 2147483647 h 1848"/>
                <a:gd name="T72" fmla="*/ 2147483647 w 1169"/>
                <a:gd name="T73" fmla="*/ 2147483647 h 1848"/>
                <a:gd name="T74" fmla="*/ 2147483647 w 1169"/>
                <a:gd name="T75" fmla="*/ 2147483647 h 1848"/>
                <a:gd name="T76" fmla="*/ 2147483647 w 1169"/>
                <a:gd name="T77" fmla="*/ 2147483647 h 1848"/>
                <a:gd name="T78" fmla="*/ 2147483647 w 1169"/>
                <a:gd name="T79" fmla="*/ 2147483647 h 1848"/>
                <a:gd name="T80" fmla="*/ 2147483647 w 1169"/>
                <a:gd name="T81" fmla="*/ 2147483647 h 1848"/>
                <a:gd name="T82" fmla="*/ 2147483647 w 1169"/>
                <a:gd name="T83" fmla="*/ 2147483647 h 1848"/>
                <a:gd name="T84" fmla="*/ 2147483647 w 1169"/>
                <a:gd name="T85" fmla="*/ 2147483647 h 1848"/>
                <a:gd name="T86" fmla="*/ 2147483647 w 1169"/>
                <a:gd name="T87" fmla="*/ 2147483647 h 1848"/>
                <a:gd name="T88" fmla="*/ 2147483647 w 1169"/>
                <a:gd name="T89" fmla="*/ 2147483647 h 1848"/>
                <a:gd name="T90" fmla="*/ 2147483647 w 1169"/>
                <a:gd name="T91" fmla="*/ 2147483647 h 1848"/>
                <a:gd name="T92" fmla="*/ 2147483647 w 1169"/>
                <a:gd name="T93" fmla="*/ 2147483647 h 1848"/>
                <a:gd name="T94" fmla="*/ 2147483647 w 1169"/>
                <a:gd name="T95" fmla="*/ 2147483647 h 1848"/>
                <a:gd name="T96" fmla="*/ 2147483647 w 1169"/>
                <a:gd name="T97" fmla="*/ 2147483647 h 1848"/>
                <a:gd name="T98" fmla="*/ 2147483647 w 1169"/>
                <a:gd name="T99" fmla="*/ 2147483647 h 1848"/>
                <a:gd name="T100" fmla="*/ 2147483647 w 1169"/>
                <a:gd name="T101" fmla="*/ 2147483647 h 1848"/>
                <a:gd name="T102" fmla="*/ 2147483647 w 1169"/>
                <a:gd name="T103" fmla="*/ 2147483647 h 1848"/>
                <a:gd name="T104" fmla="*/ 2147483647 w 1169"/>
                <a:gd name="T105" fmla="*/ 2147483647 h 1848"/>
                <a:gd name="T106" fmla="*/ 2147483647 w 1169"/>
                <a:gd name="T107" fmla="*/ 2147483647 h 1848"/>
                <a:gd name="T108" fmla="*/ 2147483647 w 1169"/>
                <a:gd name="T109" fmla="*/ 2147483647 h 1848"/>
                <a:gd name="T110" fmla="*/ 2147483647 w 1169"/>
                <a:gd name="T111" fmla="*/ 2147483647 h 1848"/>
                <a:gd name="T112" fmla="*/ 2147483647 w 1169"/>
                <a:gd name="T113" fmla="*/ 2147483647 h 1848"/>
                <a:gd name="T114" fmla="*/ 2147483647 w 1169"/>
                <a:gd name="T115" fmla="*/ 2147483647 h 1848"/>
                <a:gd name="T116" fmla="*/ 2147483647 w 1169"/>
                <a:gd name="T117" fmla="*/ 2147483647 h 1848"/>
                <a:gd name="T118" fmla="*/ 2147483647 w 1169"/>
                <a:gd name="T119" fmla="*/ 2147483647 h 1848"/>
                <a:gd name="T120" fmla="*/ 2147483647 w 1169"/>
                <a:gd name="T121" fmla="*/ 2147483647 h 1848"/>
                <a:gd name="T122" fmla="*/ 2147483647 w 1169"/>
                <a:gd name="T123" fmla="*/ 0 h 18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69"/>
                <a:gd name="T187" fmla="*/ 0 h 1848"/>
                <a:gd name="T188" fmla="*/ 1169 w 1169"/>
                <a:gd name="T189" fmla="*/ 1848 h 18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69" h="1848">
                  <a:moveTo>
                    <a:pt x="356" y="0"/>
                  </a:moveTo>
                  <a:lnTo>
                    <a:pt x="222" y="47"/>
                  </a:lnTo>
                  <a:lnTo>
                    <a:pt x="199" y="70"/>
                  </a:lnTo>
                  <a:lnTo>
                    <a:pt x="199" y="110"/>
                  </a:lnTo>
                  <a:lnTo>
                    <a:pt x="268" y="180"/>
                  </a:lnTo>
                  <a:lnTo>
                    <a:pt x="222" y="250"/>
                  </a:lnTo>
                  <a:lnTo>
                    <a:pt x="244" y="314"/>
                  </a:lnTo>
                  <a:lnTo>
                    <a:pt x="384" y="337"/>
                  </a:lnTo>
                  <a:lnTo>
                    <a:pt x="384" y="361"/>
                  </a:lnTo>
                  <a:lnTo>
                    <a:pt x="338" y="406"/>
                  </a:lnTo>
                  <a:lnTo>
                    <a:pt x="268" y="587"/>
                  </a:lnTo>
                  <a:lnTo>
                    <a:pt x="222" y="657"/>
                  </a:lnTo>
                  <a:lnTo>
                    <a:pt x="88" y="697"/>
                  </a:lnTo>
                  <a:lnTo>
                    <a:pt x="112" y="767"/>
                  </a:lnTo>
                  <a:lnTo>
                    <a:pt x="175" y="854"/>
                  </a:lnTo>
                  <a:lnTo>
                    <a:pt x="112" y="895"/>
                  </a:lnTo>
                  <a:lnTo>
                    <a:pt x="65" y="872"/>
                  </a:lnTo>
                  <a:lnTo>
                    <a:pt x="0" y="854"/>
                  </a:lnTo>
                  <a:lnTo>
                    <a:pt x="0" y="895"/>
                  </a:lnTo>
                  <a:lnTo>
                    <a:pt x="24" y="941"/>
                  </a:lnTo>
                  <a:lnTo>
                    <a:pt x="134" y="941"/>
                  </a:lnTo>
                  <a:lnTo>
                    <a:pt x="134" y="964"/>
                  </a:lnTo>
                  <a:lnTo>
                    <a:pt x="65" y="987"/>
                  </a:lnTo>
                  <a:lnTo>
                    <a:pt x="134" y="1074"/>
                  </a:lnTo>
                  <a:lnTo>
                    <a:pt x="199" y="1074"/>
                  </a:lnTo>
                  <a:lnTo>
                    <a:pt x="244" y="964"/>
                  </a:lnTo>
                  <a:lnTo>
                    <a:pt x="268" y="1034"/>
                  </a:lnTo>
                  <a:lnTo>
                    <a:pt x="291" y="1261"/>
                  </a:lnTo>
                  <a:lnTo>
                    <a:pt x="401" y="1552"/>
                  </a:lnTo>
                  <a:lnTo>
                    <a:pt x="471" y="1708"/>
                  </a:lnTo>
                  <a:lnTo>
                    <a:pt x="541" y="1824"/>
                  </a:lnTo>
                  <a:lnTo>
                    <a:pt x="558" y="1848"/>
                  </a:lnTo>
                  <a:lnTo>
                    <a:pt x="675" y="1778"/>
                  </a:lnTo>
                  <a:lnTo>
                    <a:pt x="785" y="1552"/>
                  </a:lnTo>
                  <a:lnTo>
                    <a:pt x="832" y="1325"/>
                  </a:lnTo>
                  <a:lnTo>
                    <a:pt x="902" y="1284"/>
                  </a:lnTo>
                  <a:lnTo>
                    <a:pt x="1082" y="1168"/>
                  </a:lnTo>
                  <a:lnTo>
                    <a:pt x="1151" y="1057"/>
                  </a:lnTo>
                  <a:lnTo>
                    <a:pt x="1169" y="1034"/>
                  </a:lnTo>
                  <a:lnTo>
                    <a:pt x="1169" y="854"/>
                  </a:lnTo>
                  <a:lnTo>
                    <a:pt x="1151" y="807"/>
                  </a:lnTo>
                  <a:lnTo>
                    <a:pt x="1128" y="767"/>
                  </a:lnTo>
                  <a:lnTo>
                    <a:pt x="1128" y="743"/>
                  </a:lnTo>
                  <a:lnTo>
                    <a:pt x="994" y="743"/>
                  </a:lnTo>
                  <a:lnTo>
                    <a:pt x="948" y="720"/>
                  </a:lnTo>
                  <a:lnTo>
                    <a:pt x="878" y="680"/>
                  </a:lnTo>
                  <a:lnTo>
                    <a:pt x="785" y="680"/>
                  </a:lnTo>
                  <a:lnTo>
                    <a:pt x="675" y="563"/>
                  </a:lnTo>
                  <a:lnTo>
                    <a:pt x="675" y="541"/>
                  </a:lnTo>
                  <a:lnTo>
                    <a:pt x="675" y="471"/>
                  </a:lnTo>
                  <a:lnTo>
                    <a:pt x="605" y="453"/>
                  </a:lnTo>
                  <a:lnTo>
                    <a:pt x="558" y="406"/>
                  </a:lnTo>
                  <a:lnTo>
                    <a:pt x="541" y="314"/>
                  </a:lnTo>
                  <a:lnTo>
                    <a:pt x="541" y="274"/>
                  </a:lnTo>
                  <a:lnTo>
                    <a:pt x="581" y="180"/>
                  </a:lnTo>
                  <a:lnTo>
                    <a:pt x="605" y="134"/>
                  </a:lnTo>
                  <a:lnTo>
                    <a:pt x="605" y="47"/>
                  </a:lnTo>
                  <a:lnTo>
                    <a:pt x="541" y="99"/>
                  </a:lnTo>
                  <a:lnTo>
                    <a:pt x="506" y="105"/>
                  </a:lnTo>
                  <a:lnTo>
                    <a:pt x="401" y="93"/>
                  </a:lnTo>
                  <a:lnTo>
                    <a:pt x="373" y="23"/>
                  </a:lnTo>
                  <a:lnTo>
                    <a:pt x="35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69" name="Freeform 871"/>
            <p:cNvSpPr>
              <a:spLocks/>
            </p:cNvSpPr>
            <p:nvPr/>
          </p:nvSpPr>
          <p:spPr bwMode="auto">
            <a:xfrm>
              <a:off x="8507379" y="3405872"/>
              <a:ext cx="264709" cy="129880"/>
            </a:xfrm>
            <a:custGeom>
              <a:avLst/>
              <a:gdLst>
                <a:gd name="T0" fmla="*/ 0 w 488"/>
                <a:gd name="T1" fmla="*/ 0 h 272"/>
                <a:gd name="T2" fmla="*/ 0 w 488"/>
                <a:gd name="T3" fmla="*/ 2147483647 h 272"/>
                <a:gd name="T4" fmla="*/ 0 w 488"/>
                <a:gd name="T5" fmla="*/ 2147483647 h 272"/>
                <a:gd name="T6" fmla="*/ 2147483647 w 488"/>
                <a:gd name="T7" fmla="*/ 2147483647 h 272"/>
                <a:gd name="T8" fmla="*/ 2147483647 w 488"/>
                <a:gd name="T9" fmla="*/ 2147483647 h 272"/>
                <a:gd name="T10" fmla="*/ 2147483647 w 488"/>
                <a:gd name="T11" fmla="*/ 2147483647 h 272"/>
                <a:gd name="T12" fmla="*/ 2147483647 w 488"/>
                <a:gd name="T13" fmla="*/ 2147483647 h 272"/>
                <a:gd name="T14" fmla="*/ 2147483647 w 488"/>
                <a:gd name="T15" fmla="*/ 2147483647 h 272"/>
                <a:gd name="T16" fmla="*/ 2147483647 w 488"/>
                <a:gd name="T17" fmla="*/ 2147483647 h 272"/>
                <a:gd name="T18" fmla="*/ 2147483647 w 488"/>
                <a:gd name="T19" fmla="*/ 2147483647 h 272"/>
                <a:gd name="T20" fmla="*/ 2147483647 w 488"/>
                <a:gd name="T21" fmla="*/ 2147483647 h 272"/>
                <a:gd name="T22" fmla="*/ 2147483647 w 488"/>
                <a:gd name="T23" fmla="*/ 2147483647 h 272"/>
                <a:gd name="T24" fmla="*/ 2147483647 w 488"/>
                <a:gd name="T25" fmla="*/ 2147483647 h 272"/>
                <a:gd name="T26" fmla="*/ 2147483647 w 488"/>
                <a:gd name="T27" fmla="*/ 2147483647 h 272"/>
                <a:gd name="T28" fmla="*/ 2147483647 w 488"/>
                <a:gd name="T29" fmla="*/ 2147483647 h 272"/>
                <a:gd name="T30" fmla="*/ 2147483647 w 488"/>
                <a:gd name="T31" fmla="*/ 2147483647 h 272"/>
                <a:gd name="T32" fmla="*/ 2147483647 w 488"/>
                <a:gd name="T33" fmla="*/ 2147483647 h 272"/>
                <a:gd name="T34" fmla="*/ 2147483647 w 488"/>
                <a:gd name="T35" fmla="*/ 2147483647 h 272"/>
                <a:gd name="T36" fmla="*/ 2147483647 w 488"/>
                <a:gd name="T37" fmla="*/ 2147483647 h 272"/>
                <a:gd name="T38" fmla="*/ 2147483647 w 488"/>
                <a:gd name="T39" fmla="*/ 2147483647 h 272"/>
                <a:gd name="T40" fmla="*/ 2147483647 w 488"/>
                <a:gd name="T41" fmla="*/ 2147483647 h 272"/>
                <a:gd name="T42" fmla="*/ 0 w 488"/>
                <a:gd name="T43" fmla="*/ 0 h 2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88"/>
                <a:gd name="T67" fmla="*/ 0 h 272"/>
                <a:gd name="T68" fmla="*/ 488 w 488"/>
                <a:gd name="T69" fmla="*/ 272 h 2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88" h="272">
                  <a:moveTo>
                    <a:pt x="0" y="0"/>
                  </a:moveTo>
                  <a:lnTo>
                    <a:pt x="0" y="47"/>
                  </a:lnTo>
                  <a:lnTo>
                    <a:pt x="0" y="92"/>
                  </a:lnTo>
                  <a:lnTo>
                    <a:pt x="93" y="186"/>
                  </a:lnTo>
                  <a:lnTo>
                    <a:pt x="116" y="209"/>
                  </a:lnTo>
                  <a:lnTo>
                    <a:pt x="203" y="209"/>
                  </a:lnTo>
                  <a:lnTo>
                    <a:pt x="273" y="249"/>
                  </a:lnTo>
                  <a:lnTo>
                    <a:pt x="314" y="272"/>
                  </a:lnTo>
                  <a:lnTo>
                    <a:pt x="337" y="272"/>
                  </a:lnTo>
                  <a:lnTo>
                    <a:pt x="429" y="272"/>
                  </a:lnTo>
                  <a:lnTo>
                    <a:pt x="459" y="272"/>
                  </a:lnTo>
                  <a:lnTo>
                    <a:pt x="488" y="226"/>
                  </a:lnTo>
                  <a:lnTo>
                    <a:pt x="488" y="186"/>
                  </a:lnTo>
                  <a:lnTo>
                    <a:pt x="407" y="186"/>
                  </a:lnTo>
                  <a:lnTo>
                    <a:pt x="384" y="162"/>
                  </a:lnTo>
                  <a:lnTo>
                    <a:pt x="360" y="122"/>
                  </a:lnTo>
                  <a:lnTo>
                    <a:pt x="319" y="122"/>
                  </a:lnTo>
                  <a:lnTo>
                    <a:pt x="279" y="134"/>
                  </a:lnTo>
                  <a:lnTo>
                    <a:pt x="192" y="92"/>
                  </a:lnTo>
                  <a:lnTo>
                    <a:pt x="128" y="47"/>
                  </a:lnTo>
                  <a:lnTo>
                    <a:pt x="63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0" name="Freeform 872"/>
            <p:cNvSpPr>
              <a:spLocks/>
            </p:cNvSpPr>
            <p:nvPr/>
          </p:nvSpPr>
          <p:spPr bwMode="auto">
            <a:xfrm>
              <a:off x="7918031" y="3221041"/>
              <a:ext cx="434519" cy="384645"/>
            </a:xfrm>
            <a:custGeom>
              <a:avLst/>
              <a:gdLst>
                <a:gd name="T0" fmla="*/ 2147483647 w 796"/>
                <a:gd name="T1" fmla="*/ 0 h 825"/>
                <a:gd name="T2" fmla="*/ 2147483647 w 796"/>
                <a:gd name="T3" fmla="*/ 2147483647 h 825"/>
                <a:gd name="T4" fmla="*/ 2147483647 w 796"/>
                <a:gd name="T5" fmla="*/ 2147483647 h 825"/>
                <a:gd name="T6" fmla="*/ 2147483647 w 796"/>
                <a:gd name="T7" fmla="*/ 2147483647 h 825"/>
                <a:gd name="T8" fmla="*/ 2147483647 w 796"/>
                <a:gd name="T9" fmla="*/ 2147483647 h 825"/>
                <a:gd name="T10" fmla="*/ 2147483647 w 796"/>
                <a:gd name="T11" fmla="*/ 2147483647 h 825"/>
                <a:gd name="T12" fmla="*/ 2147483647 w 796"/>
                <a:gd name="T13" fmla="*/ 2147483647 h 825"/>
                <a:gd name="T14" fmla="*/ 2147483647 w 796"/>
                <a:gd name="T15" fmla="*/ 2147483647 h 825"/>
                <a:gd name="T16" fmla="*/ 2147483647 w 796"/>
                <a:gd name="T17" fmla="*/ 2147483647 h 825"/>
                <a:gd name="T18" fmla="*/ 2147483647 w 796"/>
                <a:gd name="T19" fmla="*/ 2147483647 h 825"/>
                <a:gd name="T20" fmla="*/ 2147483647 w 796"/>
                <a:gd name="T21" fmla="*/ 2147483647 h 825"/>
                <a:gd name="T22" fmla="*/ 2147483647 w 796"/>
                <a:gd name="T23" fmla="*/ 2147483647 h 825"/>
                <a:gd name="T24" fmla="*/ 2147483647 w 796"/>
                <a:gd name="T25" fmla="*/ 2147483647 h 825"/>
                <a:gd name="T26" fmla="*/ 0 w 796"/>
                <a:gd name="T27" fmla="*/ 2147483647 h 825"/>
                <a:gd name="T28" fmla="*/ 0 w 796"/>
                <a:gd name="T29" fmla="*/ 2147483647 h 825"/>
                <a:gd name="T30" fmla="*/ 2147483647 w 796"/>
                <a:gd name="T31" fmla="*/ 2147483647 h 825"/>
                <a:gd name="T32" fmla="*/ 2147483647 w 796"/>
                <a:gd name="T33" fmla="*/ 2147483647 h 825"/>
                <a:gd name="T34" fmla="*/ 2147483647 w 796"/>
                <a:gd name="T35" fmla="*/ 2147483647 h 825"/>
                <a:gd name="T36" fmla="*/ 2147483647 w 796"/>
                <a:gd name="T37" fmla="*/ 2147483647 h 825"/>
                <a:gd name="T38" fmla="*/ 2147483647 w 796"/>
                <a:gd name="T39" fmla="*/ 2147483647 h 825"/>
                <a:gd name="T40" fmla="*/ 2147483647 w 796"/>
                <a:gd name="T41" fmla="*/ 2147483647 h 825"/>
                <a:gd name="T42" fmla="*/ 2147483647 w 796"/>
                <a:gd name="T43" fmla="*/ 2147483647 h 825"/>
                <a:gd name="T44" fmla="*/ 2147483647 w 796"/>
                <a:gd name="T45" fmla="*/ 2147483647 h 825"/>
                <a:gd name="T46" fmla="*/ 2147483647 w 796"/>
                <a:gd name="T47" fmla="*/ 2147483647 h 825"/>
                <a:gd name="T48" fmla="*/ 2147483647 w 796"/>
                <a:gd name="T49" fmla="*/ 2147483647 h 825"/>
                <a:gd name="T50" fmla="*/ 2147483647 w 796"/>
                <a:gd name="T51" fmla="*/ 2147483647 h 825"/>
                <a:gd name="T52" fmla="*/ 2147483647 w 796"/>
                <a:gd name="T53" fmla="*/ 2147483647 h 825"/>
                <a:gd name="T54" fmla="*/ 2147483647 w 796"/>
                <a:gd name="T55" fmla="*/ 2147483647 h 825"/>
                <a:gd name="T56" fmla="*/ 2147483647 w 796"/>
                <a:gd name="T57" fmla="*/ 2147483647 h 825"/>
                <a:gd name="T58" fmla="*/ 2147483647 w 796"/>
                <a:gd name="T59" fmla="*/ 2147483647 h 825"/>
                <a:gd name="T60" fmla="*/ 2147483647 w 796"/>
                <a:gd name="T61" fmla="*/ 2147483647 h 825"/>
                <a:gd name="T62" fmla="*/ 2147483647 w 796"/>
                <a:gd name="T63" fmla="*/ 2147483647 h 825"/>
                <a:gd name="T64" fmla="*/ 2147483647 w 796"/>
                <a:gd name="T65" fmla="*/ 2147483647 h 825"/>
                <a:gd name="T66" fmla="*/ 2147483647 w 796"/>
                <a:gd name="T67" fmla="*/ 2147483647 h 825"/>
                <a:gd name="T68" fmla="*/ 2147483647 w 796"/>
                <a:gd name="T69" fmla="*/ 2147483647 h 825"/>
                <a:gd name="T70" fmla="*/ 2147483647 w 796"/>
                <a:gd name="T71" fmla="*/ 2147483647 h 825"/>
                <a:gd name="T72" fmla="*/ 2147483647 w 796"/>
                <a:gd name="T73" fmla="*/ 2147483647 h 825"/>
                <a:gd name="T74" fmla="*/ 2147483647 w 796"/>
                <a:gd name="T75" fmla="*/ 2147483647 h 825"/>
                <a:gd name="T76" fmla="*/ 2147483647 w 796"/>
                <a:gd name="T77" fmla="*/ 2147483647 h 825"/>
                <a:gd name="T78" fmla="*/ 2147483647 w 796"/>
                <a:gd name="T79" fmla="*/ 0 h 8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6"/>
                <a:gd name="T121" fmla="*/ 0 h 825"/>
                <a:gd name="T122" fmla="*/ 796 w 796"/>
                <a:gd name="T123" fmla="*/ 825 h 82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6" h="825">
                  <a:moveTo>
                    <a:pt x="611" y="0"/>
                  </a:moveTo>
                  <a:lnTo>
                    <a:pt x="546" y="17"/>
                  </a:lnTo>
                  <a:lnTo>
                    <a:pt x="524" y="17"/>
                  </a:lnTo>
                  <a:lnTo>
                    <a:pt x="517" y="92"/>
                  </a:lnTo>
                  <a:lnTo>
                    <a:pt x="500" y="157"/>
                  </a:lnTo>
                  <a:lnTo>
                    <a:pt x="477" y="157"/>
                  </a:lnTo>
                  <a:lnTo>
                    <a:pt x="436" y="267"/>
                  </a:lnTo>
                  <a:lnTo>
                    <a:pt x="389" y="296"/>
                  </a:lnTo>
                  <a:lnTo>
                    <a:pt x="360" y="354"/>
                  </a:lnTo>
                  <a:lnTo>
                    <a:pt x="250" y="360"/>
                  </a:lnTo>
                  <a:lnTo>
                    <a:pt x="250" y="448"/>
                  </a:lnTo>
                  <a:lnTo>
                    <a:pt x="163" y="471"/>
                  </a:lnTo>
                  <a:lnTo>
                    <a:pt x="93" y="448"/>
                  </a:lnTo>
                  <a:lnTo>
                    <a:pt x="0" y="424"/>
                  </a:lnTo>
                  <a:lnTo>
                    <a:pt x="0" y="493"/>
                  </a:lnTo>
                  <a:lnTo>
                    <a:pt x="93" y="563"/>
                  </a:lnTo>
                  <a:lnTo>
                    <a:pt x="93" y="627"/>
                  </a:lnTo>
                  <a:lnTo>
                    <a:pt x="46" y="627"/>
                  </a:lnTo>
                  <a:lnTo>
                    <a:pt x="23" y="720"/>
                  </a:lnTo>
                  <a:lnTo>
                    <a:pt x="116" y="720"/>
                  </a:lnTo>
                  <a:lnTo>
                    <a:pt x="297" y="720"/>
                  </a:lnTo>
                  <a:lnTo>
                    <a:pt x="343" y="760"/>
                  </a:lnTo>
                  <a:lnTo>
                    <a:pt x="412" y="825"/>
                  </a:lnTo>
                  <a:lnTo>
                    <a:pt x="412" y="784"/>
                  </a:lnTo>
                  <a:lnTo>
                    <a:pt x="454" y="802"/>
                  </a:lnTo>
                  <a:lnTo>
                    <a:pt x="517" y="825"/>
                  </a:lnTo>
                  <a:lnTo>
                    <a:pt x="587" y="784"/>
                  </a:lnTo>
                  <a:lnTo>
                    <a:pt x="500" y="627"/>
                  </a:lnTo>
                  <a:lnTo>
                    <a:pt x="564" y="610"/>
                  </a:lnTo>
                  <a:lnTo>
                    <a:pt x="634" y="587"/>
                  </a:lnTo>
                  <a:lnTo>
                    <a:pt x="750" y="401"/>
                  </a:lnTo>
                  <a:lnTo>
                    <a:pt x="750" y="360"/>
                  </a:lnTo>
                  <a:lnTo>
                    <a:pt x="796" y="267"/>
                  </a:lnTo>
                  <a:lnTo>
                    <a:pt x="703" y="244"/>
                  </a:lnTo>
                  <a:lnTo>
                    <a:pt x="663" y="244"/>
                  </a:lnTo>
                  <a:lnTo>
                    <a:pt x="634" y="169"/>
                  </a:lnTo>
                  <a:lnTo>
                    <a:pt x="680" y="110"/>
                  </a:lnTo>
                  <a:lnTo>
                    <a:pt x="622" y="52"/>
                  </a:lnTo>
                  <a:lnTo>
                    <a:pt x="611" y="17"/>
                  </a:lnTo>
                  <a:lnTo>
                    <a:pt x="611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1" name="Freeform 873"/>
            <p:cNvSpPr>
              <a:spLocks/>
            </p:cNvSpPr>
            <p:nvPr/>
          </p:nvSpPr>
          <p:spPr bwMode="auto">
            <a:xfrm>
              <a:off x="7868084" y="3156102"/>
              <a:ext cx="464486" cy="284737"/>
            </a:xfrm>
            <a:custGeom>
              <a:avLst/>
              <a:gdLst>
                <a:gd name="T0" fmla="*/ 2147483647 w 855"/>
                <a:gd name="T1" fmla="*/ 2147483647 h 611"/>
                <a:gd name="T2" fmla="*/ 2147483647 w 855"/>
                <a:gd name="T3" fmla="*/ 2147483647 h 611"/>
                <a:gd name="T4" fmla="*/ 2147483647 w 855"/>
                <a:gd name="T5" fmla="*/ 2147483647 h 611"/>
                <a:gd name="T6" fmla="*/ 0 w 855"/>
                <a:gd name="T7" fmla="*/ 2147483647 h 611"/>
                <a:gd name="T8" fmla="*/ 2147483647 w 855"/>
                <a:gd name="T9" fmla="*/ 2147483647 h 611"/>
                <a:gd name="T10" fmla="*/ 2147483647 w 855"/>
                <a:gd name="T11" fmla="*/ 2147483647 h 611"/>
                <a:gd name="T12" fmla="*/ 2147483647 w 855"/>
                <a:gd name="T13" fmla="*/ 2147483647 h 611"/>
                <a:gd name="T14" fmla="*/ 2147483647 w 855"/>
                <a:gd name="T15" fmla="*/ 2147483647 h 611"/>
                <a:gd name="T16" fmla="*/ 2147483647 w 855"/>
                <a:gd name="T17" fmla="*/ 2147483647 h 611"/>
                <a:gd name="T18" fmla="*/ 2147483647 w 855"/>
                <a:gd name="T19" fmla="*/ 2147483647 h 611"/>
                <a:gd name="T20" fmla="*/ 2147483647 w 855"/>
                <a:gd name="T21" fmla="*/ 2147483647 h 611"/>
                <a:gd name="T22" fmla="*/ 2147483647 w 855"/>
                <a:gd name="T23" fmla="*/ 2147483647 h 611"/>
                <a:gd name="T24" fmla="*/ 2147483647 w 855"/>
                <a:gd name="T25" fmla="*/ 2147483647 h 611"/>
                <a:gd name="T26" fmla="*/ 2147483647 w 855"/>
                <a:gd name="T27" fmla="*/ 2147483647 h 611"/>
                <a:gd name="T28" fmla="*/ 2147483647 w 855"/>
                <a:gd name="T29" fmla="*/ 2147483647 h 611"/>
                <a:gd name="T30" fmla="*/ 2147483647 w 855"/>
                <a:gd name="T31" fmla="*/ 2147483647 h 611"/>
                <a:gd name="T32" fmla="*/ 2147483647 w 855"/>
                <a:gd name="T33" fmla="*/ 2147483647 h 611"/>
                <a:gd name="T34" fmla="*/ 2147483647 w 855"/>
                <a:gd name="T35" fmla="*/ 2147483647 h 611"/>
                <a:gd name="T36" fmla="*/ 2147483647 w 855"/>
                <a:gd name="T37" fmla="*/ 2147483647 h 611"/>
                <a:gd name="T38" fmla="*/ 2147483647 w 855"/>
                <a:gd name="T39" fmla="*/ 2147483647 h 611"/>
                <a:gd name="T40" fmla="*/ 2147483647 w 855"/>
                <a:gd name="T41" fmla="*/ 2147483647 h 611"/>
                <a:gd name="T42" fmla="*/ 2147483647 w 855"/>
                <a:gd name="T43" fmla="*/ 2147483647 h 611"/>
                <a:gd name="T44" fmla="*/ 2147483647 w 855"/>
                <a:gd name="T45" fmla="*/ 0 h 611"/>
                <a:gd name="T46" fmla="*/ 2147483647 w 855"/>
                <a:gd name="T47" fmla="*/ 2147483647 h 611"/>
                <a:gd name="T48" fmla="*/ 2147483647 w 855"/>
                <a:gd name="T49" fmla="*/ 2147483647 h 611"/>
                <a:gd name="T50" fmla="*/ 2147483647 w 855"/>
                <a:gd name="T51" fmla="*/ 2147483647 h 611"/>
                <a:gd name="T52" fmla="*/ 2147483647 w 855"/>
                <a:gd name="T53" fmla="*/ 2147483647 h 611"/>
                <a:gd name="T54" fmla="*/ 2147483647 w 855"/>
                <a:gd name="T55" fmla="*/ 2147483647 h 611"/>
                <a:gd name="T56" fmla="*/ 2147483647 w 855"/>
                <a:gd name="T57" fmla="*/ 2147483647 h 611"/>
                <a:gd name="T58" fmla="*/ 2147483647 w 855"/>
                <a:gd name="T59" fmla="*/ 2147483647 h 611"/>
                <a:gd name="T60" fmla="*/ 2147483647 w 855"/>
                <a:gd name="T61" fmla="*/ 2147483647 h 611"/>
                <a:gd name="T62" fmla="*/ 2147483647 w 855"/>
                <a:gd name="T63" fmla="*/ 2147483647 h 611"/>
                <a:gd name="T64" fmla="*/ 2147483647 w 855"/>
                <a:gd name="T65" fmla="*/ 2147483647 h 6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55"/>
                <a:gd name="T100" fmla="*/ 0 h 611"/>
                <a:gd name="T101" fmla="*/ 855 w 855"/>
                <a:gd name="T102" fmla="*/ 611 h 61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55" h="611">
                  <a:moveTo>
                    <a:pt x="63" y="169"/>
                  </a:moveTo>
                  <a:lnTo>
                    <a:pt x="18" y="274"/>
                  </a:lnTo>
                  <a:lnTo>
                    <a:pt x="46" y="344"/>
                  </a:lnTo>
                  <a:lnTo>
                    <a:pt x="0" y="431"/>
                  </a:lnTo>
                  <a:lnTo>
                    <a:pt x="46" y="476"/>
                  </a:lnTo>
                  <a:lnTo>
                    <a:pt x="110" y="476"/>
                  </a:lnTo>
                  <a:lnTo>
                    <a:pt x="110" y="541"/>
                  </a:lnTo>
                  <a:lnTo>
                    <a:pt x="87" y="564"/>
                  </a:lnTo>
                  <a:lnTo>
                    <a:pt x="250" y="611"/>
                  </a:lnTo>
                  <a:lnTo>
                    <a:pt x="337" y="588"/>
                  </a:lnTo>
                  <a:lnTo>
                    <a:pt x="337" y="500"/>
                  </a:lnTo>
                  <a:lnTo>
                    <a:pt x="454" y="500"/>
                  </a:lnTo>
                  <a:lnTo>
                    <a:pt x="476" y="431"/>
                  </a:lnTo>
                  <a:lnTo>
                    <a:pt x="523" y="407"/>
                  </a:lnTo>
                  <a:lnTo>
                    <a:pt x="564" y="297"/>
                  </a:lnTo>
                  <a:lnTo>
                    <a:pt x="587" y="297"/>
                  </a:lnTo>
                  <a:lnTo>
                    <a:pt x="611" y="227"/>
                  </a:lnTo>
                  <a:lnTo>
                    <a:pt x="611" y="157"/>
                  </a:lnTo>
                  <a:lnTo>
                    <a:pt x="633" y="157"/>
                  </a:lnTo>
                  <a:lnTo>
                    <a:pt x="698" y="140"/>
                  </a:lnTo>
                  <a:lnTo>
                    <a:pt x="721" y="117"/>
                  </a:lnTo>
                  <a:lnTo>
                    <a:pt x="855" y="70"/>
                  </a:lnTo>
                  <a:lnTo>
                    <a:pt x="825" y="0"/>
                  </a:lnTo>
                  <a:lnTo>
                    <a:pt x="715" y="30"/>
                  </a:lnTo>
                  <a:lnTo>
                    <a:pt x="651" y="41"/>
                  </a:lnTo>
                  <a:lnTo>
                    <a:pt x="611" y="6"/>
                  </a:lnTo>
                  <a:lnTo>
                    <a:pt x="499" y="47"/>
                  </a:lnTo>
                  <a:lnTo>
                    <a:pt x="389" y="30"/>
                  </a:lnTo>
                  <a:lnTo>
                    <a:pt x="279" y="105"/>
                  </a:lnTo>
                  <a:lnTo>
                    <a:pt x="227" y="145"/>
                  </a:lnTo>
                  <a:lnTo>
                    <a:pt x="140" y="204"/>
                  </a:lnTo>
                  <a:lnTo>
                    <a:pt x="93" y="180"/>
                  </a:lnTo>
                  <a:lnTo>
                    <a:pt x="63" y="16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2" name="Freeform 874"/>
            <p:cNvSpPr>
              <a:spLocks/>
            </p:cNvSpPr>
            <p:nvPr/>
          </p:nvSpPr>
          <p:spPr bwMode="auto">
            <a:xfrm>
              <a:off x="7373631" y="3101151"/>
              <a:ext cx="594344" cy="454582"/>
            </a:xfrm>
            <a:custGeom>
              <a:avLst/>
              <a:gdLst>
                <a:gd name="T0" fmla="*/ 2147483647 w 1104"/>
                <a:gd name="T1" fmla="*/ 0 h 982"/>
                <a:gd name="T2" fmla="*/ 0 w 1104"/>
                <a:gd name="T3" fmla="*/ 2147483647 h 982"/>
                <a:gd name="T4" fmla="*/ 0 w 1104"/>
                <a:gd name="T5" fmla="*/ 2147483647 h 982"/>
                <a:gd name="T6" fmla="*/ 2147483647 w 1104"/>
                <a:gd name="T7" fmla="*/ 2147483647 h 982"/>
                <a:gd name="T8" fmla="*/ 2147483647 w 1104"/>
                <a:gd name="T9" fmla="*/ 2147483647 h 982"/>
                <a:gd name="T10" fmla="*/ 2147483647 w 1104"/>
                <a:gd name="T11" fmla="*/ 2147483647 h 982"/>
                <a:gd name="T12" fmla="*/ 2147483647 w 1104"/>
                <a:gd name="T13" fmla="*/ 2147483647 h 982"/>
                <a:gd name="T14" fmla="*/ 2147483647 w 1104"/>
                <a:gd name="T15" fmla="*/ 2147483647 h 982"/>
                <a:gd name="T16" fmla="*/ 2147483647 w 1104"/>
                <a:gd name="T17" fmla="*/ 2147483647 h 982"/>
                <a:gd name="T18" fmla="*/ 2147483647 w 1104"/>
                <a:gd name="T19" fmla="*/ 2147483647 h 982"/>
                <a:gd name="T20" fmla="*/ 2147483647 w 1104"/>
                <a:gd name="T21" fmla="*/ 2147483647 h 982"/>
                <a:gd name="T22" fmla="*/ 2147483647 w 1104"/>
                <a:gd name="T23" fmla="*/ 2147483647 h 982"/>
                <a:gd name="T24" fmla="*/ 2147483647 w 1104"/>
                <a:gd name="T25" fmla="*/ 2147483647 h 982"/>
                <a:gd name="T26" fmla="*/ 2147483647 w 1104"/>
                <a:gd name="T27" fmla="*/ 2147483647 h 982"/>
                <a:gd name="T28" fmla="*/ 2147483647 w 1104"/>
                <a:gd name="T29" fmla="*/ 2147483647 h 982"/>
                <a:gd name="T30" fmla="*/ 2147483647 w 1104"/>
                <a:gd name="T31" fmla="*/ 2147483647 h 982"/>
                <a:gd name="T32" fmla="*/ 2147483647 w 1104"/>
                <a:gd name="T33" fmla="*/ 2147483647 h 982"/>
                <a:gd name="T34" fmla="*/ 2147483647 w 1104"/>
                <a:gd name="T35" fmla="*/ 2147483647 h 982"/>
                <a:gd name="T36" fmla="*/ 2147483647 w 1104"/>
                <a:gd name="T37" fmla="*/ 2147483647 h 982"/>
                <a:gd name="T38" fmla="*/ 2147483647 w 1104"/>
                <a:gd name="T39" fmla="*/ 2147483647 h 982"/>
                <a:gd name="T40" fmla="*/ 2147483647 w 1104"/>
                <a:gd name="T41" fmla="*/ 2147483647 h 982"/>
                <a:gd name="T42" fmla="*/ 2147483647 w 1104"/>
                <a:gd name="T43" fmla="*/ 2147483647 h 982"/>
                <a:gd name="T44" fmla="*/ 2147483647 w 1104"/>
                <a:gd name="T45" fmla="*/ 2147483647 h 982"/>
                <a:gd name="T46" fmla="*/ 2147483647 w 1104"/>
                <a:gd name="T47" fmla="*/ 2147483647 h 982"/>
                <a:gd name="T48" fmla="*/ 2147483647 w 1104"/>
                <a:gd name="T49" fmla="*/ 2147483647 h 982"/>
                <a:gd name="T50" fmla="*/ 2147483647 w 1104"/>
                <a:gd name="T51" fmla="*/ 2147483647 h 982"/>
                <a:gd name="T52" fmla="*/ 2147483647 w 1104"/>
                <a:gd name="T53" fmla="*/ 2147483647 h 982"/>
                <a:gd name="T54" fmla="*/ 2147483647 w 1104"/>
                <a:gd name="T55" fmla="*/ 2147483647 h 982"/>
                <a:gd name="T56" fmla="*/ 2147483647 w 1104"/>
                <a:gd name="T57" fmla="*/ 2147483647 h 982"/>
                <a:gd name="T58" fmla="*/ 2147483647 w 1104"/>
                <a:gd name="T59" fmla="*/ 2147483647 h 982"/>
                <a:gd name="T60" fmla="*/ 2147483647 w 1104"/>
                <a:gd name="T61" fmla="*/ 2147483647 h 982"/>
                <a:gd name="T62" fmla="*/ 2147483647 w 1104"/>
                <a:gd name="T63" fmla="*/ 2147483647 h 982"/>
                <a:gd name="T64" fmla="*/ 2147483647 w 1104"/>
                <a:gd name="T65" fmla="*/ 2147483647 h 982"/>
                <a:gd name="T66" fmla="*/ 2147483647 w 1104"/>
                <a:gd name="T67" fmla="*/ 2147483647 h 982"/>
                <a:gd name="T68" fmla="*/ 2147483647 w 1104"/>
                <a:gd name="T69" fmla="*/ 2147483647 h 982"/>
                <a:gd name="T70" fmla="*/ 2147483647 w 1104"/>
                <a:gd name="T71" fmla="*/ 2147483647 h 982"/>
                <a:gd name="T72" fmla="*/ 2147483647 w 1104"/>
                <a:gd name="T73" fmla="*/ 2147483647 h 982"/>
                <a:gd name="T74" fmla="*/ 2147483647 w 1104"/>
                <a:gd name="T75" fmla="*/ 2147483647 h 982"/>
                <a:gd name="T76" fmla="*/ 2147483647 w 1104"/>
                <a:gd name="T77" fmla="*/ 2147483647 h 982"/>
                <a:gd name="T78" fmla="*/ 2147483647 w 1104"/>
                <a:gd name="T79" fmla="*/ 2147483647 h 982"/>
                <a:gd name="T80" fmla="*/ 2147483647 w 1104"/>
                <a:gd name="T81" fmla="*/ 2147483647 h 982"/>
                <a:gd name="T82" fmla="*/ 2147483647 w 1104"/>
                <a:gd name="T83" fmla="*/ 2147483647 h 982"/>
                <a:gd name="T84" fmla="*/ 2147483647 w 1104"/>
                <a:gd name="T85" fmla="*/ 2147483647 h 982"/>
                <a:gd name="T86" fmla="*/ 2147483647 w 1104"/>
                <a:gd name="T87" fmla="*/ 0 h 982"/>
                <a:gd name="T88" fmla="*/ 2147483647 w 1104"/>
                <a:gd name="T89" fmla="*/ 0 h 982"/>
                <a:gd name="T90" fmla="*/ 2147483647 w 1104"/>
                <a:gd name="T91" fmla="*/ 0 h 98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4"/>
                <a:gd name="T139" fmla="*/ 0 h 982"/>
                <a:gd name="T140" fmla="*/ 1104 w 1104"/>
                <a:gd name="T141" fmla="*/ 982 h 98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4" h="982">
                  <a:moveTo>
                    <a:pt x="17" y="0"/>
                  </a:moveTo>
                  <a:lnTo>
                    <a:pt x="0" y="100"/>
                  </a:lnTo>
                  <a:lnTo>
                    <a:pt x="0" y="145"/>
                  </a:lnTo>
                  <a:lnTo>
                    <a:pt x="70" y="262"/>
                  </a:lnTo>
                  <a:lnTo>
                    <a:pt x="157" y="279"/>
                  </a:lnTo>
                  <a:lnTo>
                    <a:pt x="110" y="372"/>
                  </a:lnTo>
                  <a:lnTo>
                    <a:pt x="134" y="442"/>
                  </a:lnTo>
                  <a:lnTo>
                    <a:pt x="227" y="466"/>
                  </a:lnTo>
                  <a:lnTo>
                    <a:pt x="249" y="576"/>
                  </a:lnTo>
                  <a:lnTo>
                    <a:pt x="314" y="663"/>
                  </a:lnTo>
                  <a:lnTo>
                    <a:pt x="383" y="686"/>
                  </a:lnTo>
                  <a:lnTo>
                    <a:pt x="430" y="779"/>
                  </a:lnTo>
                  <a:lnTo>
                    <a:pt x="471" y="802"/>
                  </a:lnTo>
                  <a:lnTo>
                    <a:pt x="586" y="872"/>
                  </a:lnTo>
                  <a:lnTo>
                    <a:pt x="651" y="889"/>
                  </a:lnTo>
                  <a:lnTo>
                    <a:pt x="767" y="872"/>
                  </a:lnTo>
                  <a:lnTo>
                    <a:pt x="790" y="935"/>
                  </a:lnTo>
                  <a:lnTo>
                    <a:pt x="947" y="959"/>
                  </a:lnTo>
                  <a:lnTo>
                    <a:pt x="1052" y="982"/>
                  </a:lnTo>
                  <a:lnTo>
                    <a:pt x="1057" y="907"/>
                  </a:lnTo>
                  <a:lnTo>
                    <a:pt x="1104" y="883"/>
                  </a:lnTo>
                  <a:lnTo>
                    <a:pt x="1104" y="825"/>
                  </a:lnTo>
                  <a:lnTo>
                    <a:pt x="1011" y="755"/>
                  </a:lnTo>
                  <a:lnTo>
                    <a:pt x="1011" y="686"/>
                  </a:lnTo>
                  <a:lnTo>
                    <a:pt x="1034" y="663"/>
                  </a:lnTo>
                  <a:lnTo>
                    <a:pt x="1034" y="598"/>
                  </a:lnTo>
                  <a:lnTo>
                    <a:pt x="970" y="598"/>
                  </a:lnTo>
                  <a:lnTo>
                    <a:pt x="924" y="553"/>
                  </a:lnTo>
                  <a:lnTo>
                    <a:pt x="970" y="471"/>
                  </a:lnTo>
                  <a:lnTo>
                    <a:pt x="947" y="396"/>
                  </a:lnTo>
                  <a:lnTo>
                    <a:pt x="987" y="279"/>
                  </a:lnTo>
                  <a:lnTo>
                    <a:pt x="970" y="215"/>
                  </a:lnTo>
                  <a:lnTo>
                    <a:pt x="900" y="145"/>
                  </a:lnTo>
                  <a:lnTo>
                    <a:pt x="767" y="128"/>
                  </a:lnTo>
                  <a:lnTo>
                    <a:pt x="685" y="122"/>
                  </a:lnTo>
                  <a:lnTo>
                    <a:pt x="639" y="128"/>
                  </a:lnTo>
                  <a:lnTo>
                    <a:pt x="586" y="145"/>
                  </a:lnTo>
                  <a:lnTo>
                    <a:pt x="581" y="192"/>
                  </a:lnTo>
                  <a:lnTo>
                    <a:pt x="453" y="215"/>
                  </a:lnTo>
                  <a:lnTo>
                    <a:pt x="361" y="169"/>
                  </a:lnTo>
                  <a:lnTo>
                    <a:pt x="267" y="58"/>
                  </a:lnTo>
                  <a:lnTo>
                    <a:pt x="244" y="35"/>
                  </a:lnTo>
                  <a:lnTo>
                    <a:pt x="122" y="82"/>
                  </a:lnTo>
                  <a:lnTo>
                    <a:pt x="64" y="0"/>
                  </a:lnTo>
                  <a:lnTo>
                    <a:pt x="40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3" name="Freeform 875"/>
            <p:cNvSpPr>
              <a:spLocks/>
            </p:cNvSpPr>
            <p:nvPr/>
          </p:nvSpPr>
          <p:spPr bwMode="auto">
            <a:xfrm>
              <a:off x="7608373" y="3505780"/>
              <a:ext cx="19977" cy="29971"/>
            </a:xfrm>
            <a:custGeom>
              <a:avLst/>
              <a:gdLst>
                <a:gd name="T0" fmla="*/ 2147483647 w 41"/>
                <a:gd name="T1" fmla="*/ 2147483647 h 63"/>
                <a:gd name="T2" fmla="*/ 2147483647 w 41"/>
                <a:gd name="T3" fmla="*/ 0 h 63"/>
                <a:gd name="T4" fmla="*/ 0 w 41"/>
                <a:gd name="T5" fmla="*/ 0 h 63"/>
                <a:gd name="T6" fmla="*/ 0 w 41"/>
                <a:gd name="T7" fmla="*/ 2147483647 h 63"/>
                <a:gd name="T8" fmla="*/ 2147483647 w 41"/>
                <a:gd name="T9" fmla="*/ 2147483647 h 63"/>
                <a:gd name="T10" fmla="*/ 2147483647 w 41"/>
                <a:gd name="T11" fmla="*/ 2147483647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63"/>
                <a:gd name="T20" fmla="*/ 41 w 4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63">
                  <a:moveTo>
                    <a:pt x="41" y="40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41" y="63"/>
                  </a:lnTo>
                  <a:lnTo>
                    <a:pt x="41" y="4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4" name="Freeform 876"/>
            <p:cNvSpPr>
              <a:spLocks/>
            </p:cNvSpPr>
            <p:nvPr/>
          </p:nvSpPr>
          <p:spPr bwMode="auto">
            <a:xfrm>
              <a:off x="7083951" y="3355917"/>
              <a:ext cx="649282" cy="469568"/>
            </a:xfrm>
            <a:custGeom>
              <a:avLst/>
              <a:gdLst>
                <a:gd name="T0" fmla="*/ 0 w 1196"/>
                <a:gd name="T1" fmla="*/ 2147483647 h 1010"/>
                <a:gd name="T2" fmla="*/ 0 w 1196"/>
                <a:gd name="T3" fmla="*/ 2147483647 h 1010"/>
                <a:gd name="T4" fmla="*/ 2147483647 w 1196"/>
                <a:gd name="T5" fmla="*/ 2147483647 h 1010"/>
                <a:gd name="T6" fmla="*/ 2147483647 w 1196"/>
                <a:gd name="T7" fmla="*/ 2147483647 h 1010"/>
                <a:gd name="T8" fmla="*/ 2147483647 w 1196"/>
                <a:gd name="T9" fmla="*/ 2147483647 h 1010"/>
                <a:gd name="T10" fmla="*/ 2147483647 w 1196"/>
                <a:gd name="T11" fmla="*/ 2147483647 h 1010"/>
                <a:gd name="T12" fmla="*/ 2147483647 w 1196"/>
                <a:gd name="T13" fmla="*/ 2147483647 h 1010"/>
                <a:gd name="T14" fmla="*/ 2147483647 w 1196"/>
                <a:gd name="T15" fmla="*/ 2147483647 h 1010"/>
                <a:gd name="T16" fmla="*/ 2147483647 w 1196"/>
                <a:gd name="T17" fmla="*/ 2147483647 h 1010"/>
                <a:gd name="T18" fmla="*/ 2147483647 w 1196"/>
                <a:gd name="T19" fmla="*/ 2147483647 h 1010"/>
                <a:gd name="T20" fmla="*/ 2147483647 w 1196"/>
                <a:gd name="T21" fmla="*/ 2147483647 h 1010"/>
                <a:gd name="T22" fmla="*/ 2147483647 w 1196"/>
                <a:gd name="T23" fmla="*/ 2147483647 h 1010"/>
                <a:gd name="T24" fmla="*/ 2147483647 w 1196"/>
                <a:gd name="T25" fmla="*/ 2147483647 h 1010"/>
                <a:gd name="T26" fmla="*/ 2147483647 w 1196"/>
                <a:gd name="T27" fmla="*/ 2147483647 h 1010"/>
                <a:gd name="T28" fmla="*/ 2147483647 w 1196"/>
                <a:gd name="T29" fmla="*/ 2147483647 h 1010"/>
                <a:gd name="T30" fmla="*/ 2147483647 w 1196"/>
                <a:gd name="T31" fmla="*/ 2147483647 h 1010"/>
                <a:gd name="T32" fmla="*/ 2147483647 w 1196"/>
                <a:gd name="T33" fmla="*/ 2147483647 h 1010"/>
                <a:gd name="T34" fmla="*/ 2147483647 w 1196"/>
                <a:gd name="T35" fmla="*/ 2147483647 h 1010"/>
                <a:gd name="T36" fmla="*/ 2147483647 w 1196"/>
                <a:gd name="T37" fmla="*/ 2147483647 h 1010"/>
                <a:gd name="T38" fmla="*/ 2147483647 w 1196"/>
                <a:gd name="T39" fmla="*/ 2147483647 h 1010"/>
                <a:gd name="T40" fmla="*/ 2147483647 w 1196"/>
                <a:gd name="T41" fmla="*/ 2147483647 h 1010"/>
                <a:gd name="T42" fmla="*/ 2147483647 w 1196"/>
                <a:gd name="T43" fmla="*/ 2147483647 h 1010"/>
                <a:gd name="T44" fmla="*/ 2147483647 w 1196"/>
                <a:gd name="T45" fmla="*/ 2147483647 h 1010"/>
                <a:gd name="T46" fmla="*/ 2147483647 w 1196"/>
                <a:gd name="T47" fmla="*/ 2147483647 h 1010"/>
                <a:gd name="T48" fmla="*/ 2147483647 w 1196"/>
                <a:gd name="T49" fmla="*/ 2147483647 h 1010"/>
                <a:gd name="T50" fmla="*/ 2147483647 w 1196"/>
                <a:gd name="T51" fmla="*/ 2147483647 h 1010"/>
                <a:gd name="T52" fmla="*/ 2147483647 w 1196"/>
                <a:gd name="T53" fmla="*/ 2147483647 h 1010"/>
                <a:gd name="T54" fmla="*/ 2147483647 w 1196"/>
                <a:gd name="T55" fmla="*/ 2147483647 h 1010"/>
                <a:gd name="T56" fmla="*/ 2147483647 w 1196"/>
                <a:gd name="T57" fmla="*/ 2147483647 h 1010"/>
                <a:gd name="T58" fmla="*/ 2147483647 w 1196"/>
                <a:gd name="T59" fmla="*/ 0 h 1010"/>
                <a:gd name="T60" fmla="*/ 2147483647 w 1196"/>
                <a:gd name="T61" fmla="*/ 0 h 1010"/>
                <a:gd name="T62" fmla="*/ 2147483647 w 1196"/>
                <a:gd name="T63" fmla="*/ 2147483647 h 1010"/>
                <a:gd name="T64" fmla="*/ 2147483647 w 1196"/>
                <a:gd name="T65" fmla="*/ 2147483647 h 1010"/>
                <a:gd name="T66" fmla="*/ 2147483647 w 1196"/>
                <a:gd name="T67" fmla="*/ 2147483647 h 1010"/>
                <a:gd name="T68" fmla="*/ 2147483647 w 1196"/>
                <a:gd name="T69" fmla="*/ 2147483647 h 1010"/>
                <a:gd name="T70" fmla="*/ 2147483647 w 1196"/>
                <a:gd name="T71" fmla="*/ 2147483647 h 1010"/>
                <a:gd name="T72" fmla="*/ 2147483647 w 1196"/>
                <a:gd name="T73" fmla="*/ 2147483647 h 1010"/>
                <a:gd name="T74" fmla="*/ 2147483647 w 1196"/>
                <a:gd name="T75" fmla="*/ 2147483647 h 1010"/>
                <a:gd name="T76" fmla="*/ 0 w 1196"/>
                <a:gd name="T77" fmla="*/ 2147483647 h 101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96"/>
                <a:gd name="T118" fmla="*/ 0 h 1010"/>
                <a:gd name="T119" fmla="*/ 1196 w 1196"/>
                <a:gd name="T120" fmla="*/ 1010 h 101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96" h="1010">
                  <a:moveTo>
                    <a:pt x="0" y="157"/>
                  </a:moveTo>
                  <a:lnTo>
                    <a:pt x="0" y="226"/>
                  </a:lnTo>
                  <a:lnTo>
                    <a:pt x="46" y="272"/>
                  </a:lnTo>
                  <a:lnTo>
                    <a:pt x="162" y="406"/>
                  </a:lnTo>
                  <a:lnTo>
                    <a:pt x="186" y="446"/>
                  </a:lnTo>
                  <a:lnTo>
                    <a:pt x="226" y="626"/>
                  </a:lnTo>
                  <a:lnTo>
                    <a:pt x="366" y="807"/>
                  </a:lnTo>
                  <a:lnTo>
                    <a:pt x="453" y="1010"/>
                  </a:lnTo>
                  <a:lnTo>
                    <a:pt x="500" y="975"/>
                  </a:lnTo>
                  <a:lnTo>
                    <a:pt x="500" y="923"/>
                  </a:lnTo>
                  <a:lnTo>
                    <a:pt x="587" y="917"/>
                  </a:lnTo>
                  <a:lnTo>
                    <a:pt x="639" y="940"/>
                  </a:lnTo>
                  <a:lnTo>
                    <a:pt x="668" y="957"/>
                  </a:lnTo>
                  <a:lnTo>
                    <a:pt x="727" y="987"/>
                  </a:lnTo>
                  <a:lnTo>
                    <a:pt x="744" y="987"/>
                  </a:lnTo>
                  <a:lnTo>
                    <a:pt x="790" y="877"/>
                  </a:lnTo>
                  <a:lnTo>
                    <a:pt x="1133" y="783"/>
                  </a:lnTo>
                  <a:lnTo>
                    <a:pt x="1174" y="783"/>
                  </a:lnTo>
                  <a:lnTo>
                    <a:pt x="1196" y="673"/>
                  </a:lnTo>
                  <a:lnTo>
                    <a:pt x="1174" y="603"/>
                  </a:lnTo>
                  <a:lnTo>
                    <a:pt x="953" y="580"/>
                  </a:lnTo>
                  <a:lnTo>
                    <a:pt x="884" y="446"/>
                  </a:lnTo>
                  <a:lnTo>
                    <a:pt x="906" y="296"/>
                  </a:lnTo>
                  <a:lnTo>
                    <a:pt x="837" y="226"/>
                  </a:lnTo>
                  <a:lnTo>
                    <a:pt x="772" y="226"/>
                  </a:lnTo>
                  <a:lnTo>
                    <a:pt x="680" y="180"/>
                  </a:lnTo>
                  <a:lnTo>
                    <a:pt x="570" y="226"/>
                  </a:lnTo>
                  <a:lnTo>
                    <a:pt x="500" y="133"/>
                  </a:lnTo>
                  <a:lnTo>
                    <a:pt x="500" y="110"/>
                  </a:lnTo>
                  <a:lnTo>
                    <a:pt x="383" y="0"/>
                  </a:lnTo>
                  <a:lnTo>
                    <a:pt x="343" y="0"/>
                  </a:lnTo>
                  <a:lnTo>
                    <a:pt x="162" y="23"/>
                  </a:lnTo>
                  <a:lnTo>
                    <a:pt x="162" y="69"/>
                  </a:lnTo>
                  <a:lnTo>
                    <a:pt x="249" y="92"/>
                  </a:lnTo>
                  <a:lnTo>
                    <a:pt x="226" y="157"/>
                  </a:lnTo>
                  <a:lnTo>
                    <a:pt x="157" y="157"/>
                  </a:lnTo>
                  <a:lnTo>
                    <a:pt x="116" y="180"/>
                  </a:lnTo>
                  <a:lnTo>
                    <a:pt x="46" y="168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5" name="Freeform 877"/>
            <p:cNvSpPr>
              <a:spLocks/>
            </p:cNvSpPr>
            <p:nvPr/>
          </p:nvSpPr>
          <p:spPr bwMode="auto">
            <a:xfrm>
              <a:off x="7333674" y="3785524"/>
              <a:ext cx="154828" cy="114894"/>
            </a:xfrm>
            <a:custGeom>
              <a:avLst/>
              <a:gdLst>
                <a:gd name="T0" fmla="*/ 0 w 291"/>
                <a:gd name="T1" fmla="*/ 2147483647 h 244"/>
                <a:gd name="T2" fmla="*/ 2147483647 w 291"/>
                <a:gd name="T3" fmla="*/ 2147483647 h 244"/>
                <a:gd name="T4" fmla="*/ 2147483647 w 291"/>
                <a:gd name="T5" fmla="*/ 2147483647 h 244"/>
                <a:gd name="T6" fmla="*/ 2147483647 w 291"/>
                <a:gd name="T7" fmla="*/ 2147483647 h 244"/>
                <a:gd name="T8" fmla="*/ 2147483647 w 291"/>
                <a:gd name="T9" fmla="*/ 2147483647 h 244"/>
                <a:gd name="T10" fmla="*/ 2147483647 w 291"/>
                <a:gd name="T11" fmla="*/ 2147483647 h 244"/>
                <a:gd name="T12" fmla="*/ 2147483647 w 291"/>
                <a:gd name="T13" fmla="*/ 2147483647 h 244"/>
                <a:gd name="T14" fmla="*/ 2147483647 w 291"/>
                <a:gd name="T15" fmla="*/ 2147483647 h 244"/>
                <a:gd name="T16" fmla="*/ 2147483647 w 291"/>
                <a:gd name="T17" fmla="*/ 0 h 244"/>
                <a:gd name="T18" fmla="*/ 2147483647 w 291"/>
                <a:gd name="T19" fmla="*/ 0 h 244"/>
                <a:gd name="T20" fmla="*/ 2147483647 w 291"/>
                <a:gd name="T21" fmla="*/ 2147483647 h 244"/>
                <a:gd name="T22" fmla="*/ 0 w 291"/>
                <a:gd name="T23" fmla="*/ 2147483647 h 2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1"/>
                <a:gd name="T37" fmla="*/ 0 h 244"/>
                <a:gd name="T38" fmla="*/ 291 w 291"/>
                <a:gd name="T39" fmla="*/ 244 h 24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1" h="244">
                  <a:moveTo>
                    <a:pt x="0" y="87"/>
                  </a:moveTo>
                  <a:lnTo>
                    <a:pt x="47" y="203"/>
                  </a:lnTo>
                  <a:lnTo>
                    <a:pt x="122" y="244"/>
                  </a:lnTo>
                  <a:lnTo>
                    <a:pt x="162" y="191"/>
                  </a:lnTo>
                  <a:lnTo>
                    <a:pt x="209" y="168"/>
                  </a:lnTo>
                  <a:lnTo>
                    <a:pt x="227" y="128"/>
                  </a:lnTo>
                  <a:lnTo>
                    <a:pt x="291" y="69"/>
                  </a:lnTo>
                  <a:lnTo>
                    <a:pt x="197" y="17"/>
                  </a:lnTo>
                  <a:lnTo>
                    <a:pt x="140" y="0"/>
                  </a:lnTo>
                  <a:lnTo>
                    <a:pt x="47" y="0"/>
                  </a:lnTo>
                  <a:lnTo>
                    <a:pt x="47" y="52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6" name="Freeform 878"/>
            <p:cNvSpPr>
              <a:spLocks/>
            </p:cNvSpPr>
            <p:nvPr/>
          </p:nvSpPr>
          <p:spPr bwMode="auto">
            <a:xfrm>
              <a:off x="7403598" y="3730573"/>
              <a:ext cx="264709" cy="169843"/>
            </a:xfrm>
            <a:custGeom>
              <a:avLst/>
              <a:gdLst>
                <a:gd name="T0" fmla="*/ 0 w 493"/>
                <a:gd name="T1" fmla="*/ 2147483647 h 360"/>
                <a:gd name="T2" fmla="*/ 2147483647 w 493"/>
                <a:gd name="T3" fmla="*/ 2147483647 h 360"/>
                <a:gd name="T4" fmla="*/ 2147483647 w 493"/>
                <a:gd name="T5" fmla="*/ 2147483647 h 360"/>
                <a:gd name="T6" fmla="*/ 2147483647 w 493"/>
                <a:gd name="T7" fmla="*/ 2147483647 h 360"/>
                <a:gd name="T8" fmla="*/ 2147483647 w 493"/>
                <a:gd name="T9" fmla="*/ 2147483647 h 360"/>
                <a:gd name="T10" fmla="*/ 2147483647 w 493"/>
                <a:gd name="T11" fmla="*/ 2147483647 h 360"/>
                <a:gd name="T12" fmla="*/ 2147483647 w 493"/>
                <a:gd name="T13" fmla="*/ 2147483647 h 360"/>
                <a:gd name="T14" fmla="*/ 2147483647 w 493"/>
                <a:gd name="T15" fmla="*/ 2147483647 h 360"/>
                <a:gd name="T16" fmla="*/ 2147483647 w 493"/>
                <a:gd name="T17" fmla="*/ 0 h 360"/>
                <a:gd name="T18" fmla="*/ 2147483647 w 493"/>
                <a:gd name="T19" fmla="*/ 2147483647 h 360"/>
                <a:gd name="T20" fmla="*/ 2147483647 w 493"/>
                <a:gd name="T21" fmla="*/ 2147483647 h 360"/>
                <a:gd name="T22" fmla="*/ 2147483647 w 493"/>
                <a:gd name="T23" fmla="*/ 2147483647 h 360"/>
                <a:gd name="T24" fmla="*/ 2147483647 w 493"/>
                <a:gd name="T25" fmla="*/ 2147483647 h 360"/>
                <a:gd name="T26" fmla="*/ 2147483647 w 493"/>
                <a:gd name="T27" fmla="*/ 2147483647 h 360"/>
                <a:gd name="T28" fmla="*/ 2147483647 w 493"/>
                <a:gd name="T29" fmla="*/ 2147483647 h 360"/>
                <a:gd name="T30" fmla="*/ 2147483647 w 493"/>
                <a:gd name="T31" fmla="*/ 2147483647 h 360"/>
                <a:gd name="T32" fmla="*/ 0 w 493"/>
                <a:gd name="T33" fmla="*/ 2147483647 h 36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93"/>
                <a:gd name="T52" fmla="*/ 0 h 360"/>
                <a:gd name="T53" fmla="*/ 493 w 493"/>
                <a:gd name="T54" fmla="*/ 360 h 36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93" h="360">
                  <a:moveTo>
                    <a:pt x="0" y="360"/>
                  </a:moveTo>
                  <a:lnTo>
                    <a:pt x="99" y="337"/>
                  </a:lnTo>
                  <a:lnTo>
                    <a:pt x="191" y="290"/>
                  </a:lnTo>
                  <a:lnTo>
                    <a:pt x="256" y="272"/>
                  </a:lnTo>
                  <a:lnTo>
                    <a:pt x="413" y="227"/>
                  </a:lnTo>
                  <a:lnTo>
                    <a:pt x="493" y="168"/>
                  </a:lnTo>
                  <a:lnTo>
                    <a:pt x="476" y="122"/>
                  </a:lnTo>
                  <a:lnTo>
                    <a:pt x="476" y="87"/>
                  </a:lnTo>
                  <a:lnTo>
                    <a:pt x="458" y="0"/>
                  </a:lnTo>
                  <a:lnTo>
                    <a:pt x="256" y="46"/>
                  </a:lnTo>
                  <a:lnTo>
                    <a:pt x="209" y="70"/>
                  </a:lnTo>
                  <a:lnTo>
                    <a:pt x="169" y="180"/>
                  </a:lnTo>
                  <a:lnTo>
                    <a:pt x="146" y="203"/>
                  </a:lnTo>
                  <a:lnTo>
                    <a:pt x="99" y="250"/>
                  </a:lnTo>
                  <a:lnTo>
                    <a:pt x="87" y="284"/>
                  </a:lnTo>
                  <a:lnTo>
                    <a:pt x="34" y="314"/>
                  </a:lnTo>
                  <a:lnTo>
                    <a:pt x="0" y="36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7" name="Freeform 879"/>
            <p:cNvSpPr>
              <a:spLocks/>
            </p:cNvSpPr>
            <p:nvPr/>
          </p:nvSpPr>
          <p:spPr bwMode="auto">
            <a:xfrm>
              <a:off x="7638340" y="3565725"/>
              <a:ext cx="219757" cy="244776"/>
            </a:xfrm>
            <a:custGeom>
              <a:avLst/>
              <a:gdLst>
                <a:gd name="T0" fmla="*/ 0 w 406"/>
                <a:gd name="T1" fmla="*/ 2147483647 h 529"/>
                <a:gd name="T2" fmla="*/ 2147483647 w 406"/>
                <a:gd name="T3" fmla="*/ 2147483647 h 529"/>
                <a:gd name="T4" fmla="*/ 2147483647 w 406"/>
                <a:gd name="T5" fmla="*/ 2147483647 h 529"/>
                <a:gd name="T6" fmla="*/ 2147483647 w 406"/>
                <a:gd name="T7" fmla="*/ 2147483647 h 529"/>
                <a:gd name="T8" fmla="*/ 2147483647 w 406"/>
                <a:gd name="T9" fmla="*/ 2147483647 h 529"/>
                <a:gd name="T10" fmla="*/ 2147483647 w 406"/>
                <a:gd name="T11" fmla="*/ 2147483647 h 529"/>
                <a:gd name="T12" fmla="*/ 2147483647 w 406"/>
                <a:gd name="T13" fmla="*/ 0 h 529"/>
                <a:gd name="T14" fmla="*/ 2147483647 w 406"/>
                <a:gd name="T15" fmla="*/ 2147483647 h 529"/>
                <a:gd name="T16" fmla="*/ 2147483647 w 406"/>
                <a:gd name="T17" fmla="*/ 2147483647 h 529"/>
                <a:gd name="T18" fmla="*/ 2147483647 w 406"/>
                <a:gd name="T19" fmla="*/ 2147483647 h 529"/>
                <a:gd name="T20" fmla="*/ 2147483647 w 406"/>
                <a:gd name="T21" fmla="*/ 2147483647 h 529"/>
                <a:gd name="T22" fmla="*/ 2147483647 w 406"/>
                <a:gd name="T23" fmla="*/ 2147483647 h 529"/>
                <a:gd name="T24" fmla="*/ 2147483647 w 406"/>
                <a:gd name="T25" fmla="*/ 2147483647 h 529"/>
                <a:gd name="T26" fmla="*/ 2147483647 w 406"/>
                <a:gd name="T27" fmla="*/ 2147483647 h 529"/>
                <a:gd name="T28" fmla="*/ 2147483647 w 406"/>
                <a:gd name="T29" fmla="*/ 2147483647 h 529"/>
                <a:gd name="T30" fmla="*/ 2147483647 w 406"/>
                <a:gd name="T31" fmla="*/ 2147483647 h 529"/>
                <a:gd name="T32" fmla="*/ 2147483647 w 406"/>
                <a:gd name="T33" fmla="*/ 2147483647 h 529"/>
                <a:gd name="T34" fmla="*/ 2147483647 w 406"/>
                <a:gd name="T35" fmla="*/ 2147483647 h 529"/>
                <a:gd name="T36" fmla="*/ 2147483647 w 406"/>
                <a:gd name="T37" fmla="*/ 2147483647 h 529"/>
                <a:gd name="T38" fmla="*/ 2147483647 w 406"/>
                <a:gd name="T39" fmla="*/ 2147483647 h 529"/>
                <a:gd name="T40" fmla="*/ 0 w 406"/>
                <a:gd name="T41" fmla="*/ 2147483647 h 52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6"/>
                <a:gd name="T64" fmla="*/ 0 h 529"/>
                <a:gd name="T65" fmla="*/ 406 w 406"/>
                <a:gd name="T66" fmla="*/ 529 h 52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6" h="529">
                  <a:moveTo>
                    <a:pt x="0" y="361"/>
                  </a:moveTo>
                  <a:lnTo>
                    <a:pt x="139" y="314"/>
                  </a:lnTo>
                  <a:lnTo>
                    <a:pt x="174" y="267"/>
                  </a:lnTo>
                  <a:lnTo>
                    <a:pt x="162" y="163"/>
                  </a:lnTo>
                  <a:lnTo>
                    <a:pt x="197" y="93"/>
                  </a:lnTo>
                  <a:lnTo>
                    <a:pt x="214" y="41"/>
                  </a:lnTo>
                  <a:lnTo>
                    <a:pt x="209" y="0"/>
                  </a:lnTo>
                  <a:lnTo>
                    <a:pt x="256" y="65"/>
                  </a:lnTo>
                  <a:lnTo>
                    <a:pt x="325" y="122"/>
                  </a:lnTo>
                  <a:lnTo>
                    <a:pt x="383" y="134"/>
                  </a:lnTo>
                  <a:lnTo>
                    <a:pt x="389" y="175"/>
                  </a:lnTo>
                  <a:lnTo>
                    <a:pt x="406" y="204"/>
                  </a:lnTo>
                  <a:lnTo>
                    <a:pt x="406" y="250"/>
                  </a:lnTo>
                  <a:lnTo>
                    <a:pt x="336" y="291"/>
                  </a:lnTo>
                  <a:lnTo>
                    <a:pt x="296" y="384"/>
                  </a:lnTo>
                  <a:lnTo>
                    <a:pt x="226" y="431"/>
                  </a:lnTo>
                  <a:lnTo>
                    <a:pt x="116" y="494"/>
                  </a:lnTo>
                  <a:lnTo>
                    <a:pt x="57" y="529"/>
                  </a:lnTo>
                  <a:lnTo>
                    <a:pt x="40" y="483"/>
                  </a:lnTo>
                  <a:lnTo>
                    <a:pt x="34" y="448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8" name="Freeform 880"/>
            <p:cNvSpPr>
              <a:spLocks/>
            </p:cNvSpPr>
            <p:nvPr/>
          </p:nvSpPr>
          <p:spPr bwMode="auto">
            <a:xfrm>
              <a:off x="7568416" y="3505780"/>
              <a:ext cx="189791" cy="129880"/>
            </a:xfrm>
            <a:custGeom>
              <a:avLst/>
              <a:gdLst>
                <a:gd name="T0" fmla="*/ 2147483647 w 354"/>
                <a:gd name="T1" fmla="*/ 0 h 284"/>
                <a:gd name="T2" fmla="*/ 0 w 354"/>
                <a:gd name="T3" fmla="*/ 2147483647 h 284"/>
                <a:gd name="T4" fmla="*/ 0 w 354"/>
                <a:gd name="T5" fmla="*/ 2147483647 h 284"/>
                <a:gd name="T6" fmla="*/ 2147483647 w 354"/>
                <a:gd name="T7" fmla="*/ 2147483647 h 284"/>
                <a:gd name="T8" fmla="*/ 2147483647 w 354"/>
                <a:gd name="T9" fmla="*/ 2147483647 h 284"/>
                <a:gd name="T10" fmla="*/ 2147483647 w 354"/>
                <a:gd name="T11" fmla="*/ 2147483647 h 284"/>
                <a:gd name="T12" fmla="*/ 2147483647 w 354"/>
                <a:gd name="T13" fmla="*/ 2147483647 h 284"/>
                <a:gd name="T14" fmla="*/ 2147483647 w 354"/>
                <a:gd name="T15" fmla="*/ 2147483647 h 284"/>
                <a:gd name="T16" fmla="*/ 2147483647 w 354"/>
                <a:gd name="T17" fmla="*/ 2147483647 h 284"/>
                <a:gd name="T18" fmla="*/ 2147483647 w 354"/>
                <a:gd name="T19" fmla="*/ 2147483647 h 284"/>
                <a:gd name="T20" fmla="*/ 2147483647 w 354"/>
                <a:gd name="T21" fmla="*/ 2147483647 h 284"/>
                <a:gd name="T22" fmla="*/ 2147483647 w 354"/>
                <a:gd name="T23" fmla="*/ 2147483647 h 284"/>
                <a:gd name="T24" fmla="*/ 2147483647 w 354"/>
                <a:gd name="T25" fmla="*/ 2147483647 h 284"/>
                <a:gd name="T26" fmla="*/ 2147483647 w 354"/>
                <a:gd name="T27" fmla="*/ 2147483647 h 284"/>
                <a:gd name="T28" fmla="*/ 2147483647 w 354"/>
                <a:gd name="T29" fmla="*/ 2147483647 h 284"/>
                <a:gd name="T30" fmla="*/ 2147483647 w 354"/>
                <a:gd name="T31" fmla="*/ 2147483647 h 284"/>
                <a:gd name="T32" fmla="*/ 2147483647 w 354"/>
                <a:gd name="T33" fmla="*/ 2147483647 h 284"/>
                <a:gd name="T34" fmla="*/ 2147483647 w 354"/>
                <a:gd name="T35" fmla="*/ 0 h 2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4"/>
                <a:gd name="T55" fmla="*/ 0 h 284"/>
                <a:gd name="T56" fmla="*/ 354 w 354"/>
                <a:gd name="T57" fmla="*/ 284 h 2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4" h="284">
                  <a:moveTo>
                    <a:pt x="22" y="0"/>
                  </a:moveTo>
                  <a:lnTo>
                    <a:pt x="0" y="105"/>
                  </a:lnTo>
                  <a:lnTo>
                    <a:pt x="0" y="122"/>
                  </a:lnTo>
                  <a:lnTo>
                    <a:pt x="52" y="232"/>
                  </a:lnTo>
                  <a:lnTo>
                    <a:pt x="69" y="261"/>
                  </a:lnTo>
                  <a:lnTo>
                    <a:pt x="249" y="284"/>
                  </a:lnTo>
                  <a:lnTo>
                    <a:pt x="290" y="284"/>
                  </a:lnTo>
                  <a:lnTo>
                    <a:pt x="354" y="168"/>
                  </a:lnTo>
                  <a:lnTo>
                    <a:pt x="336" y="110"/>
                  </a:lnTo>
                  <a:lnTo>
                    <a:pt x="312" y="110"/>
                  </a:lnTo>
                  <a:lnTo>
                    <a:pt x="249" y="150"/>
                  </a:lnTo>
                  <a:lnTo>
                    <a:pt x="249" y="174"/>
                  </a:lnTo>
                  <a:lnTo>
                    <a:pt x="121" y="157"/>
                  </a:lnTo>
                  <a:lnTo>
                    <a:pt x="110" y="127"/>
                  </a:lnTo>
                  <a:lnTo>
                    <a:pt x="110" y="110"/>
                  </a:lnTo>
                  <a:lnTo>
                    <a:pt x="69" y="127"/>
                  </a:lnTo>
                  <a:lnTo>
                    <a:pt x="22" y="1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79" name="Freeform 881"/>
            <p:cNvSpPr>
              <a:spLocks/>
            </p:cNvSpPr>
            <p:nvPr/>
          </p:nvSpPr>
          <p:spPr bwMode="auto">
            <a:xfrm>
              <a:off x="7468527" y="3420858"/>
              <a:ext cx="59933" cy="44960"/>
            </a:xfrm>
            <a:custGeom>
              <a:avLst/>
              <a:gdLst>
                <a:gd name="T0" fmla="*/ 2147483647 w 122"/>
                <a:gd name="T1" fmla="*/ 2147483647 h 93"/>
                <a:gd name="T2" fmla="*/ 2147483647 w 122"/>
                <a:gd name="T3" fmla="*/ 0 h 93"/>
                <a:gd name="T4" fmla="*/ 2147483647 w 122"/>
                <a:gd name="T5" fmla="*/ 2147483647 h 93"/>
                <a:gd name="T6" fmla="*/ 0 w 122"/>
                <a:gd name="T7" fmla="*/ 2147483647 h 93"/>
                <a:gd name="T8" fmla="*/ 2147483647 w 122"/>
                <a:gd name="T9" fmla="*/ 2147483647 h 93"/>
                <a:gd name="T10" fmla="*/ 2147483647 w 122"/>
                <a:gd name="T11" fmla="*/ 2147483647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2"/>
                <a:gd name="T19" fmla="*/ 0 h 93"/>
                <a:gd name="T20" fmla="*/ 122 w 122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2" h="93">
                  <a:moveTo>
                    <a:pt x="122" y="93"/>
                  </a:moveTo>
                  <a:lnTo>
                    <a:pt x="93" y="0"/>
                  </a:lnTo>
                  <a:lnTo>
                    <a:pt x="35" y="6"/>
                  </a:lnTo>
                  <a:lnTo>
                    <a:pt x="0" y="52"/>
                  </a:lnTo>
                  <a:lnTo>
                    <a:pt x="75" y="93"/>
                  </a:lnTo>
                  <a:lnTo>
                    <a:pt x="122" y="9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0" name="Freeform 882"/>
            <p:cNvSpPr>
              <a:spLocks/>
            </p:cNvSpPr>
            <p:nvPr/>
          </p:nvSpPr>
          <p:spPr bwMode="auto">
            <a:xfrm>
              <a:off x="7223798" y="3176085"/>
              <a:ext cx="304662" cy="289732"/>
            </a:xfrm>
            <a:custGeom>
              <a:avLst/>
              <a:gdLst>
                <a:gd name="T0" fmla="*/ 2147483647 w 570"/>
                <a:gd name="T1" fmla="*/ 2147483647 h 610"/>
                <a:gd name="T2" fmla="*/ 2147483647 w 570"/>
                <a:gd name="T3" fmla="*/ 2147483647 h 610"/>
                <a:gd name="T4" fmla="*/ 2147483647 w 570"/>
                <a:gd name="T5" fmla="*/ 2147483647 h 610"/>
                <a:gd name="T6" fmla="*/ 2147483647 w 570"/>
                <a:gd name="T7" fmla="*/ 2147483647 h 610"/>
                <a:gd name="T8" fmla="*/ 2147483647 w 570"/>
                <a:gd name="T9" fmla="*/ 2147483647 h 610"/>
                <a:gd name="T10" fmla="*/ 2147483647 w 570"/>
                <a:gd name="T11" fmla="*/ 2147483647 h 610"/>
                <a:gd name="T12" fmla="*/ 2147483647 w 570"/>
                <a:gd name="T13" fmla="*/ 2147483647 h 610"/>
                <a:gd name="T14" fmla="*/ 2147483647 w 570"/>
                <a:gd name="T15" fmla="*/ 2147483647 h 610"/>
                <a:gd name="T16" fmla="*/ 2147483647 w 570"/>
                <a:gd name="T17" fmla="*/ 2147483647 h 610"/>
                <a:gd name="T18" fmla="*/ 2147483647 w 570"/>
                <a:gd name="T19" fmla="*/ 0 h 610"/>
                <a:gd name="T20" fmla="*/ 2147483647 w 570"/>
                <a:gd name="T21" fmla="*/ 0 h 610"/>
                <a:gd name="T22" fmla="*/ 2147483647 w 570"/>
                <a:gd name="T23" fmla="*/ 2147483647 h 610"/>
                <a:gd name="T24" fmla="*/ 2147483647 w 570"/>
                <a:gd name="T25" fmla="*/ 2147483647 h 610"/>
                <a:gd name="T26" fmla="*/ 2147483647 w 570"/>
                <a:gd name="T27" fmla="*/ 2147483647 h 610"/>
                <a:gd name="T28" fmla="*/ 2147483647 w 570"/>
                <a:gd name="T29" fmla="*/ 2147483647 h 610"/>
                <a:gd name="T30" fmla="*/ 0 w 570"/>
                <a:gd name="T31" fmla="*/ 2147483647 h 610"/>
                <a:gd name="T32" fmla="*/ 2147483647 w 570"/>
                <a:gd name="T33" fmla="*/ 2147483647 h 610"/>
                <a:gd name="T34" fmla="*/ 2147483647 w 570"/>
                <a:gd name="T35" fmla="*/ 2147483647 h 610"/>
                <a:gd name="T36" fmla="*/ 2147483647 w 570"/>
                <a:gd name="T37" fmla="*/ 2147483647 h 610"/>
                <a:gd name="T38" fmla="*/ 2147483647 w 570"/>
                <a:gd name="T39" fmla="*/ 2147483647 h 610"/>
                <a:gd name="T40" fmla="*/ 2147483647 w 570"/>
                <a:gd name="T41" fmla="*/ 2147483647 h 610"/>
                <a:gd name="T42" fmla="*/ 2147483647 w 570"/>
                <a:gd name="T43" fmla="*/ 2147483647 h 610"/>
                <a:gd name="T44" fmla="*/ 2147483647 w 570"/>
                <a:gd name="T45" fmla="*/ 2147483647 h 610"/>
                <a:gd name="T46" fmla="*/ 2147483647 w 570"/>
                <a:gd name="T47" fmla="*/ 2147483647 h 610"/>
                <a:gd name="T48" fmla="*/ 2147483647 w 570"/>
                <a:gd name="T49" fmla="*/ 2147483647 h 610"/>
                <a:gd name="T50" fmla="*/ 2147483647 w 570"/>
                <a:gd name="T51" fmla="*/ 2147483647 h 61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70"/>
                <a:gd name="T79" fmla="*/ 0 h 610"/>
                <a:gd name="T80" fmla="*/ 570 w 570"/>
                <a:gd name="T81" fmla="*/ 610 h 61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70" h="610">
                  <a:moveTo>
                    <a:pt x="541" y="517"/>
                  </a:moveTo>
                  <a:lnTo>
                    <a:pt x="570" y="476"/>
                  </a:lnTo>
                  <a:lnTo>
                    <a:pt x="523" y="384"/>
                  </a:lnTo>
                  <a:lnTo>
                    <a:pt x="501" y="297"/>
                  </a:lnTo>
                  <a:lnTo>
                    <a:pt x="408" y="273"/>
                  </a:lnTo>
                  <a:lnTo>
                    <a:pt x="390" y="209"/>
                  </a:lnTo>
                  <a:lnTo>
                    <a:pt x="431" y="110"/>
                  </a:lnTo>
                  <a:lnTo>
                    <a:pt x="361" y="93"/>
                  </a:lnTo>
                  <a:lnTo>
                    <a:pt x="326" y="70"/>
                  </a:lnTo>
                  <a:lnTo>
                    <a:pt x="291" y="0"/>
                  </a:lnTo>
                  <a:lnTo>
                    <a:pt x="233" y="0"/>
                  </a:lnTo>
                  <a:lnTo>
                    <a:pt x="129" y="41"/>
                  </a:lnTo>
                  <a:lnTo>
                    <a:pt x="140" y="87"/>
                  </a:lnTo>
                  <a:lnTo>
                    <a:pt x="105" y="185"/>
                  </a:lnTo>
                  <a:lnTo>
                    <a:pt x="24" y="250"/>
                  </a:lnTo>
                  <a:lnTo>
                    <a:pt x="0" y="314"/>
                  </a:lnTo>
                  <a:lnTo>
                    <a:pt x="30" y="389"/>
                  </a:lnTo>
                  <a:lnTo>
                    <a:pt x="134" y="384"/>
                  </a:lnTo>
                  <a:lnTo>
                    <a:pt x="251" y="494"/>
                  </a:lnTo>
                  <a:lnTo>
                    <a:pt x="251" y="523"/>
                  </a:lnTo>
                  <a:lnTo>
                    <a:pt x="321" y="610"/>
                  </a:lnTo>
                  <a:lnTo>
                    <a:pt x="425" y="564"/>
                  </a:lnTo>
                  <a:lnTo>
                    <a:pt x="454" y="564"/>
                  </a:lnTo>
                  <a:lnTo>
                    <a:pt x="478" y="523"/>
                  </a:lnTo>
                  <a:lnTo>
                    <a:pt x="523" y="517"/>
                  </a:lnTo>
                  <a:lnTo>
                    <a:pt x="541" y="51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1" name="Freeform 883"/>
            <p:cNvSpPr>
              <a:spLocks/>
            </p:cNvSpPr>
            <p:nvPr/>
          </p:nvSpPr>
          <p:spPr bwMode="auto">
            <a:xfrm>
              <a:off x="7078959" y="3320950"/>
              <a:ext cx="159824" cy="119891"/>
            </a:xfrm>
            <a:custGeom>
              <a:avLst/>
              <a:gdLst>
                <a:gd name="T0" fmla="*/ 2147483647 w 302"/>
                <a:gd name="T1" fmla="*/ 2147483647 h 257"/>
                <a:gd name="T2" fmla="*/ 2147483647 w 302"/>
                <a:gd name="T3" fmla="*/ 2147483647 h 257"/>
                <a:gd name="T4" fmla="*/ 2147483647 w 302"/>
                <a:gd name="T5" fmla="*/ 2147483647 h 257"/>
                <a:gd name="T6" fmla="*/ 2147483647 w 302"/>
                <a:gd name="T7" fmla="*/ 2147483647 h 257"/>
                <a:gd name="T8" fmla="*/ 2147483647 w 302"/>
                <a:gd name="T9" fmla="*/ 0 h 257"/>
                <a:gd name="T10" fmla="*/ 2147483647 w 302"/>
                <a:gd name="T11" fmla="*/ 2147483647 h 257"/>
                <a:gd name="T12" fmla="*/ 2147483647 w 302"/>
                <a:gd name="T13" fmla="*/ 2147483647 h 257"/>
                <a:gd name="T14" fmla="*/ 2147483647 w 302"/>
                <a:gd name="T15" fmla="*/ 2147483647 h 257"/>
                <a:gd name="T16" fmla="*/ 0 w 302"/>
                <a:gd name="T17" fmla="*/ 2147483647 h 257"/>
                <a:gd name="T18" fmla="*/ 2147483647 w 302"/>
                <a:gd name="T19" fmla="*/ 2147483647 h 257"/>
                <a:gd name="T20" fmla="*/ 2147483647 w 302"/>
                <a:gd name="T21" fmla="*/ 2147483647 h 257"/>
                <a:gd name="T22" fmla="*/ 2147483647 w 302"/>
                <a:gd name="T23" fmla="*/ 2147483647 h 257"/>
                <a:gd name="T24" fmla="*/ 2147483647 w 302"/>
                <a:gd name="T25" fmla="*/ 2147483647 h 257"/>
                <a:gd name="T26" fmla="*/ 2147483647 w 302"/>
                <a:gd name="T27" fmla="*/ 2147483647 h 257"/>
                <a:gd name="T28" fmla="*/ 2147483647 w 302"/>
                <a:gd name="T29" fmla="*/ 2147483647 h 257"/>
                <a:gd name="T30" fmla="*/ 2147483647 w 302"/>
                <a:gd name="T31" fmla="*/ 2147483647 h 257"/>
                <a:gd name="T32" fmla="*/ 2147483647 w 302"/>
                <a:gd name="T33" fmla="*/ 2147483647 h 257"/>
                <a:gd name="T34" fmla="*/ 2147483647 w 302"/>
                <a:gd name="T35" fmla="*/ 2147483647 h 257"/>
                <a:gd name="T36" fmla="*/ 2147483647 w 302"/>
                <a:gd name="T37" fmla="*/ 2147483647 h 257"/>
                <a:gd name="T38" fmla="*/ 2147483647 w 302"/>
                <a:gd name="T39" fmla="*/ 2147483647 h 25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02"/>
                <a:gd name="T61" fmla="*/ 0 h 257"/>
                <a:gd name="T62" fmla="*/ 302 w 302"/>
                <a:gd name="T63" fmla="*/ 257 h 25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02" h="257">
                  <a:moveTo>
                    <a:pt x="267" y="12"/>
                  </a:moveTo>
                  <a:lnTo>
                    <a:pt x="215" y="12"/>
                  </a:lnTo>
                  <a:lnTo>
                    <a:pt x="187" y="30"/>
                  </a:lnTo>
                  <a:lnTo>
                    <a:pt x="117" y="30"/>
                  </a:lnTo>
                  <a:lnTo>
                    <a:pt x="35" y="0"/>
                  </a:lnTo>
                  <a:lnTo>
                    <a:pt x="23" y="59"/>
                  </a:lnTo>
                  <a:lnTo>
                    <a:pt x="47" y="140"/>
                  </a:lnTo>
                  <a:lnTo>
                    <a:pt x="18" y="169"/>
                  </a:lnTo>
                  <a:lnTo>
                    <a:pt x="0" y="187"/>
                  </a:lnTo>
                  <a:lnTo>
                    <a:pt x="18" y="234"/>
                  </a:lnTo>
                  <a:lnTo>
                    <a:pt x="75" y="251"/>
                  </a:lnTo>
                  <a:lnTo>
                    <a:pt x="134" y="257"/>
                  </a:lnTo>
                  <a:lnTo>
                    <a:pt x="175" y="234"/>
                  </a:lnTo>
                  <a:lnTo>
                    <a:pt x="244" y="234"/>
                  </a:lnTo>
                  <a:lnTo>
                    <a:pt x="267" y="169"/>
                  </a:lnTo>
                  <a:lnTo>
                    <a:pt x="180" y="146"/>
                  </a:lnTo>
                  <a:lnTo>
                    <a:pt x="180" y="100"/>
                  </a:lnTo>
                  <a:lnTo>
                    <a:pt x="250" y="88"/>
                  </a:lnTo>
                  <a:lnTo>
                    <a:pt x="302" y="82"/>
                  </a:lnTo>
                  <a:lnTo>
                    <a:pt x="267" y="1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2" name="Freeform 884"/>
            <p:cNvSpPr>
              <a:spLocks/>
            </p:cNvSpPr>
            <p:nvPr/>
          </p:nvSpPr>
          <p:spPr bwMode="auto">
            <a:xfrm>
              <a:off x="7058979" y="3310960"/>
              <a:ext cx="49944" cy="94913"/>
            </a:xfrm>
            <a:custGeom>
              <a:avLst/>
              <a:gdLst>
                <a:gd name="T0" fmla="*/ 2147483647 w 87"/>
                <a:gd name="T1" fmla="*/ 2147483647 h 209"/>
                <a:gd name="T2" fmla="*/ 2147483647 w 87"/>
                <a:gd name="T3" fmla="*/ 0 h 209"/>
                <a:gd name="T4" fmla="*/ 2147483647 w 87"/>
                <a:gd name="T5" fmla="*/ 2147483647 h 209"/>
                <a:gd name="T6" fmla="*/ 2147483647 w 87"/>
                <a:gd name="T7" fmla="*/ 2147483647 h 209"/>
                <a:gd name="T8" fmla="*/ 0 w 87"/>
                <a:gd name="T9" fmla="*/ 2147483647 h 209"/>
                <a:gd name="T10" fmla="*/ 2147483647 w 87"/>
                <a:gd name="T11" fmla="*/ 2147483647 h 209"/>
                <a:gd name="T12" fmla="*/ 2147483647 w 87"/>
                <a:gd name="T13" fmla="*/ 2147483647 h 209"/>
                <a:gd name="T14" fmla="*/ 2147483647 w 87"/>
                <a:gd name="T15" fmla="*/ 2147483647 h 209"/>
                <a:gd name="T16" fmla="*/ 2147483647 w 87"/>
                <a:gd name="T17" fmla="*/ 2147483647 h 209"/>
                <a:gd name="T18" fmla="*/ 2147483647 w 87"/>
                <a:gd name="T19" fmla="*/ 2147483647 h 209"/>
                <a:gd name="T20" fmla="*/ 2147483647 w 87"/>
                <a:gd name="T21" fmla="*/ 2147483647 h 20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7"/>
                <a:gd name="T34" fmla="*/ 0 h 209"/>
                <a:gd name="T35" fmla="*/ 87 w 87"/>
                <a:gd name="T36" fmla="*/ 209 h 20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7" h="209">
                  <a:moveTo>
                    <a:pt x="87" y="29"/>
                  </a:moveTo>
                  <a:lnTo>
                    <a:pt x="47" y="0"/>
                  </a:lnTo>
                  <a:lnTo>
                    <a:pt x="17" y="104"/>
                  </a:lnTo>
                  <a:lnTo>
                    <a:pt x="24" y="144"/>
                  </a:lnTo>
                  <a:lnTo>
                    <a:pt x="0" y="174"/>
                  </a:lnTo>
                  <a:lnTo>
                    <a:pt x="29" y="209"/>
                  </a:lnTo>
                  <a:lnTo>
                    <a:pt x="76" y="168"/>
                  </a:lnTo>
                  <a:lnTo>
                    <a:pt x="76" y="144"/>
                  </a:lnTo>
                  <a:lnTo>
                    <a:pt x="59" y="81"/>
                  </a:lnTo>
                  <a:lnTo>
                    <a:pt x="69" y="40"/>
                  </a:lnTo>
                  <a:lnTo>
                    <a:pt x="87" y="2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3" name="Freeform 885"/>
            <p:cNvSpPr>
              <a:spLocks/>
            </p:cNvSpPr>
            <p:nvPr/>
          </p:nvSpPr>
          <p:spPr bwMode="auto">
            <a:xfrm>
              <a:off x="7083951" y="3261004"/>
              <a:ext cx="54938" cy="64941"/>
            </a:xfrm>
            <a:custGeom>
              <a:avLst/>
              <a:gdLst>
                <a:gd name="T0" fmla="*/ 0 w 92"/>
                <a:gd name="T1" fmla="*/ 2147483647 h 139"/>
                <a:gd name="T2" fmla="*/ 2147483647 w 92"/>
                <a:gd name="T3" fmla="*/ 2147483647 h 139"/>
                <a:gd name="T4" fmla="*/ 2147483647 w 92"/>
                <a:gd name="T5" fmla="*/ 0 h 139"/>
                <a:gd name="T6" fmla="*/ 2147483647 w 92"/>
                <a:gd name="T7" fmla="*/ 2147483647 h 139"/>
                <a:gd name="T8" fmla="*/ 2147483647 w 92"/>
                <a:gd name="T9" fmla="*/ 2147483647 h 139"/>
                <a:gd name="T10" fmla="*/ 2147483647 w 92"/>
                <a:gd name="T11" fmla="*/ 2147483647 h 139"/>
                <a:gd name="T12" fmla="*/ 0 w 92"/>
                <a:gd name="T13" fmla="*/ 2147483647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2"/>
                <a:gd name="T22" fmla="*/ 0 h 139"/>
                <a:gd name="T23" fmla="*/ 92 w 92"/>
                <a:gd name="T24" fmla="*/ 139 h 1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2" h="139">
                  <a:moveTo>
                    <a:pt x="0" y="117"/>
                  </a:moveTo>
                  <a:lnTo>
                    <a:pt x="29" y="70"/>
                  </a:lnTo>
                  <a:lnTo>
                    <a:pt x="46" y="0"/>
                  </a:lnTo>
                  <a:lnTo>
                    <a:pt x="92" y="23"/>
                  </a:lnTo>
                  <a:lnTo>
                    <a:pt x="69" y="70"/>
                  </a:lnTo>
                  <a:lnTo>
                    <a:pt x="46" y="139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4" name="Freeform 886"/>
            <p:cNvSpPr>
              <a:spLocks/>
            </p:cNvSpPr>
            <p:nvPr/>
          </p:nvSpPr>
          <p:spPr bwMode="auto">
            <a:xfrm>
              <a:off x="7103931" y="3191070"/>
              <a:ext cx="189791" cy="144867"/>
            </a:xfrm>
            <a:custGeom>
              <a:avLst/>
              <a:gdLst>
                <a:gd name="T0" fmla="*/ 0 w 354"/>
                <a:gd name="T1" fmla="*/ 2147483647 h 314"/>
                <a:gd name="T2" fmla="*/ 2147483647 w 354"/>
                <a:gd name="T3" fmla="*/ 2147483647 h 314"/>
                <a:gd name="T4" fmla="*/ 2147483647 w 354"/>
                <a:gd name="T5" fmla="*/ 2147483647 h 314"/>
                <a:gd name="T6" fmla="*/ 2147483647 w 354"/>
                <a:gd name="T7" fmla="*/ 2147483647 h 314"/>
                <a:gd name="T8" fmla="*/ 2147483647 w 354"/>
                <a:gd name="T9" fmla="*/ 2147483647 h 314"/>
                <a:gd name="T10" fmla="*/ 2147483647 w 354"/>
                <a:gd name="T11" fmla="*/ 2147483647 h 314"/>
                <a:gd name="T12" fmla="*/ 2147483647 w 354"/>
                <a:gd name="T13" fmla="*/ 2147483647 h 314"/>
                <a:gd name="T14" fmla="*/ 2147483647 w 354"/>
                <a:gd name="T15" fmla="*/ 2147483647 h 314"/>
                <a:gd name="T16" fmla="*/ 2147483647 w 354"/>
                <a:gd name="T17" fmla="*/ 2147483647 h 314"/>
                <a:gd name="T18" fmla="*/ 2147483647 w 354"/>
                <a:gd name="T19" fmla="*/ 2147483647 h 314"/>
                <a:gd name="T20" fmla="*/ 2147483647 w 354"/>
                <a:gd name="T21" fmla="*/ 2147483647 h 314"/>
                <a:gd name="T22" fmla="*/ 2147483647 w 354"/>
                <a:gd name="T23" fmla="*/ 2147483647 h 314"/>
                <a:gd name="T24" fmla="*/ 2147483647 w 354"/>
                <a:gd name="T25" fmla="*/ 2147483647 h 314"/>
                <a:gd name="T26" fmla="*/ 2147483647 w 354"/>
                <a:gd name="T27" fmla="*/ 0 h 314"/>
                <a:gd name="T28" fmla="*/ 2147483647 w 354"/>
                <a:gd name="T29" fmla="*/ 2147483647 h 314"/>
                <a:gd name="T30" fmla="*/ 2147483647 w 354"/>
                <a:gd name="T31" fmla="*/ 2147483647 h 314"/>
                <a:gd name="T32" fmla="*/ 2147483647 w 354"/>
                <a:gd name="T33" fmla="*/ 2147483647 h 314"/>
                <a:gd name="T34" fmla="*/ 2147483647 w 354"/>
                <a:gd name="T35" fmla="*/ 2147483647 h 314"/>
                <a:gd name="T36" fmla="*/ 2147483647 w 354"/>
                <a:gd name="T37" fmla="*/ 2147483647 h 314"/>
                <a:gd name="T38" fmla="*/ 2147483647 w 354"/>
                <a:gd name="T39" fmla="*/ 2147483647 h 314"/>
                <a:gd name="T40" fmla="*/ 2147483647 w 354"/>
                <a:gd name="T41" fmla="*/ 2147483647 h 314"/>
                <a:gd name="T42" fmla="*/ 0 w 354"/>
                <a:gd name="T43" fmla="*/ 2147483647 h 3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54"/>
                <a:gd name="T67" fmla="*/ 0 h 314"/>
                <a:gd name="T68" fmla="*/ 354 w 354"/>
                <a:gd name="T69" fmla="*/ 314 h 3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54" h="314">
                  <a:moveTo>
                    <a:pt x="0" y="291"/>
                  </a:moveTo>
                  <a:lnTo>
                    <a:pt x="63" y="314"/>
                  </a:lnTo>
                  <a:lnTo>
                    <a:pt x="133" y="314"/>
                  </a:lnTo>
                  <a:lnTo>
                    <a:pt x="168" y="302"/>
                  </a:lnTo>
                  <a:lnTo>
                    <a:pt x="220" y="296"/>
                  </a:lnTo>
                  <a:lnTo>
                    <a:pt x="244" y="227"/>
                  </a:lnTo>
                  <a:lnTo>
                    <a:pt x="337" y="157"/>
                  </a:lnTo>
                  <a:lnTo>
                    <a:pt x="354" y="70"/>
                  </a:lnTo>
                  <a:lnTo>
                    <a:pt x="354" y="23"/>
                  </a:lnTo>
                  <a:lnTo>
                    <a:pt x="337" y="18"/>
                  </a:lnTo>
                  <a:lnTo>
                    <a:pt x="290" y="6"/>
                  </a:lnTo>
                  <a:lnTo>
                    <a:pt x="255" y="23"/>
                  </a:lnTo>
                  <a:lnTo>
                    <a:pt x="203" y="18"/>
                  </a:lnTo>
                  <a:lnTo>
                    <a:pt x="174" y="0"/>
                  </a:lnTo>
                  <a:lnTo>
                    <a:pt x="133" y="6"/>
                  </a:lnTo>
                  <a:lnTo>
                    <a:pt x="81" y="23"/>
                  </a:lnTo>
                  <a:lnTo>
                    <a:pt x="40" y="70"/>
                  </a:lnTo>
                  <a:lnTo>
                    <a:pt x="17" y="157"/>
                  </a:lnTo>
                  <a:lnTo>
                    <a:pt x="46" y="169"/>
                  </a:lnTo>
                  <a:lnTo>
                    <a:pt x="63" y="186"/>
                  </a:lnTo>
                  <a:lnTo>
                    <a:pt x="40" y="221"/>
                  </a:lnTo>
                  <a:lnTo>
                    <a:pt x="0" y="29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5" name="Freeform 887"/>
            <p:cNvSpPr>
              <a:spLocks/>
            </p:cNvSpPr>
            <p:nvPr/>
          </p:nvSpPr>
          <p:spPr bwMode="auto">
            <a:xfrm>
              <a:off x="6819245" y="3011235"/>
              <a:ext cx="564376" cy="209806"/>
            </a:xfrm>
            <a:custGeom>
              <a:avLst/>
              <a:gdLst>
                <a:gd name="T0" fmla="*/ 2147483647 w 1035"/>
                <a:gd name="T1" fmla="*/ 2147483647 h 453"/>
                <a:gd name="T2" fmla="*/ 2147483647 w 1035"/>
                <a:gd name="T3" fmla="*/ 2147483647 h 453"/>
                <a:gd name="T4" fmla="*/ 0 w 1035"/>
                <a:gd name="T5" fmla="*/ 2147483647 h 453"/>
                <a:gd name="T6" fmla="*/ 2147483647 w 1035"/>
                <a:gd name="T7" fmla="*/ 2147483647 h 453"/>
                <a:gd name="T8" fmla="*/ 2147483647 w 1035"/>
                <a:gd name="T9" fmla="*/ 2147483647 h 453"/>
                <a:gd name="T10" fmla="*/ 2147483647 w 1035"/>
                <a:gd name="T11" fmla="*/ 2147483647 h 453"/>
                <a:gd name="T12" fmla="*/ 2147483647 w 1035"/>
                <a:gd name="T13" fmla="*/ 2147483647 h 453"/>
                <a:gd name="T14" fmla="*/ 2147483647 w 1035"/>
                <a:gd name="T15" fmla="*/ 2147483647 h 453"/>
                <a:gd name="T16" fmla="*/ 2147483647 w 1035"/>
                <a:gd name="T17" fmla="*/ 2147483647 h 453"/>
                <a:gd name="T18" fmla="*/ 2147483647 w 1035"/>
                <a:gd name="T19" fmla="*/ 2147483647 h 453"/>
                <a:gd name="T20" fmla="*/ 2147483647 w 1035"/>
                <a:gd name="T21" fmla="*/ 2147483647 h 453"/>
                <a:gd name="T22" fmla="*/ 2147483647 w 1035"/>
                <a:gd name="T23" fmla="*/ 2147483647 h 453"/>
                <a:gd name="T24" fmla="*/ 2147483647 w 1035"/>
                <a:gd name="T25" fmla="*/ 2147483647 h 453"/>
                <a:gd name="T26" fmla="*/ 2147483647 w 1035"/>
                <a:gd name="T27" fmla="*/ 2147483647 h 453"/>
                <a:gd name="T28" fmla="*/ 2147483647 w 1035"/>
                <a:gd name="T29" fmla="*/ 2147483647 h 453"/>
                <a:gd name="T30" fmla="*/ 2147483647 w 1035"/>
                <a:gd name="T31" fmla="*/ 2147483647 h 453"/>
                <a:gd name="T32" fmla="*/ 2147483647 w 1035"/>
                <a:gd name="T33" fmla="*/ 2147483647 h 453"/>
                <a:gd name="T34" fmla="*/ 2147483647 w 1035"/>
                <a:gd name="T35" fmla="*/ 2147483647 h 453"/>
                <a:gd name="T36" fmla="*/ 2147483647 w 1035"/>
                <a:gd name="T37" fmla="*/ 2147483647 h 453"/>
                <a:gd name="T38" fmla="*/ 2147483647 w 1035"/>
                <a:gd name="T39" fmla="*/ 2147483647 h 453"/>
                <a:gd name="T40" fmla="*/ 2147483647 w 1035"/>
                <a:gd name="T41" fmla="*/ 2147483647 h 453"/>
                <a:gd name="T42" fmla="*/ 2147483647 w 1035"/>
                <a:gd name="T43" fmla="*/ 2147483647 h 453"/>
                <a:gd name="T44" fmla="*/ 2147483647 w 1035"/>
                <a:gd name="T45" fmla="*/ 2147483647 h 453"/>
                <a:gd name="T46" fmla="*/ 2147483647 w 1035"/>
                <a:gd name="T47" fmla="*/ 2147483647 h 453"/>
                <a:gd name="T48" fmla="*/ 2147483647 w 1035"/>
                <a:gd name="T49" fmla="*/ 2147483647 h 453"/>
                <a:gd name="T50" fmla="*/ 2147483647 w 1035"/>
                <a:gd name="T51" fmla="*/ 2147483647 h 453"/>
                <a:gd name="T52" fmla="*/ 2147483647 w 1035"/>
                <a:gd name="T53" fmla="*/ 2147483647 h 453"/>
                <a:gd name="T54" fmla="*/ 2147483647 w 1035"/>
                <a:gd name="T55" fmla="*/ 2147483647 h 453"/>
                <a:gd name="T56" fmla="*/ 2147483647 w 1035"/>
                <a:gd name="T57" fmla="*/ 2147483647 h 453"/>
                <a:gd name="T58" fmla="*/ 2147483647 w 1035"/>
                <a:gd name="T59" fmla="*/ 2147483647 h 453"/>
                <a:gd name="T60" fmla="*/ 2147483647 w 1035"/>
                <a:gd name="T61" fmla="*/ 2147483647 h 453"/>
                <a:gd name="T62" fmla="*/ 2147483647 w 1035"/>
                <a:gd name="T63" fmla="*/ 2147483647 h 453"/>
                <a:gd name="T64" fmla="*/ 2147483647 w 1035"/>
                <a:gd name="T65" fmla="*/ 2147483647 h 453"/>
                <a:gd name="T66" fmla="*/ 2147483647 w 1035"/>
                <a:gd name="T67" fmla="*/ 0 h 453"/>
                <a:gd name="T68" fmla="*/ 2147483647 w 1035"/>
                <a:gd name="T69" fmla="*/ 0 h 453"/>
                <a:gd name="T70" fmla="*/ 2147483647 w 1035"/>
                <a:gd name="T71" fmla="*/ 2147483647 h 453"/>
                <a:gd name="T72" fmla="*/ 2147483647 w 1035"/>
                <a:gd name="T73" fmla="*/ 2147483647 h 453"/>
                <a:gd name="T74" fmla="*/ 2147483647 w 1035"/>
                <a:gd name="T75" fmla="*/ 2147483647 h 453"/>
                <a:gd name="T76" fmla="*/ 2147483647 w 1035"/>
                <a:gd name="T77" fmla="*/ 2147483647 h 453"/>
                <a:gd name="T78" fmla="*/ 2147483647 w 1035"/>
                <a:gd name="T79" fmla="*/ 2147483647 h 453"/>
                <a:gd name="T80" fmla="*/ 2147483647 w 1035"/>
                <a:gd name="T81" fmla="*/ 2147483647 h 45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5"/>
                <a:gd name="T124" fmla="*/ 0 h 453"/>
                <a:gd name="T125" fmla="*/ 1035 w 1035"/>
                <a:gd name="T126" fmla="*/ 453 h 45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5" h="453">
                  <a:moveTo>
                    <a:pt x="24" y="116"/>
                  </a:moveTo>
                  <a:lnTo>
                    <a:pt x="24" y="179"/>
                  </a:lnTo>
                  <a:lnTo>
                    <a:pt x="0" y="273"/>
                  </a:lnTo>
                  <a:lnTo>
                    <a:pt x="47" y="291"/>
                  </a:lnTo>
                  <a:lnTo>
                    <a:pt x="93" y="336"/>
                  </a:lnTo>
                  <a:lnTo>
                    <a:pt x="128" y="383"/>
                  </a:lnTo>
                  <a:lnTo>
                    <a:pt x="198" y="406"/>
                  </a:lnTo>
                  <a:lnTo>
                    <a:pt x="314" y="383"/>
                  </a:lnTo>
                  <a:lnTo>
                    <a:pt x="355" y="430"/>
                  </a:lnTo>
                  <a:lnTo>
                    <a:pt x="378" y="430"/>
                  </a:lnTo>
                  <a:lnTo>
                    <a:pt x="471" y="406"/>
                  </a:lnTo>
                  <a:lnTo>
                    <a:pt x="518" y="406"/>
                  </a:lnTo>
                  <a:lnTo>
                    <a:pt x="535" y="406"/>
                  </a:lnTo>
                  <a:lnTo>
                    <a:pt x="558" y="453"/>
                  </a:lnTo>
                  <a:lnTo>
                    <a:pt x="605" y="406"/>
                  </a:lnTo>
                  <a:lnTo>
                    <a:pt x="675" y="383"/>
                  </a:lnTo>
                  <a:lnTo>
                    <a:pt x="698" y="383"/>
                  </a:lnTo>
                  <a:lnTo>
                    <a:pt x="715" y="406"/>
                  </a:lnTo>
                  <a:lnTo>
                    <a:pt x="762" y="406"/>
                  </a:lnTo>
                  <a:lnTo>
                    <a:pt x="808" y="383"/>
                  </a:lnTo>
                  <a:lnTo>
                    <a:pt x="855" y="406"/>
                  </a:lnTo>
                  <a:lnTo>
                    <a:pt x="895" y="383"/>
                  </a:lnTo>
                  <a:lnTo>
                    <a:pt x="965" y="360"/>
                  </a:lnTo>
                  <a:lnTo>
                    <a:pt x="1012" y="360"/>
                  </a:lnTo>
                  <a:lnTo>
                    <a:pt x="1012" y="291"/>
                  </a:lnTo>
                  <a:lnTo>
                    <a:pt x="1035" y="203"/>
                  </a:lnTo>
                  <a:lnTo>
                    <a:pt x="1012" y="156"/>
                  </a:lnTo>
                  <a:lnTo>
                    <a:pt x="965" y="46"/>
                  </a:lnTo>
                  <a:lnTo>
                    <a:pt x="919" y="22"/>
                  </a:lnTo>
                  <a:lnTo>
                    <a:pt x="855" y="22"/>
                  </a:lnTo>
                  <a:lnTo>
                    <a:pt x="762" y="46"/>
                  </a:lnTo>
                  <a:lnTo>
                    <a:pt x="715" y="92"/>
                  </a:lnTo>
                  <a:lnTo>
                    <a:pt x="651" y="69"/>
                  </a:lnTo>
                  <a:lnTo>
                    <a:pt x="448" y="0"/>
                  </a:lnTo>
                  <a:lnTo>
                    <a:pt x="332" y="0"/>
                  </a:lnTo>
                  <a:lnTo>
                    <a:pt x="222" y="46"/>
                  </a:lnTo>
                  <a:lnTo>
                    <a:pt x="128" y="69"/>
                  </a:lnTo>
                  <a:lnTo>
                    <a:pt x="117" y="87"/>
                  </a:lnTo>
                  <a:lnTo>
                    <a:pt x="122" y="116"/>
                  </a:lnTo>
                  <a:lnTo>
                    <a:pt x="58" y="104"/>
                  </a:lnTo>
                  <a:lnTo>
                    <a:pt x="24" y="11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6" name="Freeform 888"/>
            <p:cNvSpPr>
              <a:spLocks/>
            </p:cNvSpPr>
            <p:nvPr/>
          </p:nvSpPr>
          <p:spPr bwMode="auto">
            <a:xfrm>
              <a:off x="6999045" y="3241022"/>
              <a:ext cx="49944" cy="34967"/>
            </a:xfrm>
            <a:custGeom>
              <a:avLst/>
              <a:gdLst>
                <a:gd name="T0" fmla="*/ 2147483647 w 92"/>
                <a:gd name="T1" fmla="*/ 0 h 70"/>
                <a:gd name="T2" fmla="*/ 2147483647 w 92"/>
                <a:gd name="T3" fmla="*/ 0 h 70"/>
                <a:gd name="T4" fmla="*/ 0 w 92"/>
                <a:gd name="T5" fmla="*/ 2147483647 h 70"/>
                <a:gd name="T6" fmla="*/ 0 w 92"/>
                <a:gd name="T7" fmla="*/ 2147483647 h 70"/>
                <a:gd name="T8" fmla="*/ 2147483647 w 92"/>
                <a:gd name="T9" fmla="*/ 2147483647 h 70"/>
                <a:gd name="T10" fmla="*/ 2147483647 w 92"/>
                <a:gd name="T11" fmla="*/ 2147483647 h 70"/>
                <a:gd name="T12" fmla="*/ 2147483647 w 92"/>
                <a:gd name="T13" fmla="*/ 2147483647 h 70"/>
                <a:gd name="T14" fmla="*/ 2147483647 w 92"/>
                <a:gd name="T15" fmla="*/ 2147483647 h 70"/>
                <a:gd name="T16" fmla="*/ 2147483647 w 92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2"/>
                <a:gd name="T28" fmla="*/ 0 h 70"/>
                <a:gd name="T29" fmla="*/ 92 w 9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2" h="70">
                  <a:moveTo>
                    <a:pt x="92" y="0"/>
                  </a:moveTo>
                  <a:lnTo>
                    <a:pt x="46" y="0"/>
                  </a:lnTo>
                  <a:lnTo>
                    <a:pt x="0" y="24"/>
                  </a:lnTo>
                  <a:lnTo>
                    <a:pt x="0" y="70"/>
                  </a:lnTo>
                  <a:lnTo>
                    <a:pt x="23" y="70"/>
                  </a:lnTo>
                  <a:lnTo>
                    <a:pt x="46" y="47"/>
                  </a:lnTo>
                  <a:lnTo>
                    <a:pt x="69" y="47"/>
                  </a:lnTo>
                  <a:lnTo>
                    <a:pt x="92" y="24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7" name="Freeform 889"/>
            <p:cNvSpPr>
              <a:spLocks/>
            </p:cNvSpPr>
            <p:nvPr/>
          </p:nvSpPr>
          <p:spPr bwMode="auto">
            <a:xfrm>
              <a:off x="6684393" y="2646571"/>
              <a:ext cx="504443" cy="254765"/>
            </a:xfrm>
            <a:custGeom>
              <a:avLst/>
              <a:gdLst>
                <a:gd name="T0" fmla="*/ 2147483647 w 924"/>
                <a:gd name="T1" fmla="*/ 2147483647 h 558"/>
                <a:gd name="T2" fmla="*/ 2147483647 w 924"/>
                <a:gd name="T3" fmla="*/ 2147483647 h 558"/>
                <a:gd name="T4" fmla="*/ 2147483647 w 924"/>
                <a:gd name="T5" fmla="*/ 2147483647 h 558"/>
                <a:gd name="T6" fmla="*/ 2147483647 w 924"/>
                <a:gd name="T7" fmla="*/ 2147483647 h 558"/>
                <a:gd name="T8" fmla="*/ 2147483647 w 924"/>
                <a:gd name="T9" fmla="*/ 2147483647 h 558"/>
                <a:gd name="T10" fmla="*/ 2147483647 w 924"/>
                <a:gd name="T11" fmla="*/ 2147483647 h 558"/>
                <a:gd name="T12" fmla="*/ 2147483647 w 924"/>
                <a:gd name="T13" fmla="*/ 2147483647 h 558"/>
                <a:gd name="T14" fmla="*/ 2147483647 w 924"/>
                <a:gd name="T15" fmla="*/ 2147483647 h 558"/>
                <a:gd name="T16" fmla="*/ 2147483647 w 924"/>
                <a:gd name="T17" fmla="*/ 2147483647 h 558"/>
                <a:gd name="T18" fmla="*/ 2147483647 w 924"/>
                <a:gd name="T19" fmla="*/ 2147483647 h 558"/>
                <a:gd name="T20" fmla="*/ 2147483647 w 924"/>
                <a:gd name="T21" fmla="*/ 2147483647 h 558"/>
                <a:gd name="T22" fmla="*/ 2147483647 w 924"/>
                <a:gd name="T23" fmla="*/ 2147483647 h 558"/>
                <a:gd name="T24" fmla="*/ 2147483647 w 924"/>
                <a:gd name="T25" fmla="*/ 2147483647 h 558"/>
                <a:gd name="T26" fmla="*/ 2147483647 w 924"/>
                <a:gd name="T27" fmla="*/ 2147483647 h 558"/>
                <a:gd name="T28" fmla="*/ 2147483647 w 924"/>
                <a:gd name="T29" fmla="*/ 2147483647 h 558"/>
                <a:gd name="T30" fmla="*/ 2147483647 w 924"/>
                <a:gd name="T31" fmla="*/ 2147483647 h 558"/>
                <a:gd name="T32" fmla="*/ 2147483647 w 924"/>
                <a:gd name="T33" fmla="*/ 2147483647 h 558"/>
                <a:gd name="T34" fmla="*/ 2147483647 w 924"/>
                <a:gd name="T35" fmla="*/ 2147483647 h 558"/>
                <a:gd name="T36" fmla="*/ 2147483647 w 924"/>
                <a:gd name="T37" fmla="*/ 2147483647 h 558"/>
                <a:gd name="T38" fmla="*/ 2147483647 w 924"/>
                <a:gd name="T39" fmla="*/ 2147483647 h 558"/>
                <a:gd name="T40" fmla="*/ 2147483647 w 924"/>
                <a:gd name="T41" fmla="*/ 2147483647 h 558"/>
                <a:gd name="T42" fmla="*/ 2147483647 w 924"/>
                <a:gd name="T43" fmla="*/ 2147483647 h 558"/>
                <a:gd name="T44" fmla="*/ 2147483647 w 924"/>
                <a:gd name="T45" fmla="*/ 2147483647 h 558"/>
                <a:gd name="T46" fmla="*/ 2147483647 w 924"/>
                <a:gd name="T47" fmla="*/ 2147483647 h 558"/>
                <a:gd name="T48" fmla="*/ 2147483647 w 924"/>
                <a:gd name="T49" fmla="*/ 2147483647 h 558"/>
                <a:gd name="T50" fmla="*/ 2147483647 w 924"/>
                <a:gd name="T51" fmla="*/ 2147483647 h 558"/>
                <a:gd name="T52" fmla="*/ 2147483647 w 924"/>
                <a:gd name="T53" fmla="*/ 2147483647 h 558"/>
                <a:gd name="T54" fmla="*/ 2147483647 w 924"/>
                <a:gd name="T55" fmla="*/ 2147483647 h 558"/>
                <a:gd name="T56" fmla="*/ 0 w 924"/>
                <a:gd name="T57" fmla="*/ 2147483647 h 558"/>
                <a:gd name="T58" fmla="*/ 2147483647 w 924"/>
                <a:gd name="T59" fmla="*/ 2147483647 h 558"/>
                <a:gd name="T60" fmla="*/ 2147483647 w 924"/>
                <a:gd name="T61" fmla="*/ 2147483647 h 558"/>
                <a:gd name="T62" fmla="*/ 2147483647 w 924"/>
                <a:gd name="T63" fmla="*/ 2147483647 h 558"/>
                <a:gd name="T64" fmla="*/ 2147483647 w 924"/>
                <a:gd name="T65" fmla="*/ 2147483647 h 558"/>
                <a:gd name="T66" fmla="*/ 2147483647 w 924"/>
                <a:gd name="T67" fmla="*/ 2147483647 h 558"/>
                <a:gd name="T68" fmla="*/ 2147483647 w 924"/>
                <a:gd name="T69" fmla="*/ 2147483647 h 558"/>
                <a:gd name="T70" fmla="*/ 2147483647 w 924"/>
                <a:gd name="T71" fmla="*/ 2147483647 h 558"/>
                <a:gd name="T72" fmla="*/ 2147483647 w 924"/>
                <a:gd name="T73" fmla="*/ 2147483647 h 558"/>
                <a:gd name="T74" fmla="*/ 2147483647 w 924"/>
                <a:gd name="T75" fmla="*/ 2147483647 h 558"/>
                <a:gd name="T76" fmla="*/ 2147483647 w 924"/>
                <a:gd name="T77" fmla="*/ 2147483647 h 558"/>
                <a:gd name="T78" fmla="*/ 2147483647 w 924"/>
                <a:gd name="T79" fmla="*/ 2147483647 h 558"/>
                <a:gd name="T80" fmla="*/ 2147483647 w 924"/>
                <a:gd name="T81" fmla="*/ 0 h 558"/>
                <a:gd name="T82" fmla="*/ 2147483647 w 924"/>
                <a:gd name="T83" fmla="*/ 0 h 558"/>
                <a:gd name="T84" fmla="*/ 2147483647 w 924"/>
                <a:gd name="T85" fmla="*/ 2147483647 h 558"/>
                <a:gd name="T86" fmla="*/ 2147483647 w 924"/>
                <a:gd name="T87" fmla="*/ 2147483647 h 558"/>
                <a:gd name="T88" fmla="*/ 2147483647 w 924"/>
                <a:gd name="T89" fmla="*/ 2147483647 h 558"/>
                <a:gd name="T90" fmla="*/ 2147483647 w 924"/>
                <a:gd name="T91" fmla="*/ 2147483647 h 558"/>
                <a:gd name="T92" fmla="*/ 2147483647 w 924"/>
                <a:gd name="T93" fmla="*/ 2147483647 h 558"/>
                <a:gd name="T94" fmla="*/ 2147483647 w 924"/>
                <a:gd name="T95" fmla="*/ 2147483647 h 558"/>
                <a:gd name="T96" fmla="*/ 2147483647 w 924"/>
                <a:gd name="T97" fmla="*/ 2147483647 h 558"/>
                <a:gd name="T98" fmla="*/ 2147483647 w 924"/>
                <a:gd name="T99" fmla="*/ 2147483647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4"/>
                <a:gd name="T151" fmla="*/ 0 h 558"/>
                <a:gd name="T152" fmla="*/ 924 w 924"/>
                <a:gd name="T153" fmla="*/ 558 h 55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4" h="558">
                  <a:moveTo>
                    <a:pt x="877" y="360"/>
                  </a:moveTo>
                  <a:lnTo>
                    <a:pt x="830" y="383"/>
                  </a:lnTo>
                  <a:lnTo>
                    <a:pt x="784" y="430"/>
                  </a:lnTo>
                  <a:lnTo>
                    <a:pt x="697" y="453"/>
                  </a:lnTo>
                  <a:lnTo>
                    <a:pt x="650" y="453"/>
                  </a:lnTo>
                  <a:lnTo>
                    <a:pt x="650" y="493"/>
                  </a:lnTo>
                  <a:lnTo>
                    <a:pt x="697" y="516"/>
                  </a:lnTo>
                  <a:lnTo>
                    <a:pt x="650" y="540"/>
                  </a:lnTo>
                  <a:lnTo>
                    <a:pt x="627" y="540"/>
                  </a:lnTo>
                  <a:lnTo>
                    <a:pt x="581" y="476"/>
                  </a:lnTo>
                  <a:lnTo>
                    <a:pt x="563" y="453"/>
                  </a:lnTo>
                  <a:lnTo>
                    <a:pt x="516" y="453"/>
                  </a:lnTo>
                  <a:lnTo>
                    <a:pt x="471" y="453"/>
                  </a:lnTo>
                  <a:lnTo>
                    <a:pt x="447" y="516"/>
                  </a:lnTo>
                  <a:lnTo>
                    <a:pt x="401" y="540"/>
                  </a:lnTo>
                  <a:lnTo>
                    <a:pt x="377" y="540"/>
                  </a:lnTo>
                  <a:lnTo>
                    <a:pt x="359" y="558"/>
                  </a:lnTo>
                  <a:lnTo>
                    <a:pt x="359" y="441"/>
                  </a:lnTo>
                  <a:lnTo>
                    <a:pt x="412" y="395"/>
                  </a:lnTo>
                  <a:lnTo>
                    <a:pt x="447" y="383"/>
                  </a:lnTo>
                  <a:lnTo>
                    <a:pt x="424" y="336"/>
                  </a:lnTo>
                  <a:lnTo>
                    <a:pt x="377" y="273"/>
                  </a:lnTo>
                  <a:lnTo>
                    <a:pt x="342" y="273"/>
                  </a:lnTo>
                  <a:lnTo>
                    <a:pt x="273" y="296"/>
                  </a:lnTo>
                  <a:lnTo>
                    <a:pt x="249" y="343"/>
                  </a:lnTo>
                  <a:lnTo>
                    <a:pt x="162" y="336"/>
                  </a:lnTo>
                  <a:lnTo>
                    <a:pt x="57" y="343"/>
                  </a:lnTo>
                  <a:lnTo>
                    <a:pt x="17" y="308"/>
                  </a:lnTo>
                  <a:lnTo>
                    <a:pt x="0" y="249"/>
                  </a:lnTo>
                  <a:lnTo>
                    <a:pt x="92" y="116"/>
                  </a:lnTo>
                  <a:lnTo>
                    <a:pt x="69" y="69"/>
                  </a:lnTo>
                  <a:lnTo>
                    <a:pt x="116" y="40"/>
                  </a:lnTo>
                  <a:lnTo>
                    <a:pt x="162" y="40"/>
                  </a:lnTo>
                  <a:lnTo>
                    <a:pt x="180" y="40"/>
                  </a:lnTo>
                  <a:lnTo>
                    <a:pt x="249" y="87"/>
                  </a:lnTo>
                  <a:lnTo>
                    <a:pt x="359" y="40"/>
                  </a:lnTo>
                  <a:lnTo>
                    <a:pt x="377" y="69"/>
                  </a:lnTo>
                  <a:lnTo>
                    <a:pt x="401" y="40"/>
                  </a:lnTo>
                  <a:lnTo>
                    <a:pt x="447" y="23"/>
                  </a:lnTo>
                  <a:lnTo>
                    <a:pt x="493" y="23"/>
                  </a:lnTo>
                  <a:lnTo>
                    <a:pt x="581" y="0"/>
                  </a:lnTo>
                  <a:lnTo>
                    <a:pt x="697" y="0"/>
                  </a:lnTo>
                  <a:lnTo>
                    <a:pt x="738" y="69"/>
                  </a:lnTo>
                  <a:lnTo>
                    <a:pt x="784" y="116"/>
                  </a:lnTo>
                  <a:lnTo>
                    <a:pt x="854" y="116"/>
                  </a:lnTo>
                  <a:lnTo>
                    <a:pt x="900" y="226"/>
                  </a:lnTo>
                  <a:lnTo>
                    <a:pt x="900" y="249"/>
                  </a:lnTo>
                  <a:lnTo>
                    <a:pt x="924" y="319"/>
                  </a:lnTo>
                  <a:lnTo>
                    <a:pt x="854" y="336"/>
                  </a:lnTo>
                  <a:lnTo>
                    <a:pt x="877" y="36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8" name="Freeform 890"/>
            <p:cNvSpPr>
              <a:spLocks/>
            </p:cNvSpPr>
            <p:nvPr/>
          </p:nvSpPr>
          <p:spPr bwMode="auto">
            <a:xfrm>
              <a:off x="6839222" y="2771455"/>
              <a:ext cx="94895" cy="79926"/>
            </a:xfrm>
            <a:custGeom>
              <a:avLst/>
              <a:gdLst>
                <a:gd name="T0" fmla="*/ 0 w 174"/>
                <a:gd name="T1" fmla="*/ 2147483647 h 168"/>
                <a:gd name="T2" fmla="*/ 2147483647 w 174"/>
                <a:gd name="T3" fmla="*/ 2147483647 h 168"/>
                <a:gd name="T4" fmla="*/ 2147483647 w 174"/>
                <a:gd name="T5" fmla="*/ 2147483647 h 168"/>
                <a:gd name="T6" fmla="*/ 2147483647 w 174"/>
                <a:gd name="T7" fmla="*/ 2147483647 h 168"/>
                <a:gd name="T8" fmla="*/ 2147483647 w 174"/>
                <a:gd name="T9" fmla="*/ 2147483647 h 168"/>
                <a:gd name="T10" fmla="*/ 2147483647 w 174"/>
                <a:gd name="T11" fmla="*/ 2147483647 h 168"/>
                <a:gd name="T12" fmla="*/ 2147483647 w 174"/>
                <a:gd name="T13" fmla="*/ 0 h 168"/>
                <a:gd name="T14" fmla="*/ 2147483647 w 174"/>
                <a:gd name="T15" fmla="*/ 0 h 168"/>
                <a:gd name="T16" fmla="*/ 2147483647 w 174"/>
                <a:gd name="T17" fmla="*/ 2147483647 h 168"/>
                <a:gd name="T18" fmla="*/ 0 w 174"/>
                <a:gd name="T19" fmla="*/ 2147483647 h 1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4"/>
                <a:gd name="T31" fmla="*/ 0 h 168"/>
                <a:gd name="T32" fmla="*/ 174 w 174"/>
                <a:gd name="T33" fmla="*/ 168 h 16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4" h="168">
                  <a:moveTo>
                    <a:pt x="0" y="18"/>
                  </a:moveTo>
                  <a:lnTo>
                    <a:pt x="75" y="133"/>
                  </a:lnTo>
                  <a:lnTo>
                    <a:pt x="80" y="168"/>
                  </a:lnTo>
                  <a:lnTo>
                    <a:pt x="133" y="122"/>
                  </a:lnTo>
                  <a:lnTo>
                    <a:pt x="174" y="110"/>
                  </a:lnTo>
                  <a:lnTo>
                    <a:pt x="127" y="35"/>
                  </a:lnTo>
                  <a:lnTo>
                    <a:pt x="98" y="0"/>
                  </a:lnTo>
                  <a:lnTo>
                    <a:pt x="63" y="0"/>
                  </a:lnTo>
                  <a:lnTo>
                    <a:pt x="23" y="11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89" name="Freeform 891"/>
            <p:cNvSpPr>
              <a:spLocks/>
            </p:cNvSpPr>
            <p:nvPr/>
          </p:nvSpPr>
          <p:spPr bwMode="auto">
            <a:xfrm>
              <a:off x="6709364" y="2491714"/>
              <a:ext cx="299667" cy="189824"/>
            </a:xfrm>
            <a:custGeom>
              <a:avLst/>
              <a:gdLst>
                <a:gd name="T0" fmla="*/ 2147483647 w 551"/>
                <a:gd name="T1" fmla="*/ 2147483647 h 424"/>
                <a:gd name="T2" fmla="*/ 0 w 551"/>
                <a:gd name="T3" fmla="*/ 2147483647 h 424"/>
                <a:gd name="T4" fmla="*/ 2147483647 w 551"/>
                <a:gd name="T5" fmla="*/ 2147483647 h 424"/>
                <a:gd name="T6" fmla="*/ 2147483647 w 551"/>
                <a:gd name="T7" fmla="*/ 2147483647 h 424"/>
                <a:gd name="T8" fmla="*/ 2147483647 w 551"/>
                <a:gd name="T9" fmla="*/ 2147483647 h 424"/>
                <a:gd name="T10" fmla="*/ 2147483647 w 551"/>
                <a:gd name="T11" fmla="*/ 2147483647 h 424"/>
                <a:gd name="T12" fmla="*/ 2147483647 w 551"/>
                <a:gd name="T13" fmla="*/ 2147483647 h 424"/>
                <a:gd name="T14" fmla="*/ 2147483647 w 551"/>
                <a:gd name="T15" fmla="*/ 0 h 424"/>
                <a:gd name="T16" fmla="*/ 2147483647 w 551"/>
                <a:gd name="T17" fmla="*/ 2147483647 h 424"/>
                <a:gd name="T18" fmla="*/ 2147483647 w 551"/>
                <a:gd name="T19" fmla="*/ 2147483647 h 424"/>
                <a:gd name="T20" fmla="*/ 2147483647 w 551"/>
                <a:gd name="T21" fmla="*/ 2147483647 h 424"/>
                <a:gd name="T22" fmla="*/ 2147483647 w 551"/>
                <a:gd name="T23" fmla="*/ 2147483647 h 424"/>
                <a:gd name="T24" fmla="*/ 2147483647 w 551"/>
                <a:gd name="T25" fmla="*/ 2147483647 h 424"/>
                <a:gd name="T26" fmla="*/ 2147483647 w 551"/>
                <a:gd name="T27" fmla="*/ 2147483647 h 424"/>
                <a:gd name="T28" fmla="*/ 2147483647 w 551"/>
                <a:gd name="T29" fmla="*/ 2147483647 h 424"/>
                <a:gd name="T30" fmla="*/ 2147483647 w 551"/>
                <a:gd name="T31" fmla="*/ 2147483647 h 424"/>
                <a:gd name="T32" fmla="*/ 2147483647 w 551"/>
                <a:gd name="T33" fmla="*/ 2147483647 h 424"/>
                <a:gd name="T34" fmla="*/ 2147483647 w 551"/>
                <a:gd name="T35" fmla="*/ 2147483647 h 424"/>
                <a:gd name="T36" fmla="*/ 2147483647 w 551"/>
                <a:gd name="T37" fmla="*/ 2147483647 h 424"/>
                <a:gd name="T38" fmla="*/ 2147483647 w 551"/>
                <a:gd name="T39" fmla="*/ 2147483647 h 424"/>
                <a:gd name="T40" fmla="*/ 2147483647 w 551"/>
                <a:gd name="T41" fmla="*/ 2147483647 h 424"/>
                <a:gd name="T42" fmla="*/ 2147483647 w 551"/>
                <a:gd name="T43" fmla="*/ 2147483647 h 424"/>
                <a:gd name="T44" fmla="*/ 2147483647 w 551"/>
                <a:gd name="T45" fmla="*/ 2147483647 h 424"/>
                <a:gd name="T46" fmla="*/ 2147483647 w 551"/>
                <a:gd name="T47" fmla="*/ 2147483647 h 42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51"/>
                <a:gd name="T73" fmla="*/ 0 h 424"/>
                <a:gd name="T74" fmla="*/ 551 w 551"/>
                <a:gd name="T75" fmla="*/ 424 h 42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51" h="424">
                  <a:moveTo>
                    <a:pt x="40" y="401"/>
                  </a:moveTo>
                  <a:lnTo>
                    <a:pt x="0" y="337"/>
                  </a:lnTo>
                  <a:lnTo>
                    <a:pt x="22" y="290"/>
                  </a:lnTo>
                  <a:lnTo>
                    <a:pt x="22" y="232"/>
                  </a:lnTo>
                  <a:lnTo>
                    <a:pt x="87" y="209"/>
                  </a:lnTo>
                  <a:lnTo>
                    <a:pt x="133" y="157"/>
                  </a:lnTo>
                  <a:lnTo>
                    <a:pt x="162" y="87"/>
                  </a:lnTo>
                  <a:lnTo>
                    <a:pt x="272" y="0"/>
                  </a:lnTo>
                  <a:lnTo>
                    <a:pt x="371" y="46"/>
                  </a:lnTo>
                  <a:lnTo>
                    <a:pt x="458" y="58"/>
                  </a:lnTo>
                  <a:lnTo>
                    <a:pt x="476" y="105"/>
                  </a:lnTo>
                  <a:lnTo>
                    <a:pt x="528" y="140"/>
                  </a:lnTo>
                  <a:lnTo>
                    <a:pt x="551" y="197"/>
                  </a:lnTo>
                  <a:lnTo>
                    <a:pt x="516" y="284"/>
                  </a:lnTo>
                  <a:lnTo>
                    <a:pt x="528" y="342"/>
                  </a:lnTo>
                  <a:lnTo>
                    <a:pt x="464" y="366"/>
                  </a:lnTo>
                  <a:lnTo>
                    <a:pt x="400" y="360"/>
                  </a:lnTo>
                  <a:lnTo>
                    <a:pt x="330" y="406"/>
                  </a:lnTo>
                  <a:lnTo>
                    <a:pt x="312" y="377"/>
                  </a:lnTo>
                  <a:lnTo>
                    <a:pt x="272" y="394"/>
                  </a:lnTo>
                  <a:lnTo>
                    <a:pt x="202" y="424"/>
                  </a:lnTo>
                  <a:lnTo>
                    <a:pt x="133" y="377"/>
                  </a:lnTo>
                  <a:lnTo>
                    <a:pt x="69" y="377"/>
                  </a:lnTo>
                  <a:lnTo>
                    <a:pt x="40" y="401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0" name="Freeform 892"/>
            <p:cNvSpPr>
              <a:spLocks/>
            </p:cNvSpPr>
            <p:nvPr/>
          </p:nvSpPr>
          <p:spPr bwMode="auto">
            <a:xfrm>
              <a:off x="6639445" y="2781447"/>
              <a:ext cx="239734" cy="164850"/>
            </a:xfrm>
            <a:custGeom>
              <a:avLst/>
              <a:gdLst>
                <a:gd name="T0" fmla="*/ 2147483647 w 447"/>
                <a:gd name="T1" fmla="*/ 2147483647 h 359"/>
                <a:gd name="T2" fmla="*/ 2147483647 w 447"/>
                <a:gd name="T3" fmla="*/ 2147483647 h 359"/>
                <a:gd name="T4" fmla="*/ 0 w 447"/>
                <a:gd name="T5" fmla="*/ 2147483647 h 359"/>
                <a:gd name="T6" fmla="*/ 0 w 447"/>
                <a:gd name="T7" fmla="*/ 2147483647 h 359"/>
                <a:gd name="T8" fmla="*/ 2147483647 w 447"/>
                <a:gd name="T9" fmla="*/ 2147483647 h 359"/>
                <a:gd name="T10" fmla="*/ 2147483647 w 447"/>
                <a:gd name="T11" fmla="*/ 2147483647 h 359"/>
                <a:gd name="T12" fmla="*/ 2147483647 w 447"/>
                <a:gd name="T13" fmla="*/ 2147483647 h 359"/>
                <a:gd name="T14" fmla="*/ 2147483647 w 447"/>
                <a:gd name="T15" fmla="*/ 2147483647 h 359"/>
                <a:gd name="T16" fmla="*/ 2147483647 w 447"/>
                <a:gd name="T17" fmla="*/ 2147483647 h 359"/>
                <a:gd name="T18" fmla="*/ 2147483647 w 447"/>
                <a:gd name="T19" fmla="*/ 2147483647 h 359"/>
                <a:gd name="T20" fmla="*/ 2147483647 w 447"/>
                <a:gd name="T21" fmla="*/ 2147483647 h 359"/>
                <a:gd name="T22" fmla="*/ 2147483647 w 447"/>
                <a:gd name="T23" fmla="*/ 2147483647 h 359"/>
                <a:gd name="T24" fmla="*/ 2147483647 w 447"/>
                <a:gd name="T25" fmla="*/ 2147483647 h 359"/>
                <a:gd name="T26" fmla="*/ 2147483647 w 447"/>
                <a:gd name="T27" fmla="*/ 2147483647 h 359"/>
                <a:gd name="T28" fmla="*/ 2147483647 w 447"/>
                <a:gd name="T29" fmla="*/ 2147483647 h 359"/>
                <a:gd name="T30" fmla="*/ 2147483647 w 447"/>
                <a:gd name="T31" fmla="*/ 2147483647 h 359"/>
                <a:gd name="T32" fmla="*/ 2147483647 w 447"/>
                <a:gd name="T33" fmla="*/ 0 h 359"/>
                <a:gd name="T34" fmla="*/ 2147483647 w 447"/>
                <a:gd name="T35" fmla="*/ 2147483647 h 359"/>
                <a:gd name="T36" fmla="*/ 2147483647 w 447"/>
                <a:gd name="T37" fmla="*/ 2147483647 h 359"/>
                <a:gd name="T38" fmla="*/ 2147483647 w 447"/>
                <a:gd name="T39" fmla="*/ 2147483647 h 3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47"/>
                <a:gd name="T61" fmla="*/ 0 h 359"/>
                <a:gd name="T62" fmla="*/ 447 w 447"/>
                <a:gd name="T63" fmla="*/ 359 h 3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47" h="359">
                  <a:moveTo>
                    <a:pt x="111" y="28"/>
                  </a:moveTo>
                  <a:lnTo>
                    <a:pt x="65" y="115"/>
                  </a:lnTo>
                  <a:lnTo>
                    <a:pt x="0" y="185"/>
                  </a:lnTo>
                  <a:lnTo>
                    <a:pt x="0" y="225"/>
                  </a:lnTo>
                  <a:lnTo>
                    <a:pt x="41" y="272"/>
                  </a:lnTo>
                  <a:lnTo>
                    <a:pt x="111" y="295"/>
                  </a:lnTo>
                  <a:lnTo>
                    <a:pt x="135" y="312"/>
                  </a:lnTo>
                  <a:lnTo>
                    <a:pt x="227" y="359"/>
                  </a:lnTo>
                  <a:lnTo>
                    <a:pt x="314" y="295"/>
                  </a:lnTo>
                  <a:lnTo>
                    <a:pt x="361" y="336"/>
                  </a:lnTo>
                  <a:lnTo>
                    <a:pt x="430" y="312"/>
                  </a:lnTo>
                  <a:lnTo>
                    <a:pt x="436" y="295"/>
                  </a:lnTo>
                  <a:lnTo>
                    <a:pt x="442" y="272"/>
                  </a:lnTo>
                  <a:lnTo>
                    <a:pt x="447" y="202"/>
                  </a:lnTo>
                  <a:lnTo>
                    <a:pt x="447" y="115"/>
                  </a:lnTo>
                  <a:lnTo>
                    <a:pt x="407" y="45"/>
                  </a:lnTo>
                  <a:lnTo>
                    <a:pt x="361" y="0"/>
                  </a:lnTo>
                  <a:lnTo>
                    <a:pt x="337" y="45"/>
                  </a:lnTo>
                  <a:lnTo>
                    <a:pt x="157" y="45"/>
                  </a:lnTo>
                  <a:lnTo>
                    <a:pt x="111" y="2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1" name="Freeform 893"/>
            <p:cNvSpPr>
              <a:spLocks/>
            </p:cNvSpPr>
            <p:nvPr/>
          </p:nvSpPr>
          <p:spPr bwMode="auto">
            <a:xfrm>
              <a:off x="6404702" y="2681538"/>
              <a:ext cx="289680" cy="119891"/>
            </a:xfrm>
            <a:custGeom>
              <a:avLst/>
              <a:gdLst>
                <a:gd name="T0" fmla="*/ 2147483647 w 535"/>
                <a:gd name="T1" fmla="*/ 2147483647 h 249"/>
                <a:gd name="T2" fmla="*/ 2147483647 w 535"/>
                <a:gd name="T3" fmla="*/ 2147483647 h 249"/>
                <a:gd name="T4" fmla="*/ 2147483647 w 535"/>
                <a:gd name="T5" fmla="*/ 2147483647 h 249"/>
                <a:gd name="T6" fmla="*/ 2147483647 w 535"/>
                <a:gd name="T7" fmla="*/ 2147483647 h 249"/>
                <a:gd name="T8" fmla="*/ 2147483647 w 535"/>
                <a:gd name="T9" fmla="*/ 2147483647 h 249"/>
                <a:gd name="T10" fmla="*/ 2147483647 w 535"/>
                <a:gd name="T11" fmla="*/ 0 h 249"/>
                <a:gd name="T12" fmla="*/ 0 w 535"/>
                <a:gd name="T13" fmla="*/ 2147483647 h 249"/>
                <a:gd name="T14" fmla="*/ 2147483647 w 535"/>
                <a:gd name="T15" fmla="*/ 2147483647 h 249"/>
                <a:gd name="T16" fmla="*/ 2147483647 w 535"/>
                <a:gd name="T17" fmla="*/ 2147483647 h 249"/>
                <a:gd name="T18" fmla="*/ 2147483647 w 535"/>
                <a:gd name="T19" fmla="*/ 2147483647 h 249"/>
                <a:gd name="T20" fmla="*/ 2147483647 w 535"/>
                <a:gd name="T21" fmla="*/ 2147483647 h 249"/>
                <a:gd name="T22" fmla="*/ 2147483647 w 535"/>
                <a:gd name="T23" fmla="*/ 2147483647 h 249"/>
                <a:gd name="T24" fmla="*/ 2147483647 w 535"/>
                <a:gd name="T25" fmla="*/ 2147483647 h 249"/>
                <a:gd name="T26" fmla="*/ 2147483647 w 535"/>
                <a:gd name="T27" fmla="*/ 2147483647 h 249"/>
                <a:gd name="T28" fmla="*/ 2147483647 w 535"/>
                <a:gd name="T29" fmla="*/ 2147483647 h 249"/>
                <a:gd name="T30" fmla="*/ 2147483647 w 535"/>
                <a:gd name="T31" fmla="*/ 2147483647 h 249"/>
                <a:gd name="T32" fmla="*/ 2147483647 w 535"/>
                <a:gd name="T33" fmla="*/ 2147483647 h 249"/>
                <a:gd name="T34" fmla="*/ 2147483647 w 535"/>
                <a:gd name="T35" fmla="*/ 2147483647 h 249"/>
                <a:gd name="T36" fmla="*/ 2147483647 w 535"/>
                <a:gd name="T37" fmla="*/ 2147483647 h 2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35"/>
                <a:gd name="T58" fmla="*/ 0 h 249"/>
                <a:gd name="T59" fmla="*/ 535 w 535"/>
                <a:gd name="T60" fmla="*/ 249 h 2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35" h="249">
                  <a:moveTo>
                    <a:pt x="518" y="174"/>
                  </a:moveTo>
                  <a:lnTo>
                    <a:pt x="453" y="139"/>
                  </a:lnTo>
                  <a:lnTo>
                    <a:pt x="384" y="139"/>
                  </a:lnTo>
                  <a:lnTo>
                    <a:pt x="343" y="139"/>
                  </a:lnTo>
                  <a:lnTo>
                    <a:pt x="273" y="70"/>
                  </a:lnTo>
                  <a:lnTo>
                    <a:pt x="117" y="0"/>
                  </a:lnTo>
                  <a:lnTo>
                    <a:pt x="0" y="92"/>
                  </a:lnTo>
                  <a:lnTo>
                    <a:pt x="47" y="139"/>
                  </a:lnTo>
                  <a:lnTo>
                    <a:pt x="47" y="186"/>
                  </a:lnTo>
                  <a:lnTo>
                    <a:pt x="117" y="186"/>
                  </a:lnTo>
                  <a:lnTo>
                    <a:pt x="157" y="162"/>
                  </a:lnTo>
                  <a:lnTo>
                    <a:pt x="181" y="186"/>
                  </a:lnTo>
                  <a:lnTo>
                    <a:pt x="227" y="186"/>
                  </a:lnTo>
                  <a:lnTo>
                    <a:pt x="251" y="249"/>
                  </a:lnTo>
                  <a:lnTo>
                    <a:pt x="366" y="249"/>
                  </a:lnTo>
                  <a:lnTo>
                    <a:pt x="408" y="232"/>
                  </a:lnTo>
                  <a:lnTo>
                    <a:pt x="477" y="232"/>
                  </a:lnTo>
                  <a:lnTo>
                    <a:pt x="535" y="221"/>
                  </a:lnTo>
                  <a:lnTo>
                    <a:pt x="518" y="17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2" name="Freeform 894"/>
            <p:cNvSpPr>
              <a:spLocks/>
            </p:cNvSpPr>
            <p:nvPr/>
          </p:nvSpPr>
          <p:spPr bwMode="auto">
            <a:xfrm>
              <a:off x="6444658" y="2551656"/>
              <a:ext cx="294676" cy="214802"/>
            </a:xfrm>
            <a:custGeom>
              <a:avLst/>
              <a:gdLst>
                <a:gd name="T0" fmla="*/ 2147483647 w 540"/>
                <a:gd name="T1" fmla="*/ 2147483647 h 465"/>
                <a:gd name="T2" fmla="*/ 2147483647 w 540"/>
                <a:gd name="T3" fmla="*/ 2147483647 h 465"/>
                <a:gd name="T4" fmla="*/ 2147483647 w 540"/>
                <a:gd name="T5" fmla="*/ 2147483647 h 465"/>
                <a:gd name="T6" fmla="*/ 0 w 540"/>
                <a:gd name="T7" fmla="*/ 2147483647 h 465"/>
                <a:gd name="T8" fmla="*/ 2147483647 w 540"/>
                <a:gd name="T9" fmla="*/ 2147483647 h 465"/>
                <a:gd name="T10" fmla="*/ 2147483647 w 540"/>
                <a:gd name="T11" fmla="*/ 2147483647 h 465"/>
                <a:gd name="T12" fmla="*/ 2147483647 w 540"/>
                <a:gd name="T13" fmla="*/ 0 h 465"/>
                <a:gd name="T14" fmla="*/ 2147483647 w 540"/>
                <a:gd name="T15" fmla="*/ 0 h 465"/>
                <a:gd name="T16" fmla="*/ 2147483647 w 540"/>
                <a:gd name="T17" fmla="*/ 0 h 465"/>
                <a:gd name="T18" fmla="*/ 2147483647 w 540"/>
                <a:gd name="T19" fmla="*/ 2147483647 h 465"/>
                <a:gd name="T20" fmla="*/ 2147483647 w 540"/>
                <a:gd name="T21" fmla="*/ 2147483647 h 465"/>
                <a:gd name="T22" fmla="*/ 2147483647 w 540"/>
                <a:gd name="T23" fmla="*/ 2147483647 h 465"/>
                <a:gd name="T24" fmla="*/ 2147483647 w 540"/>
                <a:gd name="T25" fmla="*/ 2147483647 h 465"/>
                <a:gd name="T26" fmla="*/ 2147483647 w 540"/>
                <a:gd name="T27" fmla="*/ 2147483647 h 465"/>
                <a:gd name="T28" fmla="*/ 2147483647 w 540"/>
                <a:gd name="T29" fmla="*/ 2147483647 h 465"/>
                <a:gd name="T30" fmla="*/ 2147483647 w 540"/>
                <a:gd name="T31" fmla="*/ 2147483647 h 465"/>
                <a:gd name="T32" fmla="*/ 2147483647 w 540"/>
                <a:gd name="T33" fmla="*/ 2147483647 h 465"/>
                <a:gd name="T34" fmla="*/ 2147483647 w 540"/>
                <a:gd name="T35" fmla="*/ 2147483647 h 465"/>
                <a:gd name="T36" fmla="*/ 2147483647 w 540"/>
                <a:gd name="T37" fmla="*/ 2147483647 h 465"/>
                <a:gd name="T38" fmla="*/ 2147483647 w 540"/>
                <a:gd name="T39" fmla="*/ 2147483647 h 465"/>
                <a:gd name="T40" fmla="*/ 2147483647 w 540"/>
                <a:gd name="T41" fmla="*/ 2147483647 h 465"/>
                <a:gd name="T42" fmla="*/ 2147483647 w 540"/>
                <a:gd name="T43" fmla="*/ 2147483647 h 465"/>
                <a:gd name="T44" fmla="*/ 2147483647 w 540"/>
                <a:gd name="T45" fmla="*/ 2147483647 h 465"/>
                <a:gd name="T46" fmla="*/ 2147483647 w 540"/>
                <a:gd name="T47" fmla="*/ 2147483647 h 4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40"/>
                <a:gd name="T73" fmla="*/ 0 h 465"/>
                <a:gd name="T74" fmla="*/ 540 w 540"/>
                <a:gd name="T75" fmla="*/ 465 h 4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40" h="465">
                  <a:moveTo>
                    <a:pt x="47" y="296"/>
                  </a:moveTo>
                  <a:lnTo>
                    <a:pt x="47" y="244"/>
                  </a:lnTo>
                  <a:lnTo>
                    <a:pt x="47" y="204"/>
                  </a:lnTo>
                  <a:lnTo>
                    <a:pt x="0" y="181"/>
                  </a:lnTo>
                  <a:lnTo>
                    <a:pt x="17" y="111"/>
                  </a:lnTo>
                  <a:lnTo>
                    <a:pt x="17" y="70"/>
                  </a:lnTo>
                  <a:lnTo>
                    <a:pt x="157" y="0"/>
                  </a:lnTo>
                  <a:lnTo>
                    <a:pt x="273" y="0"/>
                  </a:lnTo>
                  <a:lnTo>
                    <a:pt x="296" y="0"/>
                  </a:lnTo>
                  <a:lnTo>
                    <a:pt x="407" y="47"/>
                  </a:lnTo>
                  <a:lnTo>
                    <a:pt x="448" y="70"/>
                  </a:lnTo>
                  <a:lnTo>
                    <a:pt x="517" y="87"/>
                  </a:lnTo>
                  <a:lnTo>
                    <a:pt x="517" y="157"/>
                  </a:lnTo>
                  <a:lnTo>
                    <a:pt x="495" y="204"/>
                  </a:lnTo>
                  <a:lnTo>
                    <a:pt x="517" y="244"/>
                  </a:lnTo>
                  <a:lnTo>
                    <a:pt x="540" y="291"/>
                  </a:lnTo>
                  <a:lnTo>
                    <a:pt x="523" y="355"/>
                  </a:lnTo>
                  <a:lnTo>
                    <a:pt x="465" y="430"/>
                  </a:lnTo>
                  <a:lnTo>
                    <a:pt x="448" y="465"/>
                  </a:lnTo>
                  <a:lnTo>
                    <a:pt x="366" y="430"/>
                  </a:lnTo>
                  <a:lnTo>
                    <a:pt x="268" y="430"/>
                  </a:lnTo>
                  <a:lnTo>
                    <a:pt x="198" y="355"/>
                  </a:lnTo>
                  <a:lnTo>
                    <a:pt x="139" y="326"/>
                  </a:lnTo>
                  <a:lnTo>
                    <a:pt x="47" y="29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3" name="Freeform 895"/>
            <p:cNvSpPr>
              <a:spLocks/>
            </p:cNvSpPr>
            <p:nvPr/>
          </p:nvSpPr>
          <p:spPr bwMode="auto">
            <a:xfrm>
              <a:off x="6604482" y="2481722"/>
              <a:ext cx="194785" cy="114894"/>
            </a:xfrm>
            <a:custGeom>
              <a:avLst/>
              <a:gdLst>
                <a:gd name="T0" fmla="*/ 0 w 361"/>
                <a:gd name="T1" fmla="*/ 2147483647 h 239"/>
                <a:gd name="T2" fmla="*/ 2147483647 w 361"/>
                <a:gd name="T3" fmla="*/ 2147483647 h 239"/>
                <a:gd name="T4" fmla="*/ 2147483647 w 361"/>
                <a:gd name="T5" fmla="*/ 2147483647 h 239"/>
                <a:gd name="T6" fmla="*/ 2147483647 w 361"/>
                <a:gd name="T7" fmla="*/ 2147483647 h 239"/>
                <a:gd name="T8" fmla="*/ 2147483647 w 361"/>
                <a:gd name="T9" fmla="*/ 2147483647 h 239"/>
                <a:gd name="T10" fmla="*/ 2147483647 w 361"/>
                <a:gd name="T11" fmla="*/ 0 h 239"/>
                <a:gd name="T12" fmla="*/ 2147483647 w 361"/>
                <a:gd name="T13" fmla="*/ 2147483647 h 239"/>
                <a:gd name="T14" fmla="*/ 2147483647 w 361"/>
                <a:gd name="T15" fmla="*/ 2147483647 h 239"/>
                <a:gd name="T16" fmla="*/ 2147483647 w 361"/>
                <a:gd name="T17" fmla="*/ 2147483647 h 239"/>
                <a:gd name="T18" fmla="*/ 2147483647 w 361"/>
                <a:gd name="T19" fmla="*/ 2147483647 h 239"/>
                <a:gd name="T20" fmla="*/ 2147483647 w 361"/>
                <a:gd name="T21" fmla="*/ 2147483647 h 239"/>
                <a:gd name="T22" fmla="*/ 2147483647 w 361"/>
                <a:gd name="T23" fmla="*/ 2147483647 h 239"/>
                <a:gd name="T24" fmla="*/ 2147483647 w 361"/>
                <a:gd name="T25" fmla="*/ 2147483647 h 239"/>
                <a:gd name="T26" fmla="*/ 2147483647 w 361"/>
                <a:gd name="T27" fmla="*/ 2147483647 h 239"/>
                <a:gd name="T28" fmla="*/ 2147483647 w 361"/>
                <a:gd name="T29" fmla="*/ 2147483647 h 239"/>
                <a:gd name="T30" fmla="*/ 2147483647 w 361"/>
                <a:gd name="T31" fmla="*/ 2147483647 h 239"/>
                <a:gd name="T32" fmla="*/ 2147483647 w 361"/>
                <a:gd name="T33" fmla="*/ 2147483647 h 239"/>
                <a:gd name="T34" fmla="*/ 0 w 361"/>
                <a:gd name="T35" fmla="*/ 2147483647 h 2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61"/>
                <a:gd name="T55" fmla="*/ 0 h 239"/>
                <a:gd name="T56" fmla="*/ 361 w 361"/>
                <a:gd name="T57" fmla="*/ 239 h 2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61" h="239">
                  <a:moveTo>
                    <a:pt x="0" y="145"/>
                  </a:moveTo>
                  <a:lnTo>
                    <a:pt x="42" y="117"/>
                  </a:lnTo>
                  <a:lnTo>
                    <a:pt x="42" y="87"/>
                  </a:lnTo>
                  <a:lnTo>
                    <a:pt x="52" y="29"/>
                  </a:lnTo>
                  <a:lnTo>
                    <a:pt x="87" y="18"/>
                  </a:lnTo>
                  <a:lnTo>
                    <a:pt x="111" y="0"/>
                  </a:lnTo>
                  <a:lnTo>
                    <a:pt x="129" y="29"/>
                  </a:lnTo>
                  <a:lnTo>
                    <a:pt x="152" y="58"/>
                  </a:lnTo>
                  <a:lnTo>
                    <a:pt x="221" y="75"/>
                  </a:lnTo>
                  <a:lnTo>
                    <a:pt x="286" y="58"/>
                  </a:lnTo>
                  <a:lnTo>
                    <a:pt x="314" y="75"/>
                  </a:lnTo>
                  <a:lnTo>
                    <a:pt x="361" y="105"/>
                  </a:lnTo>
                  <a:lnTo>
                    <a:pt x="332" y="169"/>
                  </a:lnTo>
                  <a:lnTo>
                    <a:pt x="279" y="221"/>
                  </a:lnTo>
                  <a:lnTo>
                    <a:pt x="221" y="239"/>
                  </a:lnTo>
                  <a:lnTo>
                    <a:pt x="152" y="215"/>
                  </a:lnTo>
                  <a:lnTo>
                    <a:pt x="42" y="169"/>
                  </a:lnTo>
                  <a:lnTo>
                    <a:pt x="0" y="14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4" name="Freeform 896"/>
            <p:cNvSpPr>
              <a:spLocks/>
            </p:cNvSpPr>
            <p:nvPr/>
          </p:nvSpPr>
          <p:spPr bwMode="auto">
            <a:xfrm>
              <a:off x="6639445" y="2416780"/>
              <a:ext cx="219757" cy="109898"/>
            </a:xfrm>
            <a:custGeom>
              <a:avLst/>
              <a:gdLst>
                <a:gd name="T0" fmla="*/ 0 w 407"/>
                <a:gd name="T1" fmla="*/ 2147483647 h 244"/>
                <a:gd name="T2" fmla="*/ 0 w 407"/>
                <a:gd name="T3" fmla="*/ 2147483647 h 244"/>
                <a:gd name="T4" fmla="*/ 2147483647 w 407"/>
                <a:gd name="T5" fmla="*/ 2147483647 h 244"/>
                <a:gd name="T6" fmla="*/ 2147483647 w 407"/>
                <a:gd name="T7" fmla="*/ 2147483647 h 244"/>
                <a:gd name="T8" fmla="*/ 2147483647 w 407"/>
                <a:gd name="T9" fmla="*/ 2147483647 h 244"/>
                <a:gd name="T10" fmla="*/ 2147483647 w 407"/>
                <a:gd name="T11" fmla="*/ 0 h 244"/>
                <a:gd name="T12" fmla="*/ 2147483647 w 407"/>
                <a:gd name="T13" fmla="*/ 2147483647 h 244"/>
                <a:gd name="T14" fmla="*/ 2147483647 w 407"/>
                <a:gd name="T15" fmla="*/ 2147483647 h 244"/>
                <a:gd name="T16" fmla="*/ 2147483647 w 407"/>
                <a:gd name="T17" fmla="*/ 2147483647 h 244"/>
                <a:gd name="T18" fmla="*/ 2147483647 w 407"/>
                <a:gd name="T19" fmla="*/ 2147483647 h 244"/>
                <a:gd name="T20" fmla="*/ 2147483647 w 407"/>
                <a:gd name="T21" fmla="*/ 2147483647 h 244"/>
                <a:gd name="T22" fmla="*/ 2147483647 w 407"/>
                <a:gd name="T23" fmla="*/ 2147483647 h 244"/>
                <a:gd name="T24" fmla="*/ 2147483647 w 407"/>
                <a:gd name="T25" fmla="*/ 2147483647 h 244"/>
                <a:gd name="T26" fmla="*/ 2147483647 w 407"/>
                <a:gd name="T27" fmla="*/ 2147483647 h 244"/>
                <a:gd name="T28" fmla="*/ 2147483647 w 407"/>
                <a:gd name="T29" fmla="*/ 2147483647 h 244"/>
                <a:gd name="T30" fmla="*/ 2147483647 w 407"/>
                <a:gd name="T31" fmla="*/ 2147483647 h 244"/>
                <a:gd name="T32" fmla="*/ 2147483647 w 407"/>
                <a:gd name="T33" fmla="*/ 2147483647 h 244"/>
                <a:gd name="T34" fmla="*/ 2147483647 w 407"/>
                <a:gd name="T35" fmla="*/ 2147483647 h 244"/>
                <a:gd name="T36" fmla="*/ 0 w 407"/>
                <a:gd name="T37" fmla="*/ 2147483647 h 2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7"/>
                <a:gd name="T58" fmla="*/ 0 h 244"/>
                <a:gd name="T59" fmla="*/ 407 w 407"/>
                <a:gd name="T60" fmla="*/ 244 h 2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7" h="244">
                  <a:moveTo>
                    <a:pt x="0" y="174"/>
                  </a:moveTo>
                  <a:lnTo>
                    <a:pt x="0" y="110"/>
                  </a:lnTo>
                  <a:lnTo>
                    <a:pt x="47" y="63"/>
                  </a:lnTo>
                  <a:lnTo>
                    <a:pt x="135" y="87"/>
                  </a:lnTo>
                  <a:lnTo>
                    <a:pt x="157" y="87"/>
                  </a:lnTo>
                  <a:lnTo>
                    <a:pt x="135" y="0"/>
                  </a:lnTo>
                  <a:lnTo>
                    <a:pt x="204" y="63"/>
                  </a:lnTo>
                  <a:lnTo>
                    <a:pt x="250" y="63"/>
                  </a:lnTo>
                  <a:lnTo>
                    <a:pt x="297" y="70"/>
                  </a:lnTo>
                  <a:lnTo>
                    <a:pt x="407" y="151"/>
                  </a:lnTo>
                  <a:lnTo>
                    <a:pt x="378" y="180"/>
                  </a:lnTo>
                  <a:lnTo>
                    <a:pt x="297" y="244"/>
                  </a:lnTo>
                  <a:lnTo>
                    <a:pt x="222" y="203"/>
                  </a:lnTo>
                  <a:lnTo>
                    <a:pt x="145" y="220"/>
                  </a:lnTo>
                  <a:lnTo>
                    <a:pt x="88" y="203"/>
                  </a:lnTo>
                  <a:lnTo>
                    <a:pt x="65" y="174"/>
                  </a:lnTo>
                  <a:lnTo>
                    <a:pt x="47" y="133"/>
                  </a:lnTo>
                  <a:lnTo>
                    <a:pt x="23" y="163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5" name="Freeform 897"/>
            <p:cNvSpPr>
              <a:spLocks/>
            </p:cNvSpPr>
            <p:nvPr/>
          </p:nvSpPr>
          <p:spPr bwMode="auto">
            <a:xfrm>
              <a:off x="6709364" y="2351843"/>
              <a:ext cx="164819" cy="124886"/>
            </a:xfrm>
            <a:custGeom>
              <a:avLst/>
              <a:gdLst>
                <a:gd name="T0" fmla="*/ 0 w 295"/>
                <a:gd name="T1" fmla="*/ 2147483647 h 272"/>
                <a:gd name="T2" fmla="*/ 0 w 295"/>
                <a:gd name="T3" fmla="*/ 2147483647 h 272"/>
                <a:gd name="T4" fmla="*/ 2147483647 w 295"/>
                <a:gd name="T5" fmla="*/ 2147483647 h 272"/>
                <a:gd name="T6" fmla="*/ 2147483647 w 295"/>
                <a:gd name="T7" fmla="*/ 2147483647 h 272"/>
                <a:gd name="T8" fmla="*/ 2147483647 w 295"/>
                <a:gd name="T9" fmla="*/ 0 h 272"/>
                <a:gd name="T10" fmla="*/ 2147483647 w 295"/>
                <a:gd name="T11" fmla="*/ 0 h 272"/>
                <a:gd name="T12" fmla="*/ 2147483647 w 295"/>
                <a:gd name="T13" fmla="*/ 2147483647 h 272"/>
                <a:gd name="T14" fmla="*/ 2147483647 w 295"/>
                <a:gd name="T15" fmla="*/ 2147483647 h 272"/>
                <a:gd name="T16" fmla="*/ 2147483647 w 295"/>
                <a:gd name="T17" fmla="*/ 2147483647 h 272"/>
                <a:gd name="T18" fmla="*/ 2147483647 w 295"/>
                <a:gd name="T19" fmla="*/ 2147483647 h 272"/>
                <a:gd name="T20" fmla="*/ 2147483647 w 295"/>
                <a:gd name="T21" fmla="*/ 2147483647 h 272"/>
                <a:gd name="T22" fmla="*/ 2147483647 w 295"/>
                <a:gd name="T23" fmla="*/ 2147483647 h 272"/>
                <a:gd name="T24" fmla="*/ 2147483647 w 295"/>
                <a:gd name="T25" fmla="*/ 2147483647 h 272"/>
                <a:gd name="T26" fmla="*/ 2147483647 w 295"/>
                <a:gd name="T27" fmla="*/ 2147483647 h 272"/>
                <a:gd name="T28" fmla="*/ 2147483647 w 295"/>
                <a:gd name="T29" fmla="*/ 2147483647 h 272"/>
                <a:gd name="T30" fmla="*/ 0 w 295"/>
                <a:gd name="T31" fmla="*/ 2147483647 h 27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5"/>
                <a:gd name="T49" fmla="*/ 0 h 272"/>
                <a:gd name="T50" fmla="*/ 295 w 295"/>
                <a:gd name="T51" fmla="*/ 272 h 27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5" h="272">
                  <a:moveTo>
                    <a:pt x="0" y="139"/>
                  </a:moveTo>
                  <a:lnTo>
                    <a:pt x="0" y="69"/>
                  </a:lnTo>
                  <a:lnTo>
                    <a:pt x="45" y="45"/>
                  </a:lnTo>
                  <a:lnTo>
                    <a:pt x="133" y="23"/>
                  </a:lnTo>
                  <a:lnTo>
                    <a:pt x="162" y="0"/>
                  </a:lnTo>
                  <a:lnTo>
                    <a:pt x="202" y="0"/>
                  </a:lnTo>
                  <a:lnTo>
                    <a:pt x="295" y="23"/>
                  </a:lnTo>
                  <a:lnTo>
                    <a:pt x="249" y="45"/>
                  </a:lnTo>
                  <a:lnTo>
                    <a:pt x="272" y="115"/>
                  </a:lnTo>
                  <a:lnTo>
                    <a:pt x="295" y="157"/>
                  </a:lnTo>
                  <a:lnTo>
                    <a:pt x="272" y="220"/>
                  </a:lnTo>
                  <a:lnTo>
                    <a:pt x="249" y="272"/>
                  </a:lnTo>
                  <a:lnTo>
                    <a:pt x="162" y="202"/>
                  </a:lnTo>
                  <a:lnTo>
                    <a:pt x="69" y="202"/>
                  </a:lnTo>
                  <a:lnTo>
                    <a:pt x="22" y="157"/>
                  </a:lnTo>
                  <a:lnTo>
                    <a:pt x="0" y="13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6" name="Freeform 898"/>
            <p:cNvSpPr>
              <a:spLocks/>
            </p:cNvSpPr>
            <p:nvPr/>
          </p:nvSpPr>
          <p:spPr bwMode="auto">
            <a:xfrm>
              <a:off x="6579510" y="1877279"/>
              <a:ext cx="349615" cy="444590"/>
            </a:xfrm>
            <a:custGeom>
              <a:avLst/>
              <a:gdLst>
                <a:gd name="T0" fmla="*/ 2147483647 w 651"/>
                <a:gd name="T1" fmla="*/ 2147483647 h 959"/>
                <a:gd name="T2" fmla="*/ 2147483647 w 651"/>
                <a:gd name="T3" fmla="*/ 2147483647 h 959"/>
                <a:gd name="T4" fmla="*/ 2147483647 w 651"/>
                <a:gd name="T5" fmla="*/ 2147483647 h 959"/>
                <a:gd name="T6" fmla="*/ 2147483647 w 651"/>
                <a:gd name="T7" fmla="*/ 2147483647 h 959"/>
                <a:gd name="T8" fmla="*/ 2147483647 w 651"/>
                <a:gd name="T9" fmla="*/ 2147483647 h 959"/>
                <a:gd name="T10" fmla="*/ 2147483647 w 651"/>
                <a:gd name="T11" fmla="*/ 2147483647 h 959"/>
                <a:gd name="T12" fmla="*/ 2147483647 w 651"/>
                <a:gd name="T13" fmla="*/ 2147483647 h 959"/>
                <a:gd name="T14" fmla="*/ 2147483647 w 651"/>
                <a:gd name="T15" fmla="*/ 2147483647 h 959"/>
                <a:gd name="T16" fmla="*/ 2147483647 w 651"/>
                <a:gd name="T17" fmla="*/ 2147483647 h 959"/>
                <a:gd name="T18" fmla="*/ 2147483647 w 651"/>
                <a:gd name="T19" fmla="*/ 2147483647 h 959"/>
                <a:gd name="T20" fmla="*/ 2147483647 w 651"/>
                <a:gd name="T21" fmla="*/ 2147483647 h 959"/>
                <a:gd name="T22" fmla="*/ 2147483647 w 651"/>
                <a:gd name="T23" fmla="*/ 2147483647 h 959"/>
                <a:gd name="T24" fmla="*/ 2147483647 w 651"/>
                <a:gd name="T25" fmla="*/ 2147483647 h 959"/>
                <a:gd name="T26" fmla="*/ 2147483647 w 651"/>
                <a:gd name="T27" fmla="*/ 2147483647 h 959"/>
                <a:gd name="T28" fmla="*/ 2147483647 w 651"/>
                <a:gd name="T29" fmla="*/ 2147483647 h 959"/>
                <a:gd name="T30" fmla="*/ 2147483647 w 651"/>
                <a:gd name="T31" fmla="*/ 2147483647 h 959"/>
                <a:gd name="T32" fmla="*/ 2147483647 w 651"/>
                <a:gd name="T33" fmla="*/ 2147483647 h 959"/>
                <a:gd name="T34" fmla="*/ 2147483647 w 651"/>
                <a:gd name="T35" fmla="*/ 2147483647 h 959"/>
                <a:gd name="T36" fmla="*/ 2147483647 w 651"/>
                <a:gd name="T37" fmla="*/ 2147483647 h 959"/>
                <a:gd name="T38" fmla="*/ 2147483647 w 651"/>
                <a:gd name="T39" fmla="*/ 2147483647 h 959"/>
                <a:gd name="T40" fmla="*/ 2147483647 w 651"/>
                <a:gd name="T41" fmla="*/ 2147483647 h 959"/>
                <a:gd name="T42" fmla="*/ 2147483647 w 651"/>
                <a:gd name="T43" fmla="*/ 2147483647 h 959"/>
                <a:gd name="T44" fmla="*/ 2147483647 w 651"/>
                <a:gd name="T45" fmla="*/ 2147483647 h 959"/>
                <a:gd name="T46" fmla="*/ 0 w 651"/>
                <a:gd name="T47" fmla="*/ 2147483647 h 959"/>
                <a:gd name="T48" fmla="*/ 2147483647 w 651"/>
                <a:gd name="T49" fmla="*/ 2147483647 h 959"/>
                <a:gd name="T50" fmla="*/ 2147483647 w 651"/>
                <a:gd name="T51" fmla="*/ 2147483647 h 959"/>
                <a:gd name="T52" fmla="*/ 2147483647 w 651"/>
                <a:gd name="T53" fmla="*/ 2147483647 h 959"/>
                <a:gd name="T54" fmla="*/ 2147483647 w 651"/>
                <a:gd name="T55" fmla="*/ 2147483647 h 959"/>
                <a:gd name="T56" fmla="*/ 2147483647 w 651"/>
                <a:gd name="T57" fmla="*/ 0 h 959"/>
                <a:gd name="T58" fmla="*/ 2147483647 w 651"/>
                <a:gd name="T59" fmla="*/ 2147483647 h 959"/>
                <a:gd name="T60" fmla="*/ 2147483647 w 651"/>
                <a:gd name="T61" fmla="*/ 2147483647 h 959"/>
                <a:gd name="T62" fmla="*/ 2147483647 w 651"/>
                <a:gd name="T63" fmla="*/ 2147483647 h 959"/>
                <a:gd name="T64" fmla="*/ 2147483647 w 651"/>
                <a:gd name="T65" fmla="*/ 2147483647 h 959"/>
                <a:gd name="T66" fmla="*/ 2147483647 w 651"/>
                <a:gd name="T67" fmla="*/ 2147483647 h 959"/>
                <a:gd name="T68" fmla="*/ 2147483647 w 651"/>
                <a:gd name="T69" fmla="*/ 2147483647 h 959"/>
                <a:gd name="T70" fmla="*/ 2147483647 w 651"/>
                <a:gd name="T71" fmla="*/ 2147483647 h 959"/>
                <a:gd name="T72" fmla="*/ 2147483647 w 651"/>
                <a:gd name="T73" fmla="*/ 2147483647 h 959"/>
                <a:gd name="T74" fmla="*/ 2147483647 w 651"/>
                <a:gd name="T75" fmla="*/ 2147483647 h 959"/>
                <a:gd name="T76" fmla="*/ 2147483647 w 651"/>
                <a:gd name="T77" fmla="*/ 2147483647 h 959"/>
                <a:gd name="T78" fmla="*/ 2147483647 w 651"/>
                <a:gd name="T79" fmla="*/ 2147483647 h 959"/>
                <a:gd name="T80" fmla="*/ 2147483647 w 651"/>
                <a:gd name="T81" fmla="*/ 2147483647 h 959"/>
                <a:gd name="T82" fmla="*/ 2147483647 w 651"/>
                <a:gd name="T83" fmla="*/ 2147483647 h 95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51"/>
                <a:gd name="T127" fmla="*/ 0 h 959"/>
                <a:gd name="T128" fmla="*/ 651 w 651"/>
                <a:gd name="T129" fmla="*/ 959 h 95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51" h="959">
                  <a:moveTo>
                    <a:pt x="546" y="942"/>
                  </a:moveTo>
                  <a:lnTo>
                    <a:pt x="523" y="942"/>
                  </a:lnTo>
                  <a:lnTo>
                    <a:pt x="477" y="918"/>
                  </a:lnTo>
                  <a:lnTo>
                    <a:pt x="477" y="872"/>
                  </a:lnTo>
                  <a:lnTo>
                    <a:pt x="453" y="872"/>
                  </a:lnTo>
                  <a:lnTo>
                    <a:pt x="430" y="918"/>
                  </a:lnTo>
                  <a:lnTo>
                    <a:pt x="273" y="959"/>
                  </a:lnTo>
                  <a:lnTo>
                    <a:pt x="181" y="942"/>
                  </a:lnTo>
                  <a:lnTo>
                    <a:pt x="116" y="942"/>
                  </a:lnTo>
                  <a:lnTo>
                    <a:pt x="116" y="895"/>
                  </a:lnTo>
                  <a:lnTo>
                    <a:pt x="139" y="848"/>
                  </a:lnTo>
                  <a:lnTo>
                    <a:pt x="94" y="802"/>
                  </a:lnTo>
                  <a:lnTo>
                    <a:pt x="94" y="738"/>
                  </a:lnTo>
                  <a:lnTo>
                    <a:pt x="116" y="692"/>
                  </a:lnTo>
                  <a:lnTo>
                    <a:pt x="163" y="692"/>
                  </a:lnTo>
                  <a:lnTo>
                    <a:pt x="163" y="645"/>
                  </a:lnTo>
                  <a:lnTo>
                    <a:pt x="273" y="558"/>
                  </a:lnTo>
                  <a:lnTo>
                    <a:pt x="296" y="511"/>
                  </a:lnTo>
                  <a:lnTo>
                    <a:pt x="273" y="465"/>
                  </a:lnTo>
                  <a:lnTo>
                    <a:pt x="227" y="424"/>
                  </a:lnTo>
                  <a:lnTo>
                    <a:pt x="181" y="424"/>
                  </a:lnTo>
                  <a:lnTo>
                    <a:pt x="181" y="331"/>
                  </a:lnTo>
                  <a:lnTo>
                    <a:pt x="139" y="215"/>
                  </a:lnTo>
                  <a:lnTo>
                    <a:pt x="0" y="75"/>
                  </a:lnTo>
                  <a:lnTo>
                    <a:pt x="41" y="64"/>
                  </a:lnTo>
                  <a:lnTo>
                    <a:pt x="163" y="117"/>
                  </a:lnTo>
                  <a:lnTo>
                    <a:pt x="227" y="99"/>
                  </a:lnTo>
                  <a:lnTo>
                    <a:pt x="320" y="18"/>
                  </a:lnTo>
                  <a:lnTo>
                    <a:pt x="401" y="0"/>
                  </a:lnTo>
                  <a:lnTo>
                    <a:pt x="390" y="41"/>
                  </a:lnTo>
                  <a:lnTo>
                    <a:pt x="430" y="128"/>
                  </a:lnTo>
                  <a:lnTo>
                    <a:pt x="430" y="221"/>
                  </a:lnTo>
                  <a:lnTo>
                    <a:pt x="453" y="267"/>
                  </a:lnTo>
                  <a:lnTo>
                    <a:pt x="500" y="331"/>
                  </a:lnTo>
                  <a:lnTo>
                    <a:pt x="500" y="424"/>
                  </a:lnTo>
                  <a:lnTo>
                    <a:pt x="546" y="488"/>
                  </a:lnTo>
                  <a:lnTo>
                    <a:pt x="546" y="581"/>
                  </a:lnTo>
                  <a:lnTo>
                    <a:pt x="605" y="692"/>
                  </a:lnTo>
                  <a:lnTo>
                    <a:pt x="651" y="761"/>
                  </a:lnTo>
                  <a:lnTo>
                    <a:pt x="605" y="872"/>
                  </a:lnTo>
                  <a:lnTo>
                    <a:pt x="523" y="895"/>
                  </a:lnTo>
                  <a:lnTo>
                    <a:pt x="546" y="94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7" name="Freeform 899"/>
            <p:cNvSpPr>
              <a:spLocks/>
            </p:cNvSpPr>
            <p:nvPr/>
          </p:nvSpPr>
          <p:spPr bwMode="auto">
            <a:xfrm>
              <a:off x="6369740" y="1947213"/>
              <a:ext cx="309658" cy="564480"/>
            </a:xfrm>
            <a:custGeom>
              <a:avLst/>
              <a:gdLst>
                <a:gd name="T0" fmla="*/ 2147483647 w 576"/>
                <a:gd name="T1" fmla="*/ 2147483647 h 1219"/>
                <a:gd name="T2" fmla="*/ 2147483647 w 576"/>
                <a:gd name="T3" fmla="*/ 2147483647 h 1219"/>
                <a:gd name="T4" fmla="*/ 2147483647 w 576"/>
                <a:gd name="T5" fmla="*/ 2147483647 h 1219"/>
                <a:gd name="T6" fmla="*/ 2147483647 w 576"/>
                <a:gd name="T7" fmla="*/ 2147483647 h 1219"/>
                <a:gd name="T8" fmla="*/ 2147483647 w 576"/>
                <a:gd name="T9" fmla="*/ 2147483647 h 1219"/>
                <a:gd name="T10" fmla="*/ 2147483647 w 576"/>
                <a:gd name="T11" fmla="*/ 2147483647 h 1219"/>
                <a:gd name="T12" fmla="*/ 2147483647 w 576"/>
                <a:gd name="T13" fmla="*/ 2147483647 h 1219"/>
                <a:gd name="T14" fmla="*/ 2147483647 w 576"/>
                <a:gd name="T15" fmla="*/ 2147483647 h 1219"/>
                <a:gd name="T16" fmla="*/ 2147483647 w 576"/>
                <a:gd name="T17" fmla="*/ 2147483647 h 1219"/>
                <a:gd name="T18" fmla="*/ 2147483647 w 576"/>
                <a:gd name="T19" fmla="*/ 2147483647 h 1219"/>
                <a:gd name="T20" fmla="*/ 2147483647 w 576"/>
                <a:gd name="T21" fmla="*/ 2147483647 h 1219"/>
                <a:gd name="T22" fmla="*/ 2147483647 w 576"/>
                <a:gd name="T23" fmla="*/ 2147483647 h 1219"/>
                <a:gd name="T24" fmla="*/ 2147483647 w 576"/>
                <a:gd name="T25" fmla="*/ 2147483647 h 1219"/>
                <a:gd name="T26" fmla="*/ 2147483647 w 576"/>
                <a:gd name="T27" fmla="*/ 2147483647 h 1219"/>
                <a:gd name="T28" fmla="*/ 2147483647 w 576"/>
                <a:gd name="T29" fmla="*/ 2147483647 h 1219"/>
                <a:gd name="T30" fmla="*/ 2147483647 w 576"/>
                <a:gd name="T31" fmla="*/ 2147483647 h 1219"/>
                <a:gd name="T32" fmla="*/ 2147483647 w 576"/>
                <a:gd name="T33" fmla="*/ 2147483647 h 1219"/>
                <a:gd name="T34" fmla="*/ 2147483647 w 576"/>
                <a:gd name="T35" fmla="*/ 2147483647 h 1219"/>
                <a:gd name="T36" fmla="*/ 2147483647 w 576"/>
                <a:gd name="T37" fmla="*/ 2147483647 h 1219"/>
                <a:gd name="T38" fmla="*/ 2147483647 w 576"/>
                <a:gd name="T39" fmla="*/ 2147483647 h 1219"/>
                <a:gd name="T40" fmla="*/ 2147483647 w 576"/>
                <a:gd name="T41" fmla="*/ 2147483647 h 1219"/>
                <a:gd name="T42" fmla="*/ 2147483647 w 576"/>
                <a:gd name="T43" fmla="*/ 2147483647 h 1219"/>
                <a:gd name="T44" fmla="*/ 2147483647 w 576"/>
                <a:gd name="T45" fmla="*/ 2147483647 h 1219"/>
                <a:gd name="T46" fmla="*/ 2147483647 w 576"/>
                <a:gd name="T47" fmla="*/ 2147483647 h 1219"/>
                <a:gd name="T48" fmla="*/ 0 w 576"/>
                <a:gd name="T49" fmla="*/ 2147483647 h 1219"/>
                <a:gd name="T50" fmla="*/ 0 w 576"/>
                <a:gd name="T51" fmla="*/ 2147483647 h 1219"/>
                <a:gd name="T52" fmla="*/ 0 w 576"/>
                <a:gd name="T53" fmla="*/ 2147483647 h 1219"/>
                <a:gd name="T54" fmla="*/ 2147483647 w 576"/>
                <a:gd name="T55" fmla="*/ 2147483647 h 1219"/>
                <a:gd name="T56" fmla="*/ 2147483647 w 576"/>
                <a:gd name="T57" fmla="*/ 2147483647 h 1219"/>
                <a:gd name="T58" fmla="*/ 2147483647 w 576"/>
                <a:gd name="T59" fmla="*/ 2147483647 h 1219"/>
                <a:gd name="T60" fmla="*/ 2147483647 w 576"/>
                <a:gd name="T61" fmla="*/ 2147483647 h 1219"/>
                <a:gd name="T62" fmla="*/ 2147483647 w 576"/>
                <a:gd name="T63" fmla="*/ 2147483647 h 1219"/>
                <a:gd name="T64" fmla="*/ 2147483647 w 576"/>
                <a:gd name="T65" fmla="*/ 2147483647 h 1219"/>
                <a:gd name="T66" fmla="*/ 2147483647 w 576"/>
                <a:gd name="T67" fmla="*/ 2147483647 h 1219"/>
                <a:gd name="T68" fmla="*/ 2147483647 w 576"/>
                <a:gd name="T69" fmla="*/ 2147483647 h 1219"/>
                <a:gd name="T70" fmla="*/ 2147483647 w 576"/>
                <a:gd name="T71" fmla="*/ 2147483647 h 1219"/>
                <a:gd name="T72" fmla="*/ 2147483647 w 576"/>
                <a:gd name="T73" fmla="*/ 0 h 1219"/>
                <a:gd name="T74" fmla="*/ 2147483647 w 576"/>
                <a:gd name="T75" fmla="*/ 0 h 1219"/>
                <a:gd name="T76" fmla="*/ 2147483647 w 576"/>
                <a:gd name="T77" fmla="*/ 2147483647 h 1219"/>
                <a:gd name="T78" fmla="*/ 2147483647 w 576"/>
                <a:gd name="T79" fmla="*/ 2147483647 h 1219"/>
                <a:gd name="T80" fmla="*/ 2147483647 w 576"/>
                <a:gd name="T81" fmla="*/ 2147483647 h 1219"/>
                <a:gd name="T82" fmla="*/ 2147483647 w 576"/>
                <a:gd name="T83" fmla="*/ 2147483647 h 12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6"/>
                <a:gd name="T127" fmla="*/ 0 h 1219"/>
                <a:gd name="T128" fmla="*/ 576 w 576"/>
                <a:gd name="T129" fmla="*/ 1219 h 12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6" h="1219">
                  <a:moveTo>
                    <a:pt x="576" y="272"/>
                  </a:moveTo>
                  <a:lnTo>
                    <a:pt x="500" y="336"/>
                  </a:lnTo>
                  <a:lnTo>
                    <a:pt x="478" y="446"/>
                  </a:lnTo>
                  <a:lnTo>
                    <a:pt x="454" y="516"/>
                  </a:lnTo>
                  <a:lnTo>
                    <a:pt x="390" y="586"/>
                  </a:lnTo>
                  <a:lnTo>
                    <a:pt x="321" y="609"/>
                  </a:lnTo>
                  <a:lnTo>
                    <a:pt x="274" y="720"/>
                  </a:lnTo>
                  <a:lnTo>
                    <a:pt x="274" y="766"/>
                  </a:lnTo>
                  <a:lnTo>
                    <a:pt x="343" y="853"/>
                  </a:lnTo>
                  <a:lnTo>
                    <a:pt x="343" y="877"/>
                  </a:lnTo>
                  <a:lnTo>
                    <a:pt x="297" y="900"/>
                  </a:lnTo>
                  <a:lnTo>
                    <a:pt x="274" y="877"/>
                  </a:lnTo>
                  <a:lnTo>
                    <a:pt x="251" y="900"/>
                  </a:lnTo>
                  <a:lnTo>
                    <a:pt x="274" y="922"/>
                  </a:lnTo>
                  <a:lnTo>
                    <a:pt x="274" y="969"/>
                  </a:lnTo>
                  <a:lnTo>
                    <a:pt x="274" y="992"/>
                  </a:lnTo>
                  <a:lnTo>
                    <a:pt x="274" y="1079"/>
                  </a:lnTo>
                  <a:lnTo>
                    <a:pt x="227" y="1126"/>
                  </a:lnTo>
                  <a:lnTo>
                    <a:pt x="157" y="1149"/>
                  </a:lnTo>
                  <a:lnTo>
                    <a:pt x="140" y="1219"/>
                  </a:lnTo>
                  <a:lnTo>
                    <a:pt x="94" y="1219"/>
                  </a:lnTo>
                  <a:lnTo>
                    <a:pt x="70" y="1149"/>
                  </a:lnTo>
                  <a:lnTo>
                    <a:pt x="47" y="1079"/>
                  </a:lnTo>
                  <a:lnTo>
                    <a:pt x="7" y="1044"/>
                  </a:lnTo>
                  <a:lnTo>
                    <a:pt x="0" y="969"/>
                  </a:lnTo>
                  <a:lnTo>
                    <a:pt x="0" y="900"/>
                  </a:lnTo>
                  <a:lnTo>
                    <a:pt x="0" y="877"/>
                  </a:lnTo>
                  <a:lnTo>
                    <a:pt x="47" y="807"/>
                  </a:lnTo>
                  <a:lnTo>
                    <a:pt x="70" y="673"/>
                  </a:lnTo>
                  <a:lnTo>
                    <a:pt x="47" y="540"/>
                  </a:lnTo>
                  <a:lnTo>
                    <a:pt x="70" y="476"/>
                  </a:lnTo>
                  <a:lnTo>
                    <a:pt x="175" y="366"/>
                  </a:lnTo>
                  <a:lnTo>
                    <a:pt x="187" y="296"/>
                  </a:lnTo>
                  <a:lnTo>
                    <a:pt x="274" y="139"/>
                  </a:lnTo>
                  <a:lnTo>
                    <a:pt x="303" y="57"/>
                  </a:lnTo>
                  <a:lnTo>
                    <a:pt x="378" y="35"/>
                  </a:lnTo>
                  <a:lnTo>
                    <a:pt x="413" y="0"/>
                  </a:lnTo>
                  <a:lnTo>
                    <a:pt x="483" y="0"/>
                  </a:lnTo>
                  <a:lnTo>
                    <a:pt x="518" y="57"/>
                  </a:lnTo>
                  <a:lnTo>
                    <a:pt x="565" y="157"/>
                  </a:lnTo>
                  <a:lnTo>
                    <a:pt x="565" y="202"/>
                  </a:lnTo>
                  <a:lnTo>
                    <a:pt x="576" y="27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8" name="Freeform 900"/>
            <p:cNvSpPr>
              <a:spLocks/>
            </p:cNvSpPr>
            <p:nvPr/>
          </p:nvSpPr>
          <p:spPr bwMode="auto">
            <a:xfrm>
              <a:off x="6209916" y="1827323"/>
              <a:ext cx="624310" cy="589458"/>
            </a:xfrm>
            <a:custGeom>
              <a:avLst/>
              <a:gdLst>
                <a:gd name="T0" fmla="*/ 2147483647 w 1151"/>
                <a:gd name="T1" fmla="*/ 0 h 1267"/>
                <a:gd name="T2" fmla="*/ 2147483647 w 1151"/>
                <a:gd name="T3" fmla="*/ 0 h 1267"/>
                <a:gd name="T4" fmla="*/ 2147483647 w 1151"/>
                <a:gd name="T5" fmla="*/ 2147483647 h 1267"/>
                <a:gd name="T6" fmla="*/ 2147483647 w 1151"/>
                <a:gd name="T7" fmla="*/ 2147483647 h 1267"/>
                <a:gd name="T8" fmla="*/ 2147483647 w 1151"/>
                <a:gd name="T9" fmla="*/ 2147483647 h 1267"/>
                <a:gd name="T10" fmla="*/ 2147483647 w 1151"/>
                <a:gd name="T11" fmla="*/ 2147483647 h 1267"/>
                <a:gd name="T12" fmla="*/ 2147483647 w 1151"/>
                <a:gd name="T13" fmla="*/ 2147483647 h 1267"/>
                <a:gd name="T14" fmla="*/ 2147483647 w 1151"/>
                <a:gd name="T15" fmla="*/ 2147483647 h 1267"/>
                <a:gd name="T16" fmla="*/ 2147483647 w 1151"/>
                <a:gd name="T17" fmla="*/ 2147483647 h 1267"/>
                <a:gd name="T18" fmla="*/ 2147483647 w 1151"/>
                <a:gd name="T19" fmla="*/ 2147483647 h 1267"/>
                <a:gd name="T20" fmla="*/ 2147483647 w 1151"/>
                <a:gd name="T21" fmla="*/ 2147483647 h 1267"/>
                <a:gd name="T22" fmla="*/ 2147483647 w 1151"/>
                <a:gd name="T23" fmla="*/ 2147483647 h 1267"/>
                <a:gd name="T24" fmla="*/ 2147483647 w 1151"/>
                <a:gd name="T25" fmla="*/ 2147483647 h 1267"/>
                <a:gd name="T26" fmla="*/ 0 w 1151"/>
                <a:gd name="T27" fmla="*/ 2147483647 h 1267"/>
                <a:gd name="T28" fmla="*/ 2147483647 w 1151"/>
                <a:gd name="T29" fmla="*/ 2147483647 h 1267"/>
                <a:gd name="T30" fmla="*/ 2147483647 w 1151"/>
                <a:gd name="T31" fmla="*/ 2147483647 h 1267"/>
                <a:gd name="T32" fmla="*/ 2147483647 w 1151"/>
                <a:gd name="T33" fmla="*/ 2147483647 h 1267"/>
                <a:gd name="T34" fmla="*/ 2147483647 w 1151"/>
                <a:gd name="T35" fmla="*/ 2147483647 h 1267"/>
                <a:gd name="T36" fmla="*/ 2147483647 w 1151"/>
                <a:gd name="T37" fmla="*/ 2147483647 h 1267"/>
                <a:gd name="T38" fmla="*/ 2147483647 w 1151"/>
                <a:gd name="T39" fmla="*/ 2147483647 h 1267"/>
                <a:gd name="T40" fmla="*/ 2147483647 w 1151"/>
                <a:gd name="T41" fmla="*/ 2147483647 h 1267"/>
                <a:gd name="T42" fmla="*/ 2147483647 w 1151"/>
                <a:gd name="T43" fmla="*/ 2147483647 h 1267"/>
                <a:gd name="T44" fmla="*/ 2147483647 w 1151"/>
                <a:gd name="T45" fmla="*/ 2147483647 h 1267"/>
                <a:gd name="T46" fmla="*/ 2147483647 w 1151"/>
                <a:gd name="T47" fmla="*/ 2147483647 h 1267"/>
                <a:gd name="T48" fmla="*/ 2147483647 w 1151"/>
                <a:gd name="T49" fmla="*/ 2147483647 h 1267"/>
                <a:gd name="T50" fmla="*/ 2147483647 w 1151"/>
                <a:gd name="T51" fmla="*/ 2147483647 h 1267"/>
                <a:gd name="T52" fmla="*/ 2147483647 w 1151"/>
                <a:gd name="T53" fmla="*/ 2147483647 h 1267"/>
                <a:gd name="T54" fmla="*/ 2147483647 w 1151"/>
                <a:gd name="T55" fmla="*/ 2147483647 h 1267"/>
                <a:gd name="T56" fmla="*/ 2147483647 w 1151"/>
                <a:gd name="T57" fmla="*/ 2147483647 h 1267"/>
                <a:gd name="T58" fmla="*/ 2147483647 w 1151"/>
                <a:gd name="T59" fmla="*/ 2147483647 h 1267"/>
                <a:gd name="T60" fmla="*/ 2147483647 w 1151"/>
                <a:gd name="T61" fmla="*/ 2147483647 h 1267"/>
                <a:gd name="T62" fmla="*/ 2147483647 w 1151"/>
                <a:gd name="T63" fmla="*/ 2147483647 h 12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51"/>
                <a:gd name="T97" fmla="*/ 0 h 1267"/>
                <a:gd name="T98" fmla="*/ 1151 w 1151"/>
                <a:gd name="T99" fmla="*/ 1267 h 12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51" h="1267">
                  <a:moveTo>
                    <a:pt x="1127" y="0"/>
                  </a:moveTo>
                  <a:lnTo>
                    <a:pt x="1012" y="0"/>
                  </a:lnTo>
                  <a:lnTo>
                    <a:pt x="970" y="47"/>
                  </a:lnTo>
                  <a:lnTo>
                    <a:pt x="947" y="0"/>
                  </a:lnTo>
                  <a:lnTo>
                    <a:pt x="878" y="0"/>
                  </a:lnTo>
                  <a:lnTo>
                    <a:pt x="878" y="24"/>
                  </a:lnTo>
                  <a:lnTo>
                    <a:pt x="837" y="24"/>
                  </a:lnTo>
                  <a:lnTo>
                    <a:pt x="768" y="47"/>
                  </a:lnTo>
                  <a:lnTo>
                    <a:pt x="761" y="117"/>
                  </a:lnTo>
                  <a:lnTo>
                    <a:pt x="680" y="117"/>
                  </a:lnTo>
                  <a:lnTo>
                    <a:pt x="611" y="140"/>
                  </a:lnTo>
                  <a:lnTo>
                    <a:pt x="517" y="251"/>
                  </a:lnTo>
                  <a:lnTo>
                    <a:pt x="564" y="274"/>
                  </a:lnTo>
                  <a:lnTo>
                    <a:pt x="494" y="296"/>
                  </a:lnTo>
                  <a:lnTo>
                    <a:pt x="494" y="338"/>
                  </a:lnTo>
                  <a:lnTo>
                    <a:pt x="477" y="366"/>
                  </a:lnTo>
                  <a:lnTo>
                    <a:pt x="430" y="338"/>
                  </a:lnTo>
                  <a:lnTo>
                    <a:pt x="384" y="430"/>
                  </a:lnTo>
                  <a:lnTo>
                    <a:pt x="384" y="477"/>
                  </a:lnTo>
                  <a:lnTo>
                    <a:pt x="290" y="610"/>
                  </a:lnTo>
                  <a:lnTo>
                    <a:pt x="203" y="727"/>
                  </a:lnTo>
                  <a:lnTo>
                    <a:pt x="203" y="744"/>
                  </a:lnTo>
                  <a:lnTo>
                    <a:pt x="267" y="744"/>
                  </a:lnTo>
                  <a:lnTo>
                    <a:pt x="244" y="767"/>
                  </a:lnTo>
                  <a:lnTo>
                    <a:pt x="180" y="767"/>
                  </a:lnTo>
                  <a:lnTo>
                    <a:pt x="157" y="814"/>
                  </a:lnTo>
                  <a:lnTo>
                    <a:pt x="46" y="884"/>
                  </a:lnTo>
                  <a:lnTo>
                    <a:pt x="0" y="924"/>
                  </a:lnTo>
                  <a:lnTo>
                    <a:pt x="0" y="994"/>
                  </a:lnTo>
                  <a:lnTo>
                    <a:pt x="63" y="971"/>
                  </a:lnTo>
                  <a:lnTo>
                    <a:pt x="93" y="971"/>
                  </a:lnTo>
                  <a:lnTo>
                    <a:pt x="63" y="1017"/>
                  </a:lnTo>
                  <a:lnTo>
                    <a:pt x="23" y="1017"/>
                  </a:lnTo>
                  <a:lnTo>
                    <a:pt x="23" y="1058"/>
                  </a:lnTo>
                  <a:lnTo>
                    <a:pt x="6" y="1104"/>
                  </a:lnTo>
                  <a:lnTo>
                    <a:pt x="23" y="1128"/>
                  </a:lnTo>
                  <a:lnTo>
                    <a:pt x="6" y="1145"/>
                  </a:lnTo>
                  <a:lnTo>
                    <a:pt x="23" y="1197"/>
                  </a:lnTo>
                  <a:lnTo>
                    <a:pt x="0" y="1220"/>
                  </a:lnTo>
                  <a:lnTo>
                    <a:pt x="46" y="1267"/>
                  </a:lnTo>
                  <a:lnTo>
                    <a:pt x="157" y="1243"/>
                  </a:lnTo>
                  <a:lnTo>
                    <a:pt x="227" y="1197"/>
                  </a:lnTo>
                  <a:lnTo>
                    <a:pt x="290" y="1151"/>
                  </a:lnTo>
                  <a:lnTo>
                    <a:pt x="337" y="1058"/>
                  </a:lnTo>
                  <a:lnTo>
                    <a:pt x="360" y="924"/>
                  </a:lnTo>
                  <a:lnTo>
                    <a:pt x="360" y="884"/>
                  </a:lnTo>
                  <a:lnTo>
                    <a:pt x="337" y="791"/>
                  </a:lnTo>
                  <a:lnTo>
                    <a:pt x="384" y="697"/>
                  </a:lnTo>
                  <a:lnTo>
                    <a:pt x="430" y="657"/>
                  </a:lnTo>
                  <a:lnTo>
                    <a:pt x="477" y="610"/>
                  </a:lnTo>
                  <a:lnTo>
                    <a:pt x="477" y="564"/>
                  </a:lnTo>
                  <a:lnTo>
                    <a:pt x="517" y="477"/>
                  </a:lnTo>
                  <a:lnTo>
                    <a:pt x="587" y="320"/>
                  </a:lnTo>
                  <a:lnTo>
                    <a:pt x="656" y="296"/>
                  </a:lnTo>
                  <a:lnTo>
                    <a:pt x="778" y="256"/>
                  </a:lnTo>
                  <a:lnTo>
                    <a:pt x="680" y="163"/>
                  </a:lnTo>
                  <a:lnTo>
                    <a:pt x="715" y="157"/>
                  </a:lnTo>
                  <a:lnTo>
                    <a:pt x="831" y="221"/>
                  </a:lnTo>
                  <a:lnTo>
                    <a:pt x="883" y="216"/>
                  </a:lnTo>
                  <a:lnTo>
                    <a:pt x="965" y="140"/>
                  </a:lnTo>
                  <a:lnTo>
                    <a:pt x="994" y="117"/>
                  </a:lnTo>
                  <a:lnTo>
                    <a:pt x="1087" y="94"/>
                  </a:lnTo>
                  <a:lnTo>
                    <a:pt x="1087" y="70"/>
                  </a:lnTo>
                  <a:lnTo>
                    <a:pt x="1151" y="47"/>
                  </a:lnTo>
                  <a:lnTo>
                    <a:pt x="112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299" name="Freeform 901"/>
            <p:cNvSpPr>
              <a:spLocks/>
            </p:cNvSpPr>
            <p:nvPr/>
          </p:nvSpPr>
          <p:spPr bwMode="auto">
            <a:xfrm>
              <a:off x="6529564" y="2416780"/>
              <a:ext cx="34962" cy="39963"/>
            </a:xfrm>
            <a:custGeom>
              <a:avLst/>
              <a:gdLst>
                <a:gd name="T0" fmla="*/ 2147483647 w 69"/>
                <a:gd name="T1" fmla="*/ 0 h 87"/>
                <a:gd name="T2" fmla="*/ 0 w 69"/>
                <a:gd name="T3" fmla="*/ 2147483647 h 87"/>
                <a:gd name="T4" fmla="*/ 2147483647 w 69"/>
                <a:gd name="T5" fmla="*/ 2147483647 h 87"/>
                <a:gd name="T6" fmla="*/ 2147483647 w 69"/>
                <a:gd name="T7" fmla="*/ 2147483647 h 87"/>
                <a:gd name="T8" fmla="*/ 2147483647 w 69"/>
                <a:gd name="T9" fmla="*/ 2147483647 h 87"/>
                <a:gd name="T10" fmla="*/ 2147483647 w 69"/>
                <a:gd name="T11" fmla="*/ 0 h 8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9"/>
                <a:gd name="T19" fmla="*/ 0 h 87"/>
                <a:gd name="T20" fmla="*/ 69 w 69"/>
                <a:gd name="T21" fmla="*/ 87 h 8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9" h="87">
                  <a:moveTo>
                    <a:pt x="46" y="0"/>
                  </a:moveTo>
                  <a:lnTo>
                    <a:pt x="0" y="18"/>
                  </a:lnTo>
                  <a:lnTo>
                    <a:pt x="24" y="87"/>
                  </a:lnTo>
                  <a:lnTo>
                    <a:pt x="46" y="63"/>
                  </a:lnTo>
                  <a:lnTo>
                    <a:pt x="69" y="4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0" name="Freeform 902"/>
            <p:cNvSpPr>
              <a:spLocks/>
            </p:cNvSpPr>
            <p:nvPr/>
          </p:nvSpPr>
          <p:spPr bwMode="auto">
            <a:xfrm>
              <a:off x="6354759" y="2521686"/>
              <a:ext cx="39957" cy="29971"/>
            </a:xfrm>
            <a:custGeom>
              <a:avLst/>
              <a:gdLst>
                <a:gd name="T0" fmla="*/ 2147483647 w 70"/>
                <a:gd name="T1" fmla="*/ 0 h 63"/>
                <a:gd name="T2" fmla="*/ 0 w 70"/>
                <a:gd name="T3" fmla="*/ 2147483647 h 63"/>
                <a:gd name="T4" fmla="*/ 2147483647 w 70"/>
                <a:gd name="T5" fmla="*/ 2147483647 h 63"/>
                <a:gd name="T6" fmla="*/ 2147483647 w 70"/>
                <a:gd name="T7" fmla="*/ 2147483647 h 63"/>
                <a:gd name="T8" fmla="*/ 2147483647 w 70"/>
                <a:gd name="T9" fmla="*/ 0 h 6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0"/>
                <a:gd name="T16" fmla="*/ 0 h 63"/>
                <a:gd name="T17" fmla="*/ 70 w 70"/>
                <a:gd name="T18" fmla="*/ 63 h 6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0" h="63">
                  <a:moveTo>
                    <a:pt x="47" y="0"/>
                  </a:moveTo>
                  <a:lnTo>
                    <a:pt x="0" y="40"/>
                  </a:lnTo>
                  <a:lnTo>
                    <a:pt x="23" y="63"/>
                  </a:lnTo>
                  <a:lnTo>
                    <a:pt x="70" y="4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1" name="Freeform 903"/>
            <p:cNvSpPr>
              <a:spLocks/>
            </p:cNvSpPr>
            <p:nvPr/>
          </p:nvSpPr>
          <p:spPr bwMode="auto">
            <a:xfrm>
              <a:off x="6689387" y="2916322"/>
              <a:ext cx="184796" cy="99908"/>
            </a:xfrm>
            <a:custGeom>
              <a:avLst/>
              <a:gdLst>
                <a:gd name="T0" fmla="*/ 2147483647 w 337"/>
                <a:gd name="T1" fmla="*/ 2147483647 h 216"/>
                <a:gd name="T2" fmla="*/ 2147483647 w 337"/>
                <a:gd name="T3" fmla="*/ 2147483647 h 216"/>
                <a:gd name="T4" fmla="*/ 2147483647 w 337"/>
                <a:gd name="T5" fmla="*/ 2147483647 h 216"/>
                <a:gd name="T6" fmla="*/ 2147483647 w 337"/>
                <a:gd name="T7" fmla="*/ 2147483647 h 216"/>
                <a:gd name="T8" fmla="*/ 2147483647 w 337"/>
                <a:gd name="T9" fmla="*/ 2147483647 h 216"/>
                <a:gd name="T10" fmla="*/ 2147483647 w 337"/>
                <a:gd name="T11" fmla="*/ 2147483647 h 216"/>
                <a:gd name="T12" fmla="*/ 2147483647 w 337"/>
                <a:gd name="T13" fmla="*/ 2147483647 h 216"/>
                <a:gd name="T14" fmla="*/ 2147483647 w 337"/>
                <a:gd name="T15" fmla="*/ 2147483647 h 216"/>
                <a:gd name="T16" fmla="*/ 2147483647 w 337"/>
                <a:gd name="T17" fmla="*/ 2147483647 h 216"/>
                <a:gd name="T18" fmla="*/ 2147483647 w 337"/>
                <a:gd name="T19" fmla="*/ 2147483647 h 216"/>
                <a:gd name="T20" fmla="*/ 0 w 337"/>
                <a:gd name="T21" fmla="*/ 2147483647 h 216"/>
                <a:gd name="T22" fmla="*/ 2147483647 w 337"/>
                <a:gd name="T23" fmla="*/ 2147483647 h 216"/>
                <a:gd name="T24" fmla="*/ 2147483647 w 337"/>
                <a:gd name="T25" fmla="*/ 2147483647 h 216"/>
                <a:gd name="T26" fmla="*/ 2147483647 w 337"/>
                <a:gd name="T27" fmla="*/ 2147483647 h 216"/>
                <a:gd name="T28" fmla="*/ 2147483647 w 337"/>
                <a:gd name="T29" fmla="*/ 2147483647 h 216"/>
                <a:gd name="T30" fmla="*/ 2147483647 w 337"/>
                <a:gd name="T31" fmla="*/ 0 h 216"/>
                <a:gd name="T32" fmla="*/ 2147483647 w 337"/>
                <a:gd name="T33" fmla="*/ 2147483647 h 216"/>
                <a:gd name="T34" fmla="*/ 2147483647 w 337"/>
                <a:gd name="T35" fmla="*/ 2147483647 h 21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7"/>
                <a:gd name="T55" fmla="*/ 0 h 216"/>
                <a:gd name="T56" fmla="*/ 337 w 337"/>
                <a:gd name="T57" fmla="*/ 216 h 21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7" h="216">
                  <a:moveTo>
                    <a:pt x="337" y="24"/>
                  </a:moveTo>
                  <a:lnTo>
                    <a:pt x="314" y="64"/>
                  </a:lnTo>
                  <a:lnTo>
                    <a:pt x="268" y="111"/>
                  </a:lnTo>
                  <a:lnTo>
                    <a:pt x="314" y="157"/>
                  </a:lnTo>
                  <a:lnTo>
                    <a:pt x="268" y="204"/>
                  </a:lnTo>
                  <a:lnTo>
                    <a:pt x="221" y="204"/>
                  </a:lnTo>
                  <a:lnTo>
                    <a:pt x="111" y="204"/>
                  </a:lnTo>
                  <a:lnTo>
                    <a:pt x="42" y="216"/>
                  </a:lnTo>
                  <a:lnTo>
                    <a:pt x="18" y="181"/>
                  </a:lnTo>
                  <a:lnTo>
                    <a:pt x="35" y="157"/>
                  </a:lnTo>
                  <a:lnTo>
                    <a:pt x="0" y="99"/>
                  </a:lnTo>
                  <a:lnTo>
                    <a:pt x="18" y="87"/>
                  </a:lnTo>
                  <a:lnTo>
                    <a:pt x="24" y="35"/>
                  </a:lnTo>
                  <a:lnTo>
                    <a:pt x="42" y="24"/>
                  </a:lnTo>
                  <a:lnTo>
                    <a:pt x="129" y="64"/>
                  </a:lnTo>
                  <a:lnTo>
                    <a:pt x="221" y="0"/>
                  </a:lnTo>
                  <a:lnTo>
                    <a:pt x="268" y="47"/>
                  </a:lnTo>
                  <a:lnTo>
                    <a:pt x="337" y="2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2" name="Freeform 904"/>
            <p:cNvSpPr>
              <a:spLocks/>
            </p:cNvSpPr>
            <p:nvPr/>
          </p:nvSpPr>
          <p:spPr bwMode="auto">
            <a:xfrm>
              <a:off x="6799267" y="2996249"/>
              <a:ext cx="79910" cy="64941"/>
            </a:xfrm>
            <a:custGeom>
              <a:avLst/>
              <a:gdLst>
                <a:gd name="T0" fmla="*/ 2147483647 w 139"/>
                <a:gd name="T1" fmla="*/ 0 h 145"/>
                <a:gd name="T2" fmla="*/ 2147483647 w 139"/>
                <a:gd name="T3" fmla="*/ 2147483647 h 145"/>
                <a:gd name="T4" fmla="*/ 0 w 139"/>
                <a:gd name="T5" fmla="*/ 2147483647 h 145"/>
                <a:gd name="T6" fmla="*/ 2147483647 w 139"/>
                <a:gd name="T7" fmla="*/ 2147483647 h 145"/>
                <a:gd name="T8" fmla="*/ 2147483647 w 139"/>
                <a:gd name="T9" fmla="*/ 2147483647 h 145"/>
                <a:gd name="T10" fmla="*/ 2147483647 w 139"/>
                <a:gd name="T11" fmla="*/ 2147483647 h 145"/>
                <a:gd name="T12" fmla="*/ 2147483647 w 139"/>
                <a:gd name="T13" fmla="*/ 2147483647 h 145"/>
                <a:gd name="T14" fmla="*/ 2147483647 w 139"/>
                <a:gd name="T15" fmla="*/ 0 h 14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9"/>
                <a:gd name="T25" fmla="*/ 0 h 145"/>
                <a:gd name="T26" fmla="*/ 139 w 139"/>
                <a:gd name="T27" fmla="*/ 145 h 14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9" h="145">
                  <a:moveTo>
                    <a:pt x="110" y="0"/>
                  </a:moveTo>
                  <a:lnTo>
                    <a:pt x="35" y="64"/>
                  </a:lnTo>
                  <a:lnTo>
                    <a:pt x="0" y="104"/>
                  </a:lnTo>
                  <a:lnTo>
                    <a:pt x="52" y="145"/>
                  </a:lnTo>
                  <a:lnTo>
                    <a:pt x="93" y="104"/>
                  </a:lnTo>
                  <a:lnTo>
                    <a:pt x="139" y="64"/>
                  </a:lnTo>
                  <a:lnTo>
                    <a:pt x="127" y="5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3" name="Freeform 905"/>
            <p:cNvSpPr>
              <a:spLocks/>
            </p:cNvSpPr>
            <p:nvPr/>
          </p:nvSpPr>
          <p:spPr bwMode="auto">
            <a:xfrm>
              <a:off x="6649431" y="3011235"/>
              <a:ext cx="169813" cy="164850"/>
            </a:xfrm>
            <a:custGeom>
              <a:avLst/>
              <a:gdLst>
                <a:gd name="T0" fmla="*/ 2147483647 w 314"/>
                <a:gd name="T1" fmla="*/ 2147483647 h 360"/>
                <a:gd name="T2" fmla="*/ 2147483647 w 314"/>
                <a:gd name="T3" fmla="*/ 2147483647 h 360"/>
                <a:gd name="T4" fmla="*/ 2147483647 w 314"/>
                <a:gd name="T5" fmla="*/ 2147483647 h 360"/>
                <a:gd name="T6" fmla="*/ 2147483647 w 314"/>
                <a:gd name="T7" fmla="*/ 2147483647 h 360"/>
                <a:gd name="T8" fmla="*/ 2147483647 w 314"/>
                <a:gd name="T9" fmla="*/ 2147483647 h 360"/>
                <a:gd name="T10" fmla="*/ 2147483647 w 314"/>
                <a:gd name="T11" fmla="*/ 2147483647 h 360"/>
                <a:gd name="T12" fmla="*/ 2147483647 w 314"/>
                <a:gd name="T13" fmla="*/ 2147483647 h 360"/>
                <a:gd name="T14" fmla="*/ 2147483647 w 314"/>
                <a:gd name="T15" fmla="*/ 2147483647 h 360"/>
                <a:gd name="T16" fmla="*/ 2147483647 w 314"/>
                <a:gd name="T17" fmla="*/ 2147483647 h 360"/>
                <a:gd name="T18" fmla="*/ 2147483647 w 314"/>
                <a:gd name="T19" fmla="*/ 2147483647 h 360"/>
                <a:gd name="T20" fmla="*/ 2147483647 w 314"/>
                <a:gd name="T21" fmla="*/ 2147483647 h 360"/>
                <a:gd name="T22" fmla="*/ 2147483647 w 314"/>
                <a:gd name="T23" fmla="*/ 2147483647 h 360"/>
                <a:gd name="T24" fmla="*/ 2147483647 w 314"/>
                <a:gd name="T25" fmla="*/ 2147483647 h 360"/>
                <a:gd name="T26" fmla="*/ 2147483647 w 314"/>
                <a:gd name="T27" fmla="*/ 2147483647 h 360"/>
                <a:gd name="T28" fmla="*/ 2147483647 w 314"/>
                <a:gd name="T29" fmla="*/ 2147483647 h 360"/>
                <a:gd name="T30" fmla="*/ 2147483647 w 314"/>
                <a:gd name="T31" fmla="*/ 2147483647 h 360"/>
                <a:gd name="T32" fmla="*/ 2147483647 w 314"/>
                <a:gd name="T33" fmla="*/ 2147483647 h 360"/>
                <a:gd name="T34" fmla="*/ 2147483647 w 314"/>
                <a:gd name="T35" fmla="*/ 2147483647 h 360"/>
                <a:gd name="T36" fmla="*/ 2147483647 w 314"/>
                <a:gd name="T37" fmla="*/ 2147483647 h 360"/>
                <a:gd name="T38" fmla="*/ 2147483647 w 314"/>
                <a:gd name="T39" fmla="*/ 2147483647 h 360"/>
                <a:gd name="T40" fmla="*/ 2147483647 w 314"/>
                <a:gd name="T41" fmla="*/ 2147483647 h 360"/>
                <a:gd name="T42" fmla="*/ 2147483647 w 314"/>
                <a:gd name="T43" fmla="*/ 2147483647 h 360"/>
                <a:gd name="T44" fmla="*/ 2147483647 w 314"/>
                <a:gd name="T45" fmla="*/ 2147483647 h 360"/>
                <a:gd name="T46" fmla="*/ 2147483647 w 314"/>
                <a:gd name="T47" fmla="*/ 2147483647 h 360"/>
                <a:gd name="T48" fmla="*/ 2147483647 w 314"/>
                <a:gd name="T49" fmla="*/ 2147483647 h 360"/>
                <a:gd name="T50" fmla="*/ 0 w 314"/>
                <a:gd name="T51" fmla="*/ 2147483647 h 360"/>
                <a:gd name="T52" fmla="*/ 2147483647 w 314"/>
                <a:gd name="T53" fmla="*/ 2147483647 h 360"/>
                <a:gd name="T54" fmla="*/ 2147483647 w 314"/>
                <a:gd name="T55" fmla="*/ 2147483647 h 360"/>
                <a:gd name="T56" fmla="*/ 2147483647 w 314"/>
                <a:gd name="T57" fmla="*/ 0 h 360"/>
                <a:gd name="T58" fmla="*/ 2147483647 w 314"/>
                <a:gd name="T59" fmla="*/ 0 h 360"/>
                <a:gd name="T60" fmla="*/ 2147483647 w 314"/>
                <a:gd name="T61" fmla="*/ 0 h 360"/>
                <a:gd name="T62" fmla="*/ 2147483647 w 314"/>
                <a:gd name="T63" fmla="*/ 2147483647 h 360"/>
                <a:gd name="T64" fmla="*/ 2147483647 w 314"/>
                <a:gd name="T65" fmla="*/ 2147483647 h 36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14"/>
                <a:gd name="T100" fmla="*/ 0 h 360"/>
                <a:gd name="T101" fmla="*/ 314 w 314"/>
                <a:gd name="T102" fmla="*/ 360 h 36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14" h="360">
                  <a:moveTo>
                    <a:pt x="274" y="69"/>
                  </a:moveTo>
                  <a:lnTo>
                    <a:pt x="245" y="69"/>
                  </a:lnTo>
                  <a:lnTo>
                    <a:pt x="199" y="92"/>
                  </a:lnTo>
                  <a:lnTo>
                    <a:pt x="157" y="69"/>
                  </a:lnTo>
                  <a:lnTo>
                    <a:pt x="157" y="116"/>
                  </a:lnTo>
                  <a:lnTo>
                    <a:pt x="112" y="92"/>
                  </a:lnTo>
                  <a:lnTo>
                    <a:pt x="77" y="87"/>
                  </a:lnTo>
                  <a:lnTo>
                    <a:pt x="157" y="156"/>
                  </a:lnTo>
                  <a:lnTo>
                    <a:pt x="88" y="134"/>
                  </a:lnTo>
                  <a:lnTo>
                    <a:pt x="88" y="179"/>
                  </a:lnTo>
                  <a:lnTo>
                    <a:pt x="134" y="226"/>
                  </a:lnTo>
                  <a:lnTo>
                    <a:pt x="157" y="273"/>
                  </a:lnTo>
                  <a:lnTo>
                    <a:pt x="122" y="256"/>
                  </a:lnTo>
                  <a:lnTo>
                    <a:pt x="181" y="319"/>
                  </a:lnTo>
                  <a:lnTo>
                    <a:pt x="134" y="291"/>
                  </a:lnTo>
                  <a:lnTo>
                    <a:pt x="100" y="279"/>
                  </a:lnTo>
                  <a:lnTo>
                    <a:pt x="152" y="331"/>
                  </a:lnTo>
                  <a:lnTo>
                    <a:pt x="157" y="360"/>
                  </a:lnTo>
                  <a:lnTo>
                    <a:pt x="88" y="354"/>
                  </a:lnTo>
                  <a:lnTo>
                    <a:pt x="42" y="336"/>
                  </a:lnTo>
                  <a:lnTo>
                    <a:pt x="24" y="249"/>
                  </a:lnTo>
                  <a:lnTo>
                    <a:pt x="12" y="209"/>
                  </a:lnTo>
                  <a:lnTo>
                    <a:pt x="100" y="267"/>
                  </a:lnTo>
                  <a:lnTo>
                    <a:pt x="42" y="191"/>
                  </a:lnTo>
                  <a:lnTo>
                    <a:pt x="12" y="156"/>
                  </a:lnTo>
                  <a:lnTo>
                    <a:pt x="0" y="87"/>
                  </a:lnTo>
                  <a:lnTo>
                    <a:pt x="42" y="69"/>
                  </a:lnTo>
                  <a:lnTo>
                    <a:pt x="88" y="22"/>
                  </a:lnTo>
                  <a:lnTo>
                    <a:pt x="157" y="0"/>
                  </a:lnTo>
                  <a:lnTo>
                    <a:pt x="274" y="0"/>
                  </a:lnTo>
                  <a:lnTo>
                    <a:pt x="314" y="0"/>
                  </a:lnTo>
                  <a:lnTo>
                    <a:pt x="314" y="22"/>
                  </a:lnTo>
                  <a:lnTo>
                    <a:pt x="274" y="69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4" name="Freeform 906"/>
            <p:cNvSpPr>
              <a:spLocks/>
            </p:cNvSpPr>
            <p:nvPr/>
          </p:nvSpPr>
          <p:spPr bwMode="auto">
            <a:xfrm>
              <a:off x="6749321" y="3121133"/>
              <a:ext cx="49944" cy="44960"/>
            </a:xfrm>
            <a:custGeom>
              <a:avLst/>
              <a:gdLst>
                <a:gd name="T0" fmla="*/ 0 w 93"/>
                <a:gd name="T1" fmla="*/ 0 h 110"/>
                <a:gd name="T2" fmla="*/ 2147483647 w 93"/>
                <a:gd name="T3" fmla="*/ 2147483647 h 110"/>
                <a:gd name="T4" fmla="*/ 2147483647 w 93"/>
                <a:gd name="T5" fmla="*/ 2147483647 h 110"/>
                <a:gd name="T6" fmla="*/ 2147483647 w 93"/>
                <a:gd name="T7" fmla="*/ 2147483647 h 110"/>
                <a:gd name="T8" fmla="*/ 2147483647 w 93"/>
                <a:gd name="T9" fmla="*/ 2147483647 h 110"/>
                <a:gd name="T10" fmla="*/ 0 w 93"/>
                <a:gd name="T11" fmla="*/ 0 h 1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3"/>
                <a:gd name="T19" fmla="*/ 0 h 110"/>
                <a:gd name="T20" fmla="*/ 93 w 93"/>
                <a:gd name="T21" fmla="*/ 110 h 1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3" h="110">
                  <a:moveTo>
                    <a:pt x="0" y="0"/>
                  </a:moveTo>
                  <a:lnTo>
                    <a:pt x="46" y="47"/>
                  </a:lnTo>
                  <a:lnTo>
                    <a:pt x="93" y="110"/>
                  </a:lnTo>
                  <a:lnTo>
                    <a:pt x="64" y="65"/>
                  </a:lnTo>
                  <a:lnTo>
                    <a:pt x="18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5" name="Freeform 907"/>
            <p:cNvSpPr>
              <a:spLocks/>
            </p:cNvSpPr>
            <p:nvPr/>
          </p:nvSpPr>
          <p:spPr bwMode="auto">
            <a:xfrm>
              <a:off x="6724349" y="3231033"/>
              <a:ext cx="74918" cy="19982"/>
            </a:xfrm>
            <a:custGeom>
              <a:avLst/>
              <a:gdLst>
                <a:gd name="T0" fmla="*/ 0 w 140"/>
                <a:gd name="T1" fmla="*/ 2147483647 h 47"/>
                <a:gd name="T2" fmla="*/ 2147483647 w 140"/>
                <a:gd name="T3" fmla="*/ 2147483647 h 47"/>
                <a:gd name="T4" fmla="*/ 2147483647 w 140"/>
                <a:gd name="T5" fmla="*/ 2147483647 h 47"/>
                <a:gd name="T6" fmla="*/ 2147483647 w 140"/>
                <a:gd name="T7" fmla="*/ 2147483647 h 47"/>
                <a:gd name="T8" fmla="*/ 2147483647 w 140"/>
                <a:gd name="T9" fmla="*/ 2147483647 h 47"/>
                <a:gd name="T10" fmla="*/ 0 w 140"/>
                <a:gd name="T11" fmla="*/ 0 h 47"/>
                <a:gd name="T12" fmla="*/ 0 w 140"/>
                <a:gd name="T13" fmla="*/ 2147483647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0"/>
                <a:gd name="T22" fmla="*/ 0 h 47"/>
                <a:gd name="T23" fmla="*/ 140 w 140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0" h="47">
                  <a:moveTo>
                    <a:pt x="0" y="23"/>
                  </a:moveTo>
                  <a:lnTo>
                    <a:pt x="23" y="47"/>
                  </a:lnTo>
                  <a:lnTo>
                    <a:pt x="65" y="47"/>
                  </a:lnTo>
                  <a:lnTo>
                    <a:pt x="140" y="23"/>
                  </a:lnTo>
                  <a:lnTo>
                    <a:pt x="93" y="23"/>
                  </a:lnTo>
                  <a:lnTo>
                    <a:pt x="0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6" name="Rectangle 908"/>
            <p:cNvSpPr>
              <a:spLocks noChangeArrowheads="1"/>
            </p:cNvSpPr>
            <p:nvPr/>
          </p:nvSpPr>
          <p:spPr bwMode="auto">
            <a:xfrm>
              <a:off x="6844217" y="3211052"/>
              <a:ext cx="29966" cy="9989"/>
            </a:xfrm>
            <a:prstGeom prst="rect">
              <a:avLst/>
            </a:pr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7" name="Freeform 909"/>
            <p:cNvSpPr>
              <a:spLocks/>
            </p:cNvSpPr>
            <p:nvPr/>
          </p:nvSpPr>
          <p:spPr bwMode="auto">
            <a:xfrm>
              <a:off x="6394712" y="2846386"/>
              <a:ext cx="314652" cy="189824"/>
            </a:xfrm>
            <a:custGeom>
              <a:avLst/>
              <a:gdLst>
                <a:gd name="T0" fmla="*/ 2147483647 w 588"/>
                <a:gd name="T1" fmla="*/ 2147483647 h 406"/>
                <a:gd name="T2" fmla="*/ 0 w 588"/>
                <a:gd name="T3" fmla="*/ 2147483647 h 406"/>
                <a:gd name="T4" fmla="*/ 2147483647 w 588"/>
                <a:gd name="T5" fmla="*/ 2147483647 h 406"/>
                <a:gd name="T6" fmla="*/ 2147483647 w 588"/>
                <a:gd name="T7" fmla="*/ 2147483647 h 406"/>
                <a:gd name="T8" fmla="*/ 2147483647 w 588"/>
                <a:gd name="T9" fmla="*/ 2147483647 h 406"/>
                <a:gd name="T10" fmla="*/ 2147483647 w 588"/>
                <a:gd name="T11" fmla="*/ 2147483647 h 406"/>
                <a:gd name="T12" fmla="*/ 2147483647 w 588"/>
                <a:gd name="T13" fmla="*/ 2147483647 h 406"/>
                <a:gd name="T14" fmla="*/ 2147483647 w 588"/>
                <a:gd name="T15" fmla="*/ 2147483647 h 406"/>
                <a:gd name="T16" fmla="*/ 2147483647 w 588"/>
                <a:gd name="T17" fmla="*/ 2147483647 h 406"/>
                <a:gd name="T18" fmla="*/ 2147483647 w 588"/>
                <a:gd name="T19" fmla="*/ 2147483647 h 406"/>
                <a:gd name="T20" fmla="*/ 2147483647 w 588"/>
                <a:gd name="T21" fmla="*/ 2147483647 h 406"/>
                <a:gd name="T22" fmla="*/ 2147483647 w 588"/>
                <a:gd name="T23" fmla="*/ 2147483647 h 406"/>
                <a:gd name="T24" fmla="*/ 2147483647 w 588"/>
                <a:gd name="T25" fmla="*/ 2147483647 h 406"/>
                <a:gd name="T26" fmla="*/ 2147483647 w 588"/>
                <a:gd name="T27" fmla="*/ 2147483647 h 406"/>
                <a:gd name="T28" fmla="*/ 2147483647 w 588"/>
                <a:gd name="T29" fmla="*/ 2147483647 h 406"/>
                <a:gd name="T30" fmla="*/ 2147483647 w 588"/>
                <a:gd name="T31" fmla="*/ 2147483647 h 406"/>
                <a:gd name="T32" fmla="*/ 2147483647 w 588"/>
                <a:gd name="T33" fmla="*/ 2147483647 h 406"/>
                <a:gd name="T34" fmla="*/ 2147483647 w 588"/>
                <a:gd name="T35" fmla="*/ 2147483647 h 406"/>
                <a:gd name="T36" fmla="*/ 2147483647 w 588"/>
                <a:gd name="T37" fmla="*/ 2147483647 h 406"/>
                <a:gd name="T38" fmla="*/ 2147483647 w 588"/>
                <a:gd name="T39" fmla="*/ 2147483647 h 406"/>
                <a:gd name="T40" fmla="*/ 2147483647 w 588"/>
                <a:gd name="T41" fmla="*/ 2147483647 h 406"/>
                <a:gd name="T42" fmla="*/ 2147483647 w 588"/>
                <a:gd name="T43" fmla="*/ 2147483647 h 406"/>
                <a:gd name="T44" fmla="*/ 2147483647 w 588"/>
                <a:gd name="T45" fmla="*/ 2147483647 h 406"/>
                <a:gd name="T46" fmla="*/ 2147483647 w 588"/>
                <a:gd name="T47" fmla="*/ 2147483647 h 406"/>
                <a:gd name="T48" fmla="*/ 2147483647 w 588"/>
                <a:gd name="T49" fmla="*/ 2147483647 h 406"/>
                <a:gd name="T50" fmla="*/ 2147483647 w 588"/>
                <a:gd name="T51" fmla="*/ 2147483647 h 406"/>
                <a:gd name="T52" fmla="*/ 2147483647 w 588"/>
                <a:gd name="T53" fmla="*/ 2147483647 h 406"/>
                <a:gd name="T54" fmla="*/ 2147483647 w 588"/>
                <a:gd name="T55" fmla="*/ 2147483647 h 406"/>
                <a:gd name="T56" fmla="*/ 2147483647 w 588"/>
                <a:gd name="T57" fmla="*/ 0 h 406"/>
                <a:gd name="T58" fmla="*/ 2147483647 w 588"/>
                <a:gd name="T59" fmla="*/ 2147483647 h 406"/>
                <a:gd name="T60" fmla="*/ 2147483647 w 588"/>
                <a:gd name="T61" fmla="*/ 2147483647 h 406"/>
                <a:gd name="T62" fmla="*/ 2147483647 w 588"/>
                <a:gd name="T63" fmla="*/ 2147483647 h 406"/>
                <a:gd name="T64" fmla="*/ 2147483647 w 588"/>
                <a:gd name="T65" fmla="*/ 2147483647 h 40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88"/>
                <a:gd name="T100" fmla="*/ 0 h 406"/>
                <a:gd name="T101" fmla="*/ 588 w 588"/>
                <a:gd name="T102" fmla="*/ 406 h 40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88" h="406">
                  <a:moveTo>
                    <a:pt x="23" y="23"/>
                  </a:moveTo>
                  <a:lnTo>
                    <a:pt x="0" y="63"/>
                  </a:lnTo>
                  <a:lnTo>
                    <a:pt x="47" y="86"/>
                  </a:lnTo>
                  <a:lnTo>
                    <a:pt x="180" y="110"/>
                  </a:lnTo>
                  <a:lnTo>
                    <a:pt x="180" y="133"/>
                  </a:lnTo>
                  <a:lnTo>
                    <a:pt x="157" y="133"/>
                  </a:lnTo>
                  <a:lnTo>
                    <a:pt x="204" y="203"/>
                  </a:lnTo>
                  <a:lnTo>
                    <a:pt x="274" y="250"/>
                  </a:lnTo>
                  <a:lnTo>
                    <a:pt x="366" y="267"/>
                  </a:lnTo>
                  <a:lnTo>
                    <a:pt x="389" y="313"/>
                  </a:lnTo>
                  <a:lnTo>
                    <a:pt x="431" y="313"/>
                  </a:lnTo>
                  <a:lnTo>
                    <a:pt x="476" y="337"/>
                  </a:lnTo>
                  <a:lnTo>
                    <a:pt x="518" y="382"/>
                  </a:lnTo>
                  <a:lnTo>
                    <a:pt x="541" y="406"/>
                  </a:lnTo>
                  <a:lnTo>
                    <a:pt x="588" y="382"/>
                  </a:lnTo>
                  <a:lnTo>
                    <a:pt x="564" y="337"/>
                  </a:lnTo>
                  <a:lnTo>
                    <a:pt x="588" y="313"/>
                  </a:lnTo>
                  <a:lnTo>
                    <a:pt x="541" y="250"/>
                  </a:lnTo>
                  <a:lnTo>
                    <a:pt x="570" y="243"/>
                  </a:lnTo>
                  <a:lnTo>
                    <a:pt x="570" y="203"/>
                  </a:lnTo>
                  <a:lnTo>
                    <a:pt x="581" y="173"/>
                  </a:lnTo>
                  <a:lnTo>
                    <a:pt x="570" y="156"/>
                  </a:lnTo>
                  <a:lnTo>
                    <a:pt x="500" y="133"/>
                  </a:lnTo>
                  <a:lnTo>
                    <a:pt x="453" y="86"/>
                  </a:lnTo>
                  <a:lnTo>
                    <a:pt x="453" y="63"/>
                  </a:lnTo>
                  <a:lnTo>
                    <a:pt x="366" y="86"/>
                  </a:lnTo>
                  <a:lnTo>
                    <a:pt x="319" y="110"/>
                  </a:lnTo>
                  <a:lnTo>
                    <a:pt x="274" y="46"/>
                  </a:lnTo>
                  <a:lnTo>
                    <a:pt x="180" y="0"/>
                  </a:lnTo>
                  <a:lnTo>
                    <a:pt x="140" y="23"/>
                  </a:lnTo>
                  <a:lnTo>
                    <a:pt x="110" y="23"/>
                  </a:lnTo>
                  <a:lnTo>
                    <a:pt x="70" y="23"/>
                  </a:lnTo>
                  <a:lnTo>
                    <a:pt x="23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8" name="Freeform 910"/>
            <p:cNvSpPr>
              <a:spLocks/>
            </p:cNvSpPr>
            <p:nvPr/>
          </p:nvSpPr>
          <p:spPr bwMode="auto">
            <a:xfrm>
              <a:off x="6319796" y="2761466"/>
              <a:ext cx="229747" cy="94913"/>
            </a:xfrm>
            <a:custGeom>
              <a:avLst/>
              <a:gdLst>
                <a:gd name="T0" fmla="*/ 0 w 425"/>
                <a:gd name="T1" fmla="*/ 2147483647 h 204"/>
                <a:gd name="T2" fmla="*/ 2147483647 w 425"/>
                <a:gd name="T3" fmla="*/ 2147483647 h 204"/>
                <a:gd name="T4" fmla="*/ 2147483647 w 425"/>
                <a:gd name="T5" fmla="*/ 2147483647 h 204"/>
                <a:gd name="T6" fmla="*/ 2147483647 w 425"/>
                <a:gd name="T7" fmla="*/ 2147483647 h 204"/>
                <a:gd name="T8" fmla="*/ 2147483647 w 425"/>
                <a:gd name="T9" fmla="*/ 2147483647 h 204"/>
                <a:gd name="T10" fmla="*/ 2147483647 w 425"/>
                <a:gd name="T11" fmla="*/ 2147483647 h 204"/>
                <a:gd name="T12" fmla="*/ 2147483647 w 425"/>
                <a:gd name="T13" fmla="*/ 2147483647 h 204"/>
                <a:gd name="T14" fmla="*/ 2147483647 w 425"/>
                <a:gd name="T15" fmla="*/ 2147483647 h 204"/>
                <a:gd name="T16" fmla="*/ 2147483647 w 425"/>
                <a:gd name="T17" fmla="*/ 2147483647 h 204"/>
                <a:gd name="T18" fmla="*/ 2147483647 w 425"/>
                <a:gd name="T19" fmla="*/ 2147483647 h 204"/>
                <a:gd name="T20" fmla="*/ 2147483647 w 425"/>
                <a:gd name="T21" fmla="*/ 2147483647 h 204"/>
                <a:gd name="T22" fmla="*/ 2147483647 w 425"/>
                <a:gd name="T23" fmla="*/ 2147483647 h 204"/>
                <a:gd name="T24" fmla="*/ 2147483647 w 425"/>
                <a:gd name="T25" fmla="*/ 2147483647 h 204"/>
                <a:gd name="T26" fmla="*/ 2147483647 w 425"/>
                <a:gd name="T27" fmla="*/ 2147483647 h 204"/>
                <a:gd name="T28" fmla="*/ 2147483647 w 425"/>
                <a:gd name="T29" fmla="*/ 2147483647 h 204"/>
                <a:gd name="T30" fmla="*/ 2147483647 w 425"/>
                <a:gd name="T31" fmla="*/ 0 h 204"/>
                <a:gd name="T32" fmla="*/ 2147483647 w 425"/>
                <a:gd name="T33" fmla="*/ 2147483647 h 204"/>
                <a:gd name="T34" fmla="*/ 2147483647 w 425"/>
                <a:gd name="T35" fmla="*/ 2147483647 h 204"/>
                <a:gd name="T36" fmla="*/ 2147483647 w 425"/>
                <a:gd name="T37" fmla="*/ 2147483647 h 204"/>
                <a:gd name="T38" fmla="*/ 2147483647 w 425"/>
                <a:gd name="T39" fmla="*/ 2147483647 h 204"/>
                <a:gd name="T40" fmla="*/ 2147483647 w 425"/>
                <a:gd name="T41" fmla="*/ 2147483647 h 204"/>
                <a:gd name="T42" fmla="*/ 2147483647 w 425"/>
                <a:gd name="T43" fmla="*/ 2147483647 h 204"/>
                <a:gd name="T44" fmla="*/ 2147483647 w 425"/>
                <a:gd name="T45" fmla="*/ 2147483647 h 204"/>
                <a:gd name="T46" fmla="*/ 0 w 425"/>
                <a:gd name="T47" fmla="*/ 2147483647 h 2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25"/>
                <a:gd name="T73" fmla="*/ 0 h 204"/>
                <a:gd name="T74" fmla="*/ 425 w 425"/>
                <a:gd name="T75" fmla="*/ 204 h 2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25" h="204">
                  <a:moveTo>
                    <a:pt x="0" y="134"/>
                  </a:moveTo>
                  <a:lnTo>
                    <a:pt x="6" y="157"/>
                  </a:lnTo>
                  <a:lnTo>
                    <a:pt x="70" y="181"/>
                  </a:lnTo>
                  <a:lnTo>
                    <a:pt x="100" y="134"/>
                  </a:lnTo>
                  <a:lnTo>
                    <a:pt x="187" y="152"/>
                  </a:lnTo>
                  <a:lnTo>
                    <a:pt x="187" y="181"/>
                  </a:lnTo>
                  <a:lnTo>
                    <a:pt x="163" y="204"/>
                  </a:lnTo>
                  <a:lnTo>
                    <a:pt x="285" y="198"/>
                  </a:lnTo>
                  <a:lnTo>
                    <a:pt x="320" y="181"/>
                  </a:lnTo>
                  <a:lnTo>
                    <a:pt x="344" y="181"/>
                  </a:lnTo>
                  <a:lnTo>
                    <a:pt x="367" y="134"/>
                  </a:lnTo>
                  <a:lnTo>
                    <a:pt x="425" y="94"/>
                  </a:lnTo>
                  <a:lnTo>
                    <a:pt x="407" y="47"/>
                  </a:lnTo>
                  <a:lnTo>
                    <a:pt x="390" y="24"/>
                  </a:lnTo>
                  <a:lnTo>
                    <a:pt x="372" y="24"/>
                  </a:lnTo>
                  <a:lnTo>
                    <a:pt x="320" y="0"/>
                  </a:lnTo>
                  <a:lnTo>
                    <a:pt x="280" y="12"/>
                  </a:lnTo>
                  <a:lnTo>
                    <a:pt x="210" y="24"/>
                  </a:lnTo>
                  <a:lnTo>
                    <a:pt x="163" y="42"/>
                  </a:lnTo>
                  <a:lnTo>
                    <a:pt x="163" y="87"/>
                  </a:lnTo>
                  <a:lnTo>
                    <a:pt x="140" y="87"/>
                  </a:lnTo>
                  <a:lnTo>
                    <a:pt x="53" y="87"/>
                  </a:lnTo>
                  <a:lnTo>
                    <a:pt x="12" y="99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09" name="Freeform 911"/>
            <p:cNvSpPr>
              <a:spLocks/>
            </p:cNvSpPr>
            <p:nvPr/>
          </p:nvSpPr>
          <p:spPr bwMode="auto">
            <a:xfrm>
              <a:off x="6494602" y="2791436"/>
              <a:ext cx="204772" cy="104904"/>
            </a:xfrm>
            <a:custGeom>
              <a:avLst/>
              <a:gdLst>
                <a:gd name="T0" fmla="*/ 2147483647 w 372"/>
                <a:gd name="T1" fmla="*/ 2147483647 h 227"/>
                <a:gd name="T2" fmla="*/ 2147483647 w 372"/>
                <a:gd name="T3" fmla="*/ 2147483647 h 227"/>
                <a:gd name="T4" fmla="*/ 0 w 372"/>
                <a:gd name="T5" fmla="*/ 2147483647 h 227"/>
                <a:gd name="T6" fmla="*/ 2147483647 w 372"/>
                <a:gd name="T7" fmla="*/ 2147483647 h 227"/>
                <a:gd name="T8" fmla="*/ 2147483647 w 372"/>
                <a:gd name="T9" fmla="*/ 2147483647 h 227"/>
                <a:gd name="T10" fmla="*/ 2147483647 w 372"/>
                <a:gd name="T11" fmla="*/ 2147483647 h 227"/>
                <a:gd name="T12" fmla="*/ 2147483647 w 372"/>
                <a:gd name="T13" fmla="*/ 2147483647 h 227"/>
                <a:gd name="T14" fmla="*/ 2147483647 w 372"/>
                <a:gd name="T15" fmla="*/ 2147483647 h 227"/>
                <a:gd name="T16" fmla="*/ 2147483647 w 372"/>
                <a:gd name="T17" fmla="*/ 2147483647 h 227"/>
                <a:gd name="T18" fmla="*/ 2147483647 w 372"/>
                <a:gd name="T19" fmla="*/ 2147483647 h 227"/>
                <a:gd name="T20" fmla="*/ 2147483647 w 372"/>
                <a:gd name="T21" fmla="*/ 2147483647 h 227"/>
                <a:gd name="T22" fmla="*/ 2147483647 w 372"/>
                <a:gd name="T23" fmla="*/ 2147483647 h 227"/>
                <a:gd name="T24" fmla="*/ 2147483647 w 372"/>
                <a:gd name="T25" fmla="*/ 0 h 227"/>
                <a:gd name="T26" fmla="*/ 2147483647 w 372"/>
                <a:gd name="T27" fmla="*/ 2147483647 h 227"/>
                <a:gd name="T28" fmla="*/ 2147483647 w 372"/>
                <a:gd name="T29" fmla="*/ 2147483647 h 227"/>
                <a:gd name="T30" fmla="*/ 2147483647 w 372"/>
                <a:gd name="T31" fmla="*/ 2147483647 h 2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72"/>
                <a:gd name="T49" fmla="*/ 0 h 227"/>
                <a:gd name="T50" fmla="*/ 372 w 372"/>
                <a:gd name="T51" fmla="*/ 227 h 2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72" h="227">
                  <a:moveTo>
                    <a:pt x="104" y="23"/>
                  </a:moveTo>
                  <a:lnTo>
                    <a:pt x="35" y="70"/>
                  </a:lnTo>
                  <a:lnTo>
                    <a:pt x="0" y="123"/>
                  </a:lnTo>
                  <a:lnTo>
                    <a:pt x="70" y="157"/>
                  </a:lnTo>
                  <a:lnTo>
                    <a:pt x="104" y="203"/>
                  </a:lnTo>
                  <a:lnTo>
                    <a:pt x="116" y="227"/>
                  </a:lnTo>
                  <a:lnTo>
                    <a:pt x="174" y="203"/>
                  </a:lnTo>
                  <a:lnTo>
                    <a:pt x="204" y="198"/>
                  </a:lnTo>
                  <a:lnTo>
                    <a:pt x="239" y="180"/>
                  </a:lnTo>
                  <a:lnTo>
                    <a:pt x="261" y="163"/>
                  </a:lnTo>
                  <a:lnTo>
                    <a:pt x="308" y="117"/>
                  </a:lnTo>
                  <a:lnTo>
                    <a:pt x="349" y="65"/>
                  </a:lnTo>
                  <a:lnTo>
                    <a:pt x="372" y="0"/>
                  </a:lnTo>
                  <a:lnTo>
                    <a:pt x="261" y="6"/>
                  </a:lnTo>
                  <a:lnTo>
                    <a:pt x="197" y="23"/>
                  </a:lnTo>
                  <a:lnTo>
                    <a:pt x="104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0" name="Freeform 912"/>
            <p:cNvSpPr>
              <a:spLocks/>
            </p:cNvSpPr>
            <p:nvPr/>
          </p:nvSpPr>
          <p:spPr bwMode="auto">
            <a:xfrm>
              <a:off x="6294825" y="2806421"/>
              <a:ext cx="29966" cy="19982"/>
            </a:xfrm>
            <a:custGeom>
              <a:avLst/>
              <a:gdLst>
                <a:gd name="T0" fmla="*/ 2147483647 w 52"/>
                <a:gd name="T1" fmla="*/ 0 h 41"/>
                <a:gd name="T2" fmla="*/ 0 w 52"/>
                <a:gd name="T3" fmla="*/ 0 h 41"/>
                <a:gd name="T4" fmla="*/ 2147483647 w 52"/>
                <a:gd name="T5" fmla="*/ 2147483647 h 41"/>
                <a:gd name="T6" fmla="*/ 2147483647 w 52"/>
                <a:gd name="T7" fmla="*/ 2147483647 h 41"/>
                <a:gd name="T8" fmla="*/ 2147483647 w 52"/>
                <a:gd name="T9" fmla="*/ 0 h 4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1"/>
                <a:gd name="T17" fmla="*/ 52 w 52"/>
                <a:gd name="T18" fmla="*/ 41 h 4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1">
                  <a:moveTo>
                    <a:pt x="52" y="0"/>
                  </a:moveTo>
                  <a:lnTo>
                    <a:pt x="0" y="0"/>
                  </a:lnTo>
                  <a:lnTo>
                    <a:pt x="6" y="35"/>
                  </a:lnTo>
                  <a:lnTo>
                    <a:pt x="35" y="41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1" name="Freeform 913"/>
            <p:cNvSpPr>
              <a:spLocks/>
            </p:cNvSpPr>
            <p:nvPr/>
          </p:nvSpPr>
          <p:spPr bwMode="auto">
            <a:xfrm>
              <a:off x="6194935" y="2796433"/>
              <a:ext cx="104886" cy="74930"/>
            </a:xfrm>
            <a:custGeom>
              <a:avLst/>
              <a:gdLst>
                <a:gd name="T0" fmla="*/ 2147483647 w 192"/>
                <a:gd name="T1" fmla="*/ 2147483647 h 162"/>
                <a:gd name="T2" fmla="*/ 2147483647 w 192"/>
                <a:gd name="T3" fmla="*/ 0 h 162"/>
                <a:gd name="T4" fmla="*/ 2147483647 w 192"/>
                <a:gd name="T5" fmla="*/ 2147483647 h 162"/>
                <a:gd name="T6" fmla="*/ 0 w 192"/>
                <a:gd name="T7" fmla="*/ 2147483647 h 162"/>
                <a:gd name="T8" fmla="*/ 2147483647 w 192"/>
                <a:gd name="T9" fmla="*/ 2147483647 h 162"/>
                <a:gd name="T10" fmla="*/ 2147483647 w 192"/>
                <a:gd name="T11" fmla="*/ 2147483647 h 162"/>
                <a:gd name="T12" fmla="*/ 2147483647 w 192"/>
                <a:gd name="T13" fmla="*/ 2147483647 h 162"/>
                <a:gd name="T14" fmla="*/ 2147483647 w 192"/>
                <a:gd name="T15" fmla="*/ 2147483647 h 162"/>
                <a:gd name="T16" fmla="*/ 2147483647 w 192"/>
                <a:gd name="T17" fmla="*/ 2147483647 h 162"/>
                <a:gd name="T18" fmla="*/ 2147483647 w 192"/>
                <a:gd name="T19" fmla="*/ 2147483647 h 162"/>
                <a:gd name="T20" fmla="*/ 2147483647 w 192"/>
                <a:gd name="T21" fmla="*/ 2147483647 h 162"/>
                <a:gd name="T22" fmla="*/ 2147483647 w 192"/>
                <a:gd name="T23" fmla="*/ 2147483647 h 162"/>
                <a:gd name="T24" fmla="*/ 2147483647 w 192"/>
                <a:gd name="T25" fmla="*/ 2147483647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2"/>
                <a:gd name="T40" fmla="*/ 0 h 162"/>
                <a:gd name="T41" fmla="*/ 192 w 192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2" h="162">
                  <a:moveTo>
                    <a:pt x="181" y="23"/>
                  </a:moveTo>
                  <a:lnTo>
                    <a:pt x="99" y="0"/>
                  </a:lnTo>
                  <a:lnTo>
                    <a:pt x="47" y="29"/>
                  </a:lnTo>
                  <a:lnTo>
                    <a:pt x="0" y="75"/>
                  </a:lnTo>
                  <a:lnTo>
                    <a:pt x="24" y="145"/>
                  </a:lnTo>
                  <a:lnTo>
                    <a:pt x="70" y="162"/>
                  </a:lnTo>
                  <a:lnTo>
                    <a:pt x="117" y="145"/>
                  </a:lnTo>
                  <a:lnTo>
                    <a:pt x="122" y="99"/>
                  </a:lnTo>
                  <a:lnTo>
                    <a:pt x="140" y="99"/>
                  </a:lnTo>
                  <a:lnTo>
                    <a:pt x="164" y="87"/>
                  </a:lnTo>
                  <a:lnTo>
                    <a:pt x="181" y="75"/>
                  </a:lnTo>
                  <a:lnTo>
                    <a:pt x="192" y="52"/>
                  </a:lnTo>
                  <a:lnTo>
                    <a:pt x="181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2" name="Freeform 914"/>
            <p:cNvSpPr>
              <a:spLocks/>
            </p:cNvSpPr>
            <p:nvPr/>
          </p:nvSpPr>
          <p:spPr bwMode="auto">
            <a:xfrm>
              <a:off x="6184944" y="2826403"/>
              <a:ext cx="369591" cy="304719"/>
            </a:xfrm>
            <a:custGeom>
              <a:avLst/>
              <a:gdLst>
                <a:gd name="T0" fmla="*/ 2147483647 w 680"/>
                <a:gd name="T1" fmla="*/ 2147483647 h 656"/>
                <a:gd name="T2" fmla="*/ 2147483647 w 680"/>
                <a:gd name="T3" fmla="*/ 2147483647 h 656"/>
                <a:gd name="T4" fmla="*/ 2147483647 w 680"/>
                <a:gd name="T5" fmla="*/ 2147483647 h 656"/>
                <a:gd name="T6" fmla="*/ 2147483647 w 680"/>
                <a:gd name="T7" fmla="*/ 2147483647 h 656"/>
                <a:gd name="T8" fmla="*/ 0 w 680"/>
                <a:gd name="T9" fmla="*/ 2147483647 h 656"/>
                <a:gd name="T10" fmla="*/ 0 w 680"/>
                <a:gd name="T11" fmla="*/ 2147483647 h 656"/>
                <a:gd name="T12" fmla="*/ 2147483647 w 680"/>
                <a:gd name="T13" fmla="*/ 2147483647 h 656"/>
                <a:gd name="T14" fmla="*/ 2147483647 w 680"/>
                <a:gd name="T15" fmla="*/ 2147483647 h 656"/>
                <a:gd name="T16" fmla="*/ 2147483647 w 680"/>
                <a:gd name="T17" fmla="*/ 2147483647 h 656"/>
                <a:gd name="T18" fmla="*/ 2147483647 w 680"/>
                <a:gd name="T19" fmla="*/ 2147483647 h 656"/>
                <a:gd name="T20" fmla="*/ 2147483647 w 680"/>
                <a:gd name="T21" fmla="*/ 2147483647 h 656"/>
                <a:gd name="T22" fmla="*/ 2147483647 w 680"/>
                <a:gd name="T23" fmla="*/ 2147483647 h 656"/>
                <a:gd name="T24" fmla="*/ 2147483647 w 680"/>
                <a:gd name="T25" fmla="*/ 2147483647 h 656"/>
                <a:gd name="T26" fmla="*/ 2147483647 w 680"/>
                <a:gd name="T27" fmla="*/ 2147483647 h 656"/>
                <a:gd name="T28" fmla="*/ 2147483647 w 680"/>
                <a:gd name="T29" fmla="*/ 2147483647 h 656"/>
                <a:gd name="T30" fmla="*/ 2147483647 w 680"/>
                <a:gd name="T31" fmla="*/ 2147483647 h 656"/>
                <a:gd name="T32" fmla="*/ 2147483647 w 680"/>
                <a:gd name="T33" fmla="*/ 2147483647 h 656"/>
                <a:gd name="T34" fmla="*/ 2147483647 w 680"/>
                <a:gd name="T35" fmla="*/ 2147483647 h 656"/>
                <a:gd name="T36" fmla="*/ 2147483647 w 680"/>
                <a:gd name="T37" fmla="*/ 2147483647 h 656"/>
                <a:gd name="T38" fmla="*/ 2147483647 w 680"/>
                <a:gd name="T39" fmla="*/ 2147483647 h 656"/>
                <a:gd name="T40" fmla="*/ 2147483647 w 680"/>
                <a:gd name="T41" fmla="*/ 2147483647 h 656"/>
                <a:gd name="T42" fmla="*/ 2147483647 w 680"/>
                <a:gd name="T43" fmla="*/ 2147483647 h 656"/>
                <a:gd name="T44" fmla="*/ 2147483647 w 680"/>
                <a:gd name="T45" fmla="*/ 2147483647 h 656"/>
                <a:gd name="T46" fmla="*/ 2147483647 w 680"/>
                <a:gd name="T47" fmla="*/ 2147483647 h 656"/>
                <a:gd name="T48" fmla="*/ 2147483647 w 680"/>
                <a:gd name="T49" fmla="*/ 2147483647 h 656"/>
                <a:gd name="T50" fmla="*/ 2147483647 w 680"/>
                <a:gd name="T51" fmla="*/ 2147483647 h 656"/>
                <a:gd name="T52" fmla="*/ 2147483647 w 680"/>
                <a:gd name="T53" fmla="*/ 2147483647 h 656"/>
                <a:gd name="T54" fmla="*/ 2147483647 w 680"/>
                <a:gd name="T55" fmla="*/ 2147483647 h 656"/>
                <a:gd name="T56" fmla="*/ 2147483647 w 680"/>
                <a:gd name="T57" fmla="*/ 2147483647 h 656"/>
                <a:gd name="T58" fmla="*/ 2147483647 w 680"/>
                <a:gd name="T59" fmla="*/ 2147483647 h 656"/>
                <a:gd name="T60" fmla="*/ 2147483647 w 680"/>
                <a:gd name="T61" fmla="*/ 2147483647 h 656"/>
                <a:gd name="T62" fmla="*/ 2147483647 w 680"/>
                <a:gd name="T63" fmla="*/ 2147483647 h 656"/>
                <a:gd name="T64" fmla="*/ 2147483647 w 680"/>
                <a:gd name="T65" fmla="*/ 2147483647 h 656"/>
                <a:gd name="T66" fmla="*/ 2147483647 w 680"/>
                <a:gd name="T67" fmla="*/ 2147483647 h 656"/>
                <a:gd name="T68" fmla="*/ 2147483647 w 680"/>
                <a:gd name="T69" fmla="*/ 2147483647 h 656"/>
                <a:gd name="T70" fmla="*/ 2147483647 w 680"/>
                <a:gd name="T71" fmla="*/ 2147483647 h 656"/>
                <a:gd name="T72" fmla="*/ 2147483647 w 680"/>
                <a:gd name="T73" fmla="*/ 2147483647 h 656"/>
                <a:gd name="T74" fmla="*/ 2147483647 w 680"/>
                <a:gd name="T75" fmla="*/ 2147483647 h 656"/>
                <a:gd name="T76" fmla="*/ 2147483647 w 680"/>
                <a:gd name="T77" fmla="*/ 2147483647 h 656"/>
                <a:gd name="T78" fmla="*/ 2147483647 w 680"/>
                <a:gd name="T79" fmla="*/ 0 h 656"/>
                <a:gd name="T80" fmla="*/ 2147483647 w 680"/>
                <a:gd name="T81" fmla="*/ 2147483647 h 656"/>
                <a:gd name="T82" fmla="*/ 2147483647 w 680"/>
                <a:gd name="T83" fmla="*/ 2147483647 h 656"/>
                <a:gd name="T84" fmla="*/ 2147483647 w 680"/>
                <a:gd name="T85" fmla="*/ 0 h 656"/>
                <a:gd name="T86" fmla="*/ 2147483647 w 680"/>
                <a:gd name="T87" fmla="*/ 2147483647 h 656"/>
                <a:gd name="T88" fmla="*/ 2147483647 w 680"/>
                <a:gd name="T89" fmla="*/ 2147483647 h 656"/>
                <a:gd name="T90" fmla="*/ 2147483647 w 680"/>
                <a:gd name="T91" fmla="*/ 2147483647 h 656"/>
                <a:gd name="T92" fmla="*/ 2147483647 w 680"/>
                <a:gd name="T93" fmla="*/ 2147483647 h 656"/>
                <a:gd name="T94" fmla="*/ 2147483647 w 680"/>
                <a:gd name="T95" fmla="*/ 2147483647 h 656"/>
                <a:gd name="T96" fmla="*/ 2147483647 w 680"/>
                <a:gd name="T97" fmla="*/ 2147483647 h 65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80"/>
                <a:gd name="T148" fmla="*/ 0 h 656"/>
                <a:gd name="T149" fmla="*/ 680 w 680"/>
                <a:gd name="T150" fmla="*/ 656 h 65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80" h="656">
                  <a:moveTo>
                    <a:pt x="53" y="93"/>
                  </a:moveTo>
                  <a:lnTo>
                    <a:pt x="41" y="128"/>
                  </a:lnTo>
                  <a:lnTo>
                    <a:pt x="18" y="140"/>
                  </a:lnTo>
                  <a:lnTo>
                    <a:pt x="6" y="175"/>
                  </a:lnTo>
                  <a:lnTo>
                    <a:pt x="0" y="203"/>
                  </a:lnTo>
                  <a:lnTo>
                    <a:pt x="0" y="255"/>
                  </a:lnTo>
                  <a:lnTo>
                    <a:pt x="30" y="238"/>
                  </a:lnTo>
                  <a:lnTo>
                    <a:pt x="65" y="220"/>
                  </a:lnTo>
                  <a:lnTo>
                    <a:pt x="122" y="203"/>
                  </a:lnTo>
                  <a:lnTo>
                    <a:pt x="180" y="180"/>
                  </a:lnTo>
                  <a:lnTo>
                    <a:pt x="274" y="203"/>
                  </a:lnTo>
                  <a:lnTo>
                    <a:pt x="297" y="250"/>
                  </a:lnTo>
                  <a:lnTo>
                    <a:pt x="297" y="290"/>
                  </a:lnTo>
                  <a:lnTo>
                    <a:pt x="431" y="429"/>
                  </a:lnTo>
                  <a:lnTo>
                    <a:pt x="494" y="441"/>
                  </a:lnTo>
                  <a:lnTo>
                    <a:pt x="564" y="499"/>
                  </a:lnTo>
                  <a:lnTo>
                    <a:pt x="588" y="563"/>
                  </a:lnTo>
                  <a:lnTo>
                    <a:pt x="558" y="610"/>
                  </a:lnTo>
                  <a:lnTo>
                    <a:pt x="564" y="656"/>
                  </a:lnTo>
                  <a:lnTo>
                    <a:pt x="628" y="575"/>
                  </a:lnTo>
                  <a:lnTo>
                    <a:pt x="605" y="511"/>
                  </a:lnTo>
                  <a:lnTo>
                    <a:pt x="611" y="453"/>
                  </a:lnTo>
                  <a:lnTo>
                    <a:pt x="651" y="499"/>
                  </a:lnTo>
                  <a:lnTo>
                    <a:pt x="680" y="523"/>
                  </a:lnTo>
                  <a:lnTo>
                    <a:pt x="680" y="476"/>
                  </a:lnTo>
                  <a:lnTo>
                    <a:pt x="611" y="407"/>
                  </a:lnTo>
                  <a:lnTo>
                    <a:pt x="588" y="407"/>
                  </a:lnTo>
                  <a:lnTo>
                    <a:pt x="564" y="360"/>
                  </a:lnTo>
                  <a:lnTo>
                    <a:pt x="524" y="342"/>
                  </a:lnTo>
                  <a:lnTo>
                    <a:pt x="477" y="314"/>
                  </a:lnTo>
                  <a:lnTo>
                    <a:pt x="424" y="279"/>
                  </a:lnTo>
                  <a:lnTo>
                    <a:pt x="384" y="227"/>
                  </a:lnTo>
                  <a:lnTo>
                    <a:pt x="361" y="180"/>
                  </a:lnTo>
                  <a:lnTo>
                    <a:pt x="361" y="157"/>
                  </a:lnTo>
                  <a:lnTo>
                    <a:pt x="361" y="110"/>
                  </a:lnTo>
                  <a:lnTo>
                    <a:pt x="384" y="110"/>
                  </a:lnTo>
                  <a:lnTo>
                    <a:pt x="407" y="70"/>
                  </a:lnTo>
                  <a:lnTo>
                    <a:pt x="431" y="47"/>
                  </a:lnTo>
                  <a:lnTo>
                    <a:pt x="431" y="23"/>
                  </a:lnTo>
                  <a:lnTo>
                    <a:pt x="337" y="0"/>
                  </a:lnTo>
                  <a:lnTo>
                    <a:pt x="314" y="47"/>
                  </a:lnTo>
                  <a:lnTo>
                    <a:pt x="250" y="23"/>
                  </a:lnTo>
                  <a:lnTo>
                    <a:pt x="227" y="0"/>
                  </a:lnTo>
                  <a:lnTo>
                    <a:pt x="180" y="41"/>
                  </a:lnTo>
                  <a:lnTo>
                    <a:pt x="140" y="47"/>
                  </a:lnTo>
                  <a:lnTo>
                    <a:pt x="134" y="87"/>
                  </a:lnTo>
                  <a:lnTo>
                    <a:pt x="100" y="110"/>
                  </a:lnTo>
                  <a:lnTo>
                    <a:pt x="70" y="110"/>
                  </a:lnTo>
                  <a:lnTo>
                    <a:pt x="53" y="9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3" name="Freeform 915"/>
            <p:cNvSpPr>
              <a:spLocks/>
            </p:cNvSpPr>
            <p:nvPr/>
          </p:nvSpPr>
          <p:spPr bwMode="auto">
            <a:xfrm>
              <a:off x="6379731" y="3121133"/>
              <a:ext cx="89901" cy="44960"/>
            </a:xfrm>
            <a:custGeom>
              <a:avLst/>
              <a:gdLst>
                <a:gd name="T0" fmla="*/ 2147483647 w 163"/>
                <a:gd name="T1" fmla="*/ 2147483647 h 105"/>
                <a:gd name="T2" fmla="*/ 2147483647 w 163"/>
                <a:gd name="T3" fmla="*/ 2147483647 h 105"/>
                <a:gd name="T4" fmla="*/ 2147483647 w 163"/>
                <a:gd name="T5" fmla="*/ 2147483647 h 105"/>
                <a:gd name="T6" fmla="*/ 2147483647 w 163"/>
                <a:gd name="T7" fmla="*/ 2147483647 h 105"/>
                <a:gd name="T8" fmla="*/ 0 w 163"/>
                <a:gd name="T9" fmla="*/ 2147483647 h 105"/>
                <a:gd name="T10" fmla="*/ 0 w 163"/>
                <a:gd name="T11" fmla="*/ 2147483647 h 105"/>
                <a:gd name="T12" fmla="*/ 2147483647 w 163"/>
                <a:gd name="T13" fmla="*/ 2147483647 h 105"/>
                <a:gd name="T14" fmla="*/ 2147483647 w 163"/>
                <a:gd name="T15" fmla="*/ 2147483647 h 105"/>
                <a:gd name="T16" fmla="*/ 2147483647 w 163"/>
                <a:gd name="T17" fmla="*/ 0 h 105"/>
                <a:gd name="T18" fmla="*/ 2147483647 w 163"/>
                <a:gd name="T19" fmla="*/ 0 h 105"/>
                <a:gd name="T20" fmla="*/ 2147483647 w 163"/>
                <a:gd name="T21" fmla="*/ 2147483647 h 10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3"/>
                <a:gd name="T34" fmla="*/ 0 h 105"/>
                <a:gd name="T35" fmla="*/ 163 w 163"/>
                <a:gd name="T36" fmla="*/ 105 h 10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3" h="105">
                  <a:moveTo>
                    <a:pt x="163" y="23"/>
                  </a:moveTo>
                  <a:lnTo>
                    <a:pt x="133" y="47"/>
                  </a:lnTo>
                  <a:lnTo>
                    <a:pt x="145" y="105"/>
                  </a:lnTo>
                  <a:lnTo>
                    <a:pt x="70" y="93"/>
                  </a:lnTo>
                  <a:lnTo>
                    <a:pt x="0" y="93"/>
                  </a:lnTo>
                  <a:lnTo>
                    <a:pt x="0" y="65"/>
                  </a:lnTo>
                  <a:lnTo>
                    <a:pt x="23" y="23"/>
                  </a:lnTo>
                  <a:lnTo>
                    <a:pt x="70" y="23"/>
                  </a:lnTo>
                  <a:lnTo>
                    <a:pt x="116" y="0"/>
                  </a:lnTo>
                  <a:lnTo>
                    <a:pt x="133" y="0"/>
                  </a:lnTo>
                  <a:lnTo>
                    <a:pt x="163" y="23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4" name="Freeform 916"/>
            <p:cNvSpPr>
              <a:spLocks/>
            </p:cNvSpPr>
            <p:nvPr/>
          </p:nvSpPr>
          <p:spPr bwMode="auto">
            <a:xfrm>
              <a:off x="5890273" y="2681538"/>
              <a:ext cx="359604" cy="319707"/>
            </a:xfrm>
            <a:custGeom>
              <a:avLst/>
              <a:gdLst>
                <a:gd name="T0" fmla="*/ 2147483647 w 657"/>
                <a:gd name="T1" fmla="*/ 2147483647 h 680"/>
                <a:gd name="T2" fmla="*/ 2147483647 w 657"/>
                <a:gd name="T3" fmla="*/ 2147483647 h 680"/>
                <a:gd name="T4" fmla="*/ 2147483647 w 657"/>
                <a:gd name="T5" fmla="*/ 2147483647 h 680"/>
                <a:gd name="T6" fmla="*/ 2147483647 w 657"/>
                <a:gd name="T7" fmla="*/ 2147483647 h 680"/>
                <a:gd name="T8" fmla="*/ 2147483647 w 657"/>
                <a:gd name="T9" fmla="*/ 2147483647 h 680"/>
                <a:gd name="T10" fmla="*/ 2147483647 w 657"/>
                <a:gd name="T11" fmla="*/ 2147483647 h 680"/>
                <a:gd name="T12" fmla="*/ 2147483647 w 657"/>
                <a:gd name="T13" fmla="*/ 2147483647 h 680"/>
                <a:gd name="T14" fmla="*/ 2147483647 w 657"/>
                <a:gd name="T15" fmla="*/ 2147483647 h 680"/>
                <a:gd name="T16" fmla="*/ 2147483647 w 657"/>
                <a:gd name="T17" fmla="*/ 2147483647 h 680"/>
                <a:gd name="T18" fmla="*/ 2147483647 w 657"/>
                <a:gd name="T19" fmla="*/ 2147483647 h 680"/>
                <a:gd name="T20" fmla="*/ 2147483647 w 657"/>
                <a:gd name="T21" fmla="*/ 2147483647 h 680"/>
                <a:gd name="T22" fmla="*/ 2147483647 w 657"/>
                <a:gd name="T23" fmla="*/ 2147483647 h 680"/>
                <a:gd name="T24" fmla="*/ 2147483647 w 657"/>
                <a:gd name="T25" fmla="*/ 2147483647 h 680"/>
                <a:gd name="T26" fmla="*/ 2147483647 w 657"/>
                <a:gd name="T27" fmla="*/ 2147483647 h 680"/>
                <a:gd name="T28" fmla="*/ 0 w 657"/>
                <a:gd name="T29" fmla="*/ 2147483647 h 680"/>
                <a:gd name="T30" fmla="*/ 0 w 657"/>
                <a:gd name="T31" fmla="*/ 2147483647 h 680"/>
                <a:gd name="T32" fmla="*/ 2147483647 w 657"/>
                <a:gd name="T33" fmla="*/ 2147483647 h 680"/>
                <a:gd name="T34" fmla="*/ 2147483647 w 657"/>
                <a:gd name="T35" fmla="*/ 2147483647 h 680"/>
                <a:gd name="T36" fmla="*/ 2147483647 w 657"/>
                <a:gd name="T37" fmla="*/ 2147483647 h 680"/>
                <a:gd name="T38" fmla="*/ 2147483647 w 657"/>
                <a:gd name="T39" fmla="*/ 2147483647 h 680"/>
                <a:gd name="T40" fmla="*/ 2147483647 w 657"/>
                <a:gd name="T41" fmla="*/ 0 h 680"/>
                <a:gd name="T42" fmla="*/ 2147483647 w 657"/>
                <a:gd name="T43" fmla="*/ 2147483647 h 680"/>
                <a:gd name="T44" fmla="*/ 2147483647 w 657"/>
                <a:gd name="T45" fmla="*/ 2147483647 h 680"/>
                <a:gd name="T46" fmla="*/ 2147483647 w 657"/>
                <a:gd name="T47" fmla="*/ 2147483647 h 680"/>
                <a:gd name="T48" fmla="*/ 2147483647 w 657"/>
                <a:gd name="T49" fmla="*/ 2147483647 h 680"/>
                <a:gd name="T50" fmla="*/ 2147483647 w 657"/>
                <a:gd name="T51" fmla="*/ 2147483647 h 680"/>
                <a:gd name="T52" fmla="*/ 2147483647 w 657"/>
                <a:gd name="T53" fmla="*/ 2147483647 h 680"/>
                <a:gd name="T54" fmla="*/ 2147483647 w 657"/>
                <a:gd name="T55" fmla="*/ 2147483647 h 680"/>
                <a:gd name="T56" fmla="*/ 2147483647 w 657"/>
                <a:gd name="T57" fmla="*/ 2147483647 h 680"/>
                <a:gd name="T58" fmla="*/ 2147483647 w 657"/>
                <a:gd name="T59" fmla="*/ 2147483647 h 680"/>
                <a:gd name="T60" fmla="*/ 2147483647 w 657"/>
                <a:gd name="T61" fmla="*/ 2147483647 h 680"/>
                <a:gd name="T62" fmla="*/ 2147483647 w 657"/>
                <a:gd name="T63" fmla="*/ 2147483647 h 680"/>
                <a:gd name="T64" fmla="*/ 2147483647 w 657"/>
                <a:gd name="T65" fmla="*/ 2147483647 h 680"/>
                <a:gd name="T66" fmla="*/ 2147483647 w 657"/>
                <a:gd name="T67" fmla="*/ 2147483647 h 680"/>
                <a:gd name="T68" fmla="*/ 2147483647 w 657"/>
                <a:gd name="T69" fmla="*/ 2147483647 h 6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57"/>
                <a:gd name="T106" fmla="*/ 0 h 680"/>
                <a:gd name="T107" fmla="*/ 657 w 657"/>
                <a:gd name="T108" fmla="*/ 680 h 6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57" h="680">
                  <a:moveTo>
                    <a:pt x="540" y="546"/>
                  </a:moveTo>
                  <a:lnTo>
                    <a:pt x="471" y="546"/>
                  </a:lnTo>
                  <a:lnTo>
                    <a:pt x="471" y="593"/>
                  </a:lnTo>
                  <a:lnTo>
                    <a:pt x="430" y="593"/>
                  </a:lnTo>
                  <a:lnTo>
                    <a:pt x="406" y="610"/>
                  </a:lnTo>
                  <a:lnTo>
                    <a:pt x="383" y="680"/>
                  </a:lnTo>
                  <a:lnTo>
                    <a:pt x="273" y="593"/>
                  </a:lnTo>
                  <a:lnTo>
                    <a:pt x="250" y="563"/>
                  </a:lnTo>
                  <a:lnTo>
                    <a:pt x="116" y="546"/>
                  </a:lnTo>
                  <a:lnTo>
                    <a:pt x="69" y="499"/>
                  </a:lnTo>
                  <a:lnTo>
                    <a:pt x="116" y="453"/>
                  </a:lnTo>
                  <a:lnTo>
                    <a:pt x="134" y="319"/>
                  </a:lnTo>
                  <a:lnTo>
                    <a:pt x="116" y="273"/>
                  </a:lnTo>
                  <a:lnTo>
                    <a:pt x="69" y="232"/>
                  </a:lnTo>
                  <a:lnTo>
                    <a:pt x="0" y="186"/>
                  </a:lnTo>
                  <a:lnTo>
                    <a:pt x="0" y="162"/>
                  </a:lnTo>
                  <a:lnTo>
                    <a:pt x="47" y="139"/>
                  </a:lnTo>
                  <a:lnTo>
                    <a:pt x="93" y="116"/>
                  </a:lnTo>
                  <a:lnTo>
                    <a:pt x="204" y="70"/>
                  </a:lnTo>
                  <a:lnTo>
                    <a:pt x="273" y="70"/>
                  </a:lnTo>
                  <a:lnTo>
                    <a:pt x="360" y="0"/>
                  </a:lnTo>
                  <a:lnTo>
                    <a:pt x="424" y="47"/>
                  </a:lnTo>
                  <a:lnTo>
                    <a:pt x="540" y="116"/>
                  </a:lnTo>
                  <a:lnTo>
                    <a:pt x="581" y="139"/>
                  </a:lnTo>
                  <a:lnTo>
                    <a:pt x="616" y="134"/>
                  </a:lnTo>
                  <a:lnTo>
                    <a:pt x="650" y="162"/>
                  </a:lnTo>
                  <a:lnTo>
                    <a:pt x="650" y="197"/>
                  </a:lnTo>
                  <a:lnTo>
                    <a:pt x="657" y="244"/>
                  </a:lnTo>
                  <a:lnTo>
                    <a:pt x="587" y="296"/>
                  </a:lnTo>
                  <a:lnTo>
                    <a:pt x="563" y="319"/>
                  </a:lnTo>
                  <a:lnTo>
                    <a:pt x="587" y="406"/>
                  </a:lnTo>
                  <a:lnTo>
                    <a:pt x="587" y="429"/>
                  </a:lnTo>
                  <a:lnTo>
                    <a:pt x="563" y="429"/>
                  </a:lnTo>
                  <a:lnTo>
                    <a:pt x="540" y="499"/>
                  </a:lnTo>
                  <a:lnTo>
                    <a:pt x="540" y="546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5" name="Freeform 917"/>
            <p:cNvSpPr>
              <a:spLocks/>
            </p:cNvSpPr>
            <p:nvPr/>
          </p:nvSpPr>
          <p:spPr bwMode="auto">
            <a:xfrm>
              <a:off x="5745430" y="2901337"/>
              <a:ext cx="354609" cy="314710"/>
            </a:xfrm>
            <a:custGeom>
              <a:avLst/>
              <a:gdLst>
                <a:gd name="T0" fmla="*/ 2147483647 w 656"/>
                <a:gd name="T1" fmla="*/ 2147483647 h 673"/>
                <a:gd name="T2" fmla="*/ 2147483647 w 656"/>
                <a:gd name="T3" fmla="*/ 2147483647 h 673"/>
                <a:gd name="T4" fmla="*/ 2147483647 w 656"/>
                <a:gd name="T5" fmla="*/ 2147483647 h 673"/>
                <a:gd name="T6" fmla="*/ 2147483647 w 656"/>
                <a:gd name="T7" fmla="*/ 0 h 673"/>
                <a:gd name="T8" fmla="*/ 2147483647 w 656"/>
                <a:gd name="T9" fmla="*/ 2147483647 h 673"/>
                <a:gd name="T10" fmla="*/ 2147483647 w 656"/>
                <a:gd name="T11" fmla="*/ 2147483647 h 673"/>
                <a:gd name="T12" fmla="*/ 0 w 656"/>
                <a:gd name="T13" fmla="*/ 2147483647 h 673"/>
                <a:gd name="T14" fmla="*/ 0 w 656"/>
                <a:gd name="T15" fmla="*/ 2147483647 h 673"/>
                <a:gd name="T16" fmla="*/ 2147483647 w 656"/>
                <a:gd name="T17" fmla="*/ 2147483647 h 673"/>
                <a:gd name="T18" fmla="*/ 2147483647 w 656"/>
                <a:gd name="T19" fmla="*/ 2147483647 h 673"/>
                <a:gd name="T20" fmla="*/ 2147483647 w 656"/>
                <a:gd name="T21" fmla="*/ 2147483647 h 673"/>
                <a:gd name="T22" fmla="*/ 2147483647 w 656"/>
                <a:gd name="T23" fmla="*/ 2147483647 h 673"/>
                <a:gd name="T24" fmla="*/ 2147483647 w 656"/>
                <a:gd name="T25" fmla="*/ 2147483647 h 673"/>
                <a:gd name="T26" fmla="*/ 2147483647 w 656"/>
                <a:gd name="T27" fmla="*/ 2147483647 h 673"/>
                <a:gd name="T28" fmla="*/ 2147483647 w 656"/>
                <a:gd name="T29" fmla="*/ 2147483647 h 673"/>
                <a:gd name="T30" fmla="*/ 2147483647 w 656"/>
                <a:gd name="T31" fmla="*/ 2147483647 h 673"/>
                <a:gd name="T32" fmla="*/ 2147483647 w 656"/>
                <a:gd name="T33" fmla="*/ 2147483647 h 673"/>
                <a:gd name="T34" fmla="*/ 2147483647 w 656"/>
                <a:gd name="T35" fmla="*/ 2147483647 h 673"/>
                <a:gd name="T36" fmla="*/ 2147483647 w 656"/>
                <a:gd name="T37" fmla="*/ 2147483647 h 673"/>
                <a:gd name="T38" fmla="*/ 2147483647 w 656"/>
                <a:gd name="T39" fmla="*/ 2147483647 h 673"/>
                <a:gd name="T40" fmla="*/ 2147483647 w 656"/>
                <a:gd name="T41" fmla="*/ 2147483647 h 673"/>
                <a:gd name="T42" fmla="*/ 2147483647 w 656"/>
                <a:gd name="T43" fmla="*/ 2147483647 h 673"/>
                <a:gd name="T44" fmla="*/ 2147483647 w 656"/>
                <a:gd name="T45" fmla="*/ 2147483647 h 673"/>
                <a:gd name="T46" fmla="*/ 2147483647 w 656"/>
                <a:gd name="T47" fmla="*/ 2147483647 h 673"/>
                <a:gd name="T48" fmla="*/ 2147483647 w 656"/>
                <a:gd name="T49" fmla="*/ 2147483647 h 673"/>
                <a:gd name="T50" fmla="*/ 2147483647 w 656"/>
                <a:gd name="T51" fmla="*/ 2147483647 h 673"/>
                <a:gd name="T52" fmla="*/ 2147483647 w 656"/>
                <a:gd name="T53" fmla="*/ 2147483647 h 673"/>
                <a:gd name="T54" fmla="*/ 2147483647 w 656"/>
                <a:gd name="T55" fmla="*/ 2147483647 h 67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56"/>
                <a:gd name="T85" fmla="*/ 0 h 673"/>
                <a:gd name="T86" fmla="*/ 656 w 656"/>
                <a:gd name="T87" fmla="*/ 673 h 67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56" h="673">
                  <a:moveTo>
                    <a:pt x="342" y="28"/>
                  </a:moveTo>
                  <a:lnTo>
                    <a:pt x="297" y="28"/>
                  </a:lnTo>
                  <a:lnTo>
                    <a:pt x="250" y="17"/>
                  </a:lnTo>
                  <a:lnTo>
                    <a:pt x="185" y="0"/>
                  </a:lnTo>
                  <a:lnTo>
                    <a:pt x="116" y="5"/>
                  </a:lnTo>
                  <a:lnTo>
                    <a:pt x="70" y="5"/>
                  </a:lnTo>
                  <a:lnTo>
                    <a:pt x="0" y="52"/>
                  </a:lnTo>
                  <a:lnTo>
                    <a:pt x="0" y="122"/>
                  </a:lnTo>
                  <a:lnTo>
                    <a:pt x="58" y="144"/>
                  </a:lnTo>
                  <a:lnTo>
                    <a:pt x="122" y="144"/>
                  </a:lnTo>
                  <a:lnTo>
                    <a:pt x="157" y="185"/>
                  </a:lnTo>
                  <a:lnTo>
                    <a:pt x="116" y="261"/>
                  </a:lnTo>
                  <a:lnTo>
                    <a:pt x="116" y="348"/>
                  </a:lnTo>
                  <a:lnTo>
                    <a:pt x="75" y="458"/>
                  </a:lnTo>
                  <a:lnTo>
                    <a:pt x="116" y="505"/>
                  </a:lnTo>
                  <a:lnTo>
                    <a:pt x="116" y="551"/>
                  </a:lnTo>
                  <a:lnTo>
                    <a:pt x="157" y="673"/>
                  </a:lnTo>
                  <a:lnTo>
                    <a:pt x="238" y="627"/>
                  </a:lnTo>
                  <a:lnTo>
                    <a:pt x="337" y="633"/>
                  </a:lnTo>
                  <a:lnTo>
                    <a:pt x="407" y="598"/>
                  </a:lnTo>
                  <a:lnTo>
                    <a:pt x="447" y="568"/>
                  </a:lnTo>
                  <a:lnTo>
                    <a:pt x="482" y="458"/>
                  </a:lnTo>
                  <a:lnTo>
                    <a:pt x="564" y="301"/>
                  </a:lnTo>
                  <a:lnTo>
                    <a:pt x="656" y="209"/>
                  </a:lnTo>
                  <a:lnTo>
                    <a:pt x="517" y="98"/>
                  </a:lnTo>
                  <a:lnTo>
                    <a:pt x="465" y="87"/>
                  </a:lnTo>
                  <a:lnTo>
                    <a:pt x="377" y="57"/>
                  </a:lnTo>
                  <a:lnTo>
                    <a:pt x="342" y="2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6" name="Freeform 918"/>
            <p:cNvSpPr>
              <a:spLocks/>
            </p:cNvSpPr>
            <p:nvPr/>
          </p:nvSpPr>
          <p:spPr bwMode="auto">
            <a:xfrm>
              <a:off x="5725454" y="2961283"/>
              <a:ext cx="104886" cy="204813"/>
            </a:xfrm>
            <a:custGeom>
              <a:avLst/>
              <a:gdLst>
                <a:gd name="T0" fmla="*/ 2147483647 w 198"/>
                <a:gd name="T1" fmla="*/ 0 h 441"/>
                <a:gd name="T2" fmla="*/ 2147483647 w 198"/>
                <a:gd name="T3" fmla="*/ 2147483647 h 441"/>
                <a:gd name="T4" fmla="*/ 2147483647 w 198"/>
                <a:gd name="T5" fmla="*/ 2147483647 h 441"/>
                <a:gd name="T6" fmla="*/ 0 w 198"/>
                <a:gd name="T7" fmla="*/ 2147483647 h 441"/>
                <a:gd name="T8" fmla="*/ 2147483647 w 198"/>
                <a:gd name="T9" fmla="*/ 2147483647 h 441"/>
                <a:gd name="T10" fmla="*/ 0 w 198"/>
                <a:gd name="T11" fmla="*/ 2147483647 h 441"/>
                <a:gd name="T12" fmla="*/ 2147483647 w 198"/>
                <a:gd name="T13" fmla="*/ 2147483647 h 441"/>
                <a:gd name="T14" fmla="*/ 2147483647 w 198"/>
                <a:gd name="T15" fmla="*/ 2147483647 h 441"/>
                <a:gd name="T16" fmla="*/ 2147483647 w 198"/>
                <a:gd name="T17" fmla="*/ 2147483647 h 441"/>
                <a:gd name="T18" fmla="*/ 2147483647 w 198"/>
                <a:gd name="T19" fmla="*/ 2147483647 h 441"/>
                <a:gd name="T20" fmla="*/ 2147483647 w 198"/>
                <a:gd name="T21" fmla="*/ 2147483647 h 441"/>
                <a:gd name="T22" fmla="*/ 2147483647 w 198"/>
                <a:gd name="T23" fmla="*/ 2147483647 h 441"/>
                <a:gd name="T24" fmla="*/ 2147483647 w 198"/>
                <a:gd name="T25" fmla="*/ 2147483647 h 441"/>
                <a:gd name="T26" fmla="*/ 2147483647 w 198"/>
                <a:gd name="T27" fmla="*/ 2147483647 h 441"/>
                <a:gd name="T28" fmla="*/ 2147483647 w 198"/>
                <a:gd name="T29" fmla="*/ 2147483647 h 441"/>
                <a:gd name="T30" fmla="*/ 2147483647 w 198"/>
                <a:gd name="T31" fmla="*/ 2147483647 h 441"/>
                <a:gd name="T32" fmla="*/ 2147483647 w 198"/>
                <a:gd name="T33" fmla="*/ 0 h 44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98"/>
                <a:gd name="T52" fmla="*/ 0 h 441"/>
                <a:gd name="T53" fmla="*/ 198 w 198"/>
                <a:gd name="T54" fmla="*/ 441 h 44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98" h="441">
                  <a:moveTo>
                    <a:pt x="41" y="0"/>
                  </a:moveTo>
                  <a:lnTo>
                    <a:pt x="59" y="110"/>
                  </a:lnTo>
                  <a:lnTo>
                    <a:pt x="24" y="202"/>
                  </a:lnTo>
                  <a:lnTo>
                    <a:pt x="0" y="266"/>
                  </a:lnTo>
                  <a:lnTo>
                    <a:pt x="24" y="336"/>
                  </a:lnTo>
                  <a:lnTo>
                    <a:pt x="0" y="429"/>
                  </a:lnTo>
                  <a:lnTo>
                    <a:pt x="104" y="441"/>
                  </a:lnTo>
                  <a:lnTo>
                    <a:pt x="157" y="429"/>
                  </a:lnTo>
                  <a:lnTo>
                    <a:pt x="157" y="383"/>
                  </a:lnTo>
                  <a:lnTo>
                    <a:pt x="116" y="342"/>
                  </a:lnTo>
                  <a:lnTo>
                    <a:pt x="157" y="220"/>
                  </a:lnTo>
                  <a:lnTo>
                    <a:pt x="157" y="156"/>
                  </a:lnTo>
                  <a:lnTo>
                    <a:pt x="181" y="110"/>
                  </a:lnTo>
                  <a:lnTo>
                    <a:pt x="198" y="63"/>
                  </a:lnTo>
                  <a:lnTo>
                    <a:pt x="157" y="17"/>
                  </a:lnTo>
                  <a:lnTo>
                    <a:pt x="111" y="17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7" name="Freeform 919"/>
            <p:cNvSpPr>
              <a:spLocks/>
            </p:cNvSpPr>
            <p:nvPr/>
          </p:nvSpPr>
          <p:spPr bwMode="auto">
            <a:xfrm>
              <a:off x="6050093" y="3056194"/>
              <a:ext cx="24972" cy="29971"/>
            </a:xfrm>
            <a:custGeom>
              <a:avLst/>
              <a:gdLst>
                <a:gd name="T0" fmla="*/ 2147483647 w 46"/>
                <a:gd name="T1" fmla="*/ 0 h 64"/>
                <a:gd name="T2" fmla="*/ 0 w 46"/>
                <a:gd name="T3" fmla="*/ 2147483647 h 64"/>
                <a:gd name="T4" fmla="*/ 2147483647 w 46"/>
                <a:gd name="T5" fmla="*/ 2147483647 h 64"/>
                <a:gd name="T6" fmla="*/ 2147483647 w 46"/>
                <a:gd name="T7" fmla="*/ 2147483647 h 64"/>
                <a:gd name="T8" fmla="*/ 2147483647 w 46"/>
                <a:gd name="T9" fmla="*/ 0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"/>
                <a:gd name="T16" fmla="*/ 0 h 64"/>
                <a:gd name="T17" fmla="*/ 46 w 46"/>
                <a:gd name="T18" fmla="*/ 64 h 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" h="64">
                  <a:moveTo>
                    <a:pt x="46" y="0"/>
                  </a:moveTo>
                  <a:lnTo>
                    <a:pt x="0" y="42"/>
                  </a:lnTo>
                  <a:lnTo>
                    <a:pt x="46" y="64"/>
                  </a:lnTo>
                  <a:lnTo>
                    <a:pt x="46" y="24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8" name="Freeform 920"/>
            <p:cNvSpPr>
              <a:spLocks/>
            </p:cNvSpPr>
            <p:nvPr/>
          </p:nvSpPr>
          <p:spPr bwMode="auto">
            <a:xfrm>
              <a:off x="6244878" y="2971272"/>
              <a:ext cx="49944" cy="39963"/>
            </a:xfrm>
            <a:custGeom>
              <a:avLst/>
              <a:gdLst>
                <a:gd name="T0" fmla="*/ 2147483647 w 94"/>
                <a:gd name="T1" fmla="*/ 0 h 93"/>
                <a:gd name="T2" fmla="*/ 0 w 94"/>
                <a:gd name="T3" fmla="*/ 2147483647 h 93"/>
                <a:gd name="T4" fmla="*/ 2147483647 w 94"/>
                <a:gd name="T5" fmla="*/ 2147483647 h 93"/>
                <a:gd name="T6" fmla="*/ 2147483647 w 94"/>
                <a:gd name="T7" fmla="*/ 2147483647 h 93"/>
                <a:gd name="T8" fmla="*/ 2147483647 w 94"/>
                <a:gd name="T9" fmla="*/ 2147483647 h 93"/>
                <a:gd name="T10" fmla="*/ 2147483647 w 94"/>
                <a:gd name="T11" fmla="*/ 2147483647 h 93"/>
                <a:gd name="T12" fmla="*/ 2147483647 w 94"/>
                <a:gd name="T13" fmla="*/ 0 h 93"/>
                <a:gd name="T14" fmla="*/ 2147483647 w 94"/>
                <a:gd name="T15" fmla="*/ 0 h 9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4"/>
                <a:gd name="T25" fmla="*/ 0 h 93"/>
                <a:gd name="T26" fmla="*/ 94 w 94"/>
                <a:gd name="T27" fmla="*/ 93 h 9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4" h="93">
                  <a:moveTo>
                    <a:pt x="70" y="0"/>
                  </a:moveTo>
                  <a:lnTo>
                    <a:pt x="0" y="46"/>
                  </a:lnTo>
                  <a:lnTo>
                    <a:pt x="47" y="70"/>
                  </a:lnTo>
                  <a:lnTo>
                    <a:pt x="47" y="93"/>
                  </a:lnTo>
                  <a:lnTo>
                    <a:pt x="94" y="93"/>
                  </a:lnTo>
                  <a:lnTo>
                    <a:pt x="94" y="28"/>
                  </a:lnTo>
                  <a:lnTo>
                    <a:pt x="94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19" name="Freeform 921"/>
            <p:cNvSpPr>
              <a:spLocks/>
            </p:cNvSpPr>
            <p:nvPr/>
          </p:nvSpPr>
          <p:spPr bwMode="auto">
            <a:xfrm>
              <a:off x="6219907" y="3021227"/>
              <a:ext cx="74918" cy="84923"/>
            </a:xfrm>
            <a:custGeom>
              <a:avLst/>
              <a:gdLst>
                <a:gd name="T0" fmla="*/ 2147483647 w 134"/>
                <a:gd name="T1" fmla="*/ 2147483647 h 181"/>
                <a:gd name="T2" fmla="*/ 2147483647 w 134"/>
                <a:gd name="T3" fmla="*/ 2147483647 h 181"/>
                <a:gd name="T4" fmla="*/ 0 w 134"/>
                <a:gd name="T5" fmla="*/ 2147483647 h 181"/>
                <a:gd name="T6" fmla="*/ 0 w 134"/>
                <a:gd name="T7" fmla="*/ 2147483647 h 181"/>
                <a:gd name="T8" fmla="*/ 2147483647 w 134"/>
                <a:gd name="T9" fmla="*/ 2147483647 h 181"/>
                <a:gd name="T10" fmla="*/ 2147483647 w 134"/>
                <a:gd name="T11" fmla="*/ 2147483647 h 181"/>
                <a:gd name="T12" fmla="*/ 2147483647 w 134"/>
                <a:gd name="T13" fmla="*/ 2147483647 h 181"/>
                <a:gd name="T14" fmla="*/ 2147483647 w 134"/>
                <a:gd name="T15" fmla="*/ 2147483647 h 181"/>
                <a:gd name="T16" fmla="*/ 2147483647 w 134"/>
                <a:gd name="T17" fmla="*/ 2147483647 h 181"/>
                <a:gd name="T18" fmla="*/ 2147483647 w 134"/>
                <a:gd name="T19" fmla="*/ 0 h 181"/>
                <a:gd name="T20" fmla="*/ 2147483647 w 134"/>
                <a:gd name="T21" fmla="*/ 2147483647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4"/>
                <a:gd name="T34" fmla="*/ 0 h 181"/>
                <a:gd name="T35" fmla="*/ 134 w 134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4" h="181">
                  <a:moveTo>
                    <a:pt x="93" y="35"/>
                  </a:moveTo>
                  <a:lnTo>
                    <a:pt x="47" y="35"/>
                  </a:lnTo>
                  <a:lnTo>
                    <a:pt x="0" y="112"/>
                  </a:lnTo>
                  <a:lnTo>
                    <a:pt x="0" y="157"/>
                  </a:lnTo>
                  <a:lnTo>
                    <a:pt x="23" y="157"/>
                  </a:lnTo>
                  <a:lnTo>
                    <a:pt x="82" y="181"/>
                  </a:lnTo>
                  <a:lnTo>
                    <a:pt x="110" y="112"/>
                  </a:lnTo>
                  <a:lnTo>
                    <a:pt x="87" y="112"/>
                  </a:lnTo>
                  <a:lnTo>
                    <a:pt x="134" y="24"/>
                  </a:lnTo>
                  <a:lnTo>
                    <a:pt x="134" y="0"/>
                  </a:lnTo>
                  <a:lnTo>
                    <a:pt x="93" y="35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0" name="Freeform 922"/>
            <p:cNvSpPr>
              <a:spLocks/>
            </p:cNvSpPr>
            <p:nvPr/>
          </p:nvSpPr>
          <p:spPr bwMode="auto">
            <a:xfrm>
              <a:off x="6184944" y="2721501"/>
              <a:ext cx="34962" cy="29971"/>
            </a:xfrm>
            <a:custGeom>
              <a:avLst/>
              <a:gdLst>
                <a:gd name="T0" fmla="*/ 2147483647 w 70"/>
                <a:gd name="T1" fmla="*/ 0 h 64"/>
                <a:gd name="T2" fmla="*/ 2147483647 w 70"/>
                <a:gd name="T3" fmla="*/ 2147483647 h 64"/>
                <a:gd name="T4" fmla="*/ 0 w 70"/>
                <a:gd name="T5" fmla="*/ 2147483647 h 64"/>
                <a:gd name="T6" fmla="*/ 2147483647 w 70"/>
                <a:gd name="T7" fmla="*/ 2147483647 h 64"/>
                <a:gd name="T8" fmla="*/ 2147483647 w 70"/>
                <a:gd name="T9" fmla="*/ 2147483647 h 64"/>
                <a:gd name="T10" fmla="*/ 2147483647 w 70"/>
                <a:gd name="T11" fmla="*/ 2147483647 h 64"/>
                <a:gd name="T12" fmla="*/ 2147483647 w 70"/>
                <a:gd name="T13" fmla="*/ 0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64"/>
                <a:gd name="T23" fmla="*/ 70 w 70"/>
                <a:gd name="T24" fmla="*/ 64 h 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64">
                  <a:moveTo>
                    <a:pt x="53" y="0"/>
                  </a:moveTo>
                  <a:lnTo>
                    <a:pt x="23" y="17"/>
                  </a:lnTo>
                  <a:lnTo>
                    <a:pt x="0" y="35"/>
                  </a:lnTo>
                  <a:lnTo>
                    <a:pt x="47" y="64"/>
                  </a:lnTo>
                  <a:lnTo>
                    <a:pt x="70" y="59"/>
                  </a:lnTo>
                  <a:lnTo>
                    <a:pt x="70" y="17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1" name="Freeform 923"/>
            <p:cNvSpPr>
              <a:spLocks/>
            </p:cNvSpPr>
            <p:nvPr/>
          </p:nvSpPr>
          <p:spPr bwMode="auto">
            <a:xfrm>
              <a:off x="6209916" y="2561649"/>
              <a:ext cx="259714" cy="249769"/>
            </a:xfrm>
            <a:custGeom>
              <a:avLst/>
              <a:gdLst>
                <a:gd name="T0" fmla="*/ 0 w 477"/>
                <a:gd name="T1" fmla="*/ 2147483647 h 534"/>
                <a:gd name="T2" fmla="*/ 0 w 477"/>
                <a:gd name="T3" fmla="*/ 2147483647 h 534"/>
                <a:gd name="T4" fmla="*/ 2147483647 w 477"/>
                <a:gd name="T5" fmla="*/ 2147483647 h 534"/>
                <a:gd name="T6" fmla="*/ 2147483647 w 477"/>
                <a:gd name="T7" fmla="*/ 2147483647 h 534"/>
                <a:gd name="T8" fmla="*/ 2147483647 w 477"/>
                <a:gd name="T9" fmla="*/ 2147483647 h 534"/>
                <a:gd name="T10" fmla="*/ 2147483647 w 477"/>
                <a:gd name="T11" fmla="*/ 2147483647 h 534"/>
                <a:gd name="T12" fmla="*/ 2147483647 w 477"/>
                <a:gd name="T13" fmla="*/ 2147483647 h 534"/>
                <a:gd name="T14" fmla="*/ 2147483647 w 477"/>
                <a:gd name="T15" fmla="*/ 2147483647 h 534"/>
                <a:gd name="T16" fmla="*/ 2147483647 w 477"/>
                <a:gd name="T17" fmla="*/ 2147483647 h 534"/>
                <a:gd name="T18" fmla="*/ 2147483647 w 477"/>
                <a:gd name="T19" fmla="*/ 2147483647 h 534"/>
                <a:gd name="T20" fmla="*/ 2147483647 w 477"/>
                <a:gd name="T21" fmla="*/ 2147483647 h 534"/>
                <a:gd name="T22" fmla="*/ 2147483647 w 477"/>
                <a:gd name="T23" fmla="*/ 2147483647 h 534"/>
                <a:gd name="T24" fmla="*/ 2147483647 w 477"/>
                <a:gd name="T25" fmla="*/ 2147483647 h 534"/>
                <a:gd name="T26" fmla="*/ 2147483647 w 477"/>
                <a:gd name="T27" fmla="*/ 2147483647 h 534"/>
                <a:gd name="T28" fmla="*/ 2147483647 w 477"/>
                <a:gd name="T29" fmla="*/ 2147483647 h 534"/>
                <a:gd name="T30" fmla="*/ 2147483647 w 477"/>
                <a:gd name="T31" fmla="*/ 2147483647 h 534"/>
                <a:gd name="T32" fmla="*/ 2147483647 w 477"/>
                <a:gd name="T33" fmla="*/ 2147483647 h 534"/>
                <a:gd name="T34" fmla="*/ 2147483647 w 477"/>
                <a:gd name="T35" fmla="*/ 2147483647 h 534"/>
                <a:gd name="T36" fmla="*/ 2147483647 w 477"/>
                <a:gd name="T37" fmla="*/ 2147483647 h 534"/>
                <a:gd name="T38" fmla="*/ 2147483647 w 477"/>
                <a:gd name="T39" fmla="*/ 2147483647 h 534"/>
                <a:gd name="T40" fmla="*/ 2147483647 w 477"/>
                <a:gd name="T41" fmla="*/ 2147483647 h 534"/>
                <a:gd name="T42" fmla="*/ 2147483647 w 477"/>
                <a:gd name="T43" fmla="*/ 2147483647 h 534"/>
                <a:gd name="T44" fmla="*/ 2147483647 w 477"/>
                <a:gd name="T45" fmla="*/ 2147483647 h 534"/>
                <a:gd name="T46" fmla="*/ 2147483647 w 477"/>
                <a:gd name="T47" fmla="*/ 2147483647 h 534"/>
                <a:gd name="T48" fmla="*/ 2147483647 w 477"/>
                <a:gd name="T49" fmla="*/ 2147483647 h 534"/>
                <a:gd name="T50" fmla="*/ 2147483647 w 477"/>
                <a:gd name="T51" fmla="*/ 0 h 534"/>
                <a:gd name="T52" fmla="*/ 2147483647 w 477"/>
                <a:gd name="T53" fmla="*/ 0 h 534"/>
                <a:gd name="T54" fmla="*/ 2147483647 w 477"/>
                <a:gd name="T55" fmla="*/ 2147483647 h 534"/>
                <a:gd name="T56" fmla="*/ 2147483647 w 477"/>
                <a:gd name="T57" fmla="*/ 2147483647 h 534"/>
                <a:gd name="T58" fmla="*/ 2147483647 w 477"/>
                <a:gd name="T59" fmla="*/ 2147483647 h 534"/>
                <a:gd name="T60" fmla="*/ 2147483647 w 477"/>
                <a:gd name="T61" fmla="*/ 2147483647 h 534"/>
                <a:gd name="T62" fmla="*/ 2147483647 w 477"/>
                <a:gd name="T63" fmla="*/ 2147483647 h 534"/>
                <a:gd name="T64" fmla="*/ 2147483647 w 477"/>
                <a:gd name="T65" fmla="*/ 2147483647 h 534"/>
                <a:gd name="T66" fmla="*/ 2147483647 w 477"/>
                <a:gd name="T67" fmla="*/ 2147483647 h 534"/>
                <a:gd name="T68" fmla="*/ 2147483647 w 477"/>
                <a:gd name="T69" fmla="*/ 2147483647 h 534"/>
                <a:gd name="T70" fmla="*/ 0 w 477"/>
                <a:gd name="T71" fmla="*/ 2147483647 h 53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77"/>
                <a:gd name="T109" fmla="*/ 0 h 534"/>
                <a:gd name="T110" fmla="*/ 477 w 477"/>
                <a:gd name="T111" fmla="*/ 534 h 53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77" h="534">
                  <a:moveTo>
                    <a:pt x="0" y="267"/>
                  </a:moveTo>
                  <a:lnTo>
                    <a:pt x="0" y="314"/>
                  </a:lnTo>
                  <a:lnTo>
                    <a:pt x="23" y="359"/>
                  </a:lnTo>
                  <a:lnTo>
                    <a:pt x="23" y="383"/>
                  </a:lnTo>
                  <a:lnTo>
                    <a:pt x="63" y="429"/>
                  </a:lnTo>
                  <a:lnTo>
                    <a:pt x="63" y="499"/>
                  </a:lnTo>
                  <a:lnTo>
                    <a:pt x="87" y="516"/>
                  </a:lnTo>
                  <a:lnTo>
                    <a:pt x="140" y="534"/>
                  </a:lnTo>
                  <a:lnTo>
                    <a:pt x="197" y="528"/>
                  </a:lnTo>
                  <a:lnTo>
                    <a:pt x="250" y="516"/>
                  </a:lnTo>
                  <a:lnTo>
                    <a:pt x="297" y="516"/>
                  </a:lnTo>
                  <a:lnTo>
                    <a:pt x="360" y="516"/>
                  </a:lnTo>
                  <a:lnTo>
                    <a:pt x="372" y="476"/>
                  </a:lnTo>
                  <a:lnTo>
                    <a:pt x="407" y="459"/>
                  </a:lnTo>
                  <a:lnTo>
                    <a:pt x="407" y="406"/>
                  </a:lnTo>
                  <a:lnTo>
                    <a:pt x="360" y="359"/>
                  </a:lnTo>
                  <a:lnTo>
                    <a:pt x="384" y="337"/>
                  </a:lnTo>
                  <a:lnTo>
                    <a:pt x="454" y="279"/>
                  </a:lnTo>
                  <a:lnTo>
                    <a:pt x="477" y="261"/>
                  </a:lnTo>
                  <a:lnTo>
                    <a:pt x="477" y="180"/>
                  </a:lnTo>
                  <a:lnTo>
                    <a:pt x="430" y="157"/>
                  </a:lnTo>
                  <a:lnTo>
                    <a:pt x="447" y="87"/>
                  </a:lnTo>
                  <a:lnTo>
                    <a:pt x="447" y="46"/>
                  </a:lnTo>
                  <a:lnTo>
                    <a:pt x="360" y="23"/>
                  </a:lnTo>
                  <a:lnTo>
                    <a:pt x="267" y="23"/>
                  </a:lnTo>
                  <a:lnTo>
                    <a:pt x="209" y="0"/>
                  </a:lnTo>
                  <a:lnTo>
                    <a:pt x="157" y="0"/>
                  </a:lnTo>
                  <a:lnTo>
                    <a:pt x="157" y="46"/>
                  </a:lnTo>
                  <a:lnTo>
                    <a:pt x="110" y="63"/>
                  </a:lnTo>
                  <a:lnTo>
                    <a:pt x="63" y="87"/>
                  </a:lnTo>
                  <a:lnTo>
                    <a:pt x="93" y="133"/>
                  </a:lnTo>
                  <a:lnTo>
                    <a:pt x="46" y="180"/>
                  </a:lnTo>
                  <a:lnTo>
                    <a:pt x="63" y="220"/>
                  </a:lnTo>
                  <a:lnTo>
                    <a:pt x="63" y="249"/>
                  </a:lnTo>
                  <a:lnTo>
                    <a:pt x="46" y="249"/>
                  </a:lnTo>
                  <a:lnTo>
                    <a:pt x="0" y="267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2" name="Freeform 924"/>
            <p:cNvSpPr>
              <a:spLocks/>
            </p:cNvSpPr>
            <p:nvPr/>
          </p:nvSpPr>
          <p:spPr bwMode="auto">
            <a:xfrm>
              <a:off x="6085054" y="2666553"/>
              <a:ext cx="124862" cy="69935"/>
            </a:xfrm>
            <a:custGeom>
              <a:avLst/>
              <a:gdLst>
                <a:gd name="T0" fmla="*/ 2147483647 w 233"/>
                <a:gd name="T1" fmla="*/ 0 h 157"/>
                <a:gd name="T2" fmla="*/ 2147483647 w 233"/>
                <a:gd name="T3" fmla="*/ 2147483647 h 157"/>
                <a:gd name="T4" fmla="*/ 2147483647 w 233"/>
                <a:gd name="T5" fmla="*/ 2147483647 h 157"/>
                <a:gd name="T6" fmla="*/ 2147483647 w 233"/>
                <a:gd name="T7" fmla="*/ 2147483647 h 157"/>
                <a:gd name="T8" fmla="*/ 2147483647 w 233"/>
                <a:gd name="T9" fmla="*/ 2147483647 h 157"/>
                <a:gd name="T10" fmla="*/ 2147483647 w 233"/>
                <a:gd name="T11" fmla="*/ 2147483647 h 157"/>
                <a:gd name="T12" fmla="*/ 2147483647 w 233"/>
                <a:gd name="T13" fmla="*/ 2147483647 h 157"/>
                <a:gd name="T14" fmla="*/ 0 w 233"/>
                <a:gd name="T15" fmla="*/ 2147483647 h 157"/>
                <a:gd name="T16" fmla="*/ 2147483647 w 233"/>
                <a:gd name="T17" fmla="*/ 2147483647 h 157"/>
                <a:gd name="T18" fmla="*/ 2147483647 w 233"/>
                <a:gd name="T19" fmla="*/ 2147483647 h 157"/>
                <a:gd name="T20" fmla="*/ 2147483647 w 233"/>
                <a:gd name="T21" fmla="*/ 0 h 157"/>
                <a:gd name="T22" fmla="*/ 2147483647 w 233"/>
                <a:gd name="T23" fmla="*/ 0 h 1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3"/>
                <a:gd name="T37" fmla="*/ 0 h 157"/>
                <a:gd name="T38" fmla="*/ 233 w 233"/>
                <a:gd name="T39" fmla="*/ 157 h 1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3" h="157">
                  <a:moveTo>
                    <a:pt x="140" y="0"/>
                  </a:moveTo>
                  <a:lnTo>
                    <a:pt x="227" y="76"/>
                  </a:lnTo>
                  <a:lnTo>
                    <a:pt x="227" y="94"/>
                  </a:lnTo>
                  <a:lnTo>
                    <a:pt x="233" y="117"/>
                  </a:lnTo>
                  <a:lnTo>
                    <a:pt x="203" y="139"/>
                  </a:lnTo>
                  <a:lnTo>
                    <a:pt x="168" y="157"/>
                  </a:lnTo>
                  <a:lnTo>
                    <a:pt x="23" y="76"/>
                  </a:lnTo>
                  <a:lnTo>
                    <a:pt x="0" y="47"/>
                  </a:lnTo>
                  <a:lnTo>
                    <a:pt x="46" y="29"/>
                  </a:lnTo>
                  <a:lnTo>
                    <a:pt x="70" y="29"/>
                  </a:lnTo>
                  <a:lnTo>
                    <a:pt x="93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3" name="Freeform 925"/>
            <p:cNvSpPr>
              <a:spLocks/>
            </p:cNvSpPr>
            <p:nvPr/>
          </p:nvSpPr>
          <p:spPr bwMode="auto">
            <a:xfrm>
              <a:off x="6149983" y="2596616"/>
              <a:ext cx="109877" cy="104904"/>
            </a:xfrm>
            <a:custGeom>
              <a:avLst/>
              <a:gdLst>
                <a:gd name="T0" fmla="*/ 0 w 209"/>
                <a:gd name="T1" fmla="*/ 2147483647 h 226"/>
                <a:gd name="T2" fmla="*/ 2147483647 w 209"/>
                <a:gd name="T3" fmla="*/ 2147483647 h 226"/>
                <a:gd name="T4" fmla="*/ 2147483647 w 209"/>
                <a:gd name="T5" fmla="*/ 2147483647 h 226"/>
                <a:gd name="T6" fmla="*/ 2147483647 w 209"/>
                <a:gd name="T7" fmla="*/ 2147483647 h 226"/>
                <a:gd name="T8" fmla="*/ 2147483647 w 209"/>
                <a:gd name="T9" fmla="*/ 2147483647 h 226"/>
                <a:gd name="T10" fmla="*/ 2147483647 w 209"/>
                <a:gd name="T11" fmla="*/ 2147483647 h 226"/>
                <a:gd name="T12" fmla="*/ 2147483647 w 209"/>
                <a:gd name="T13" fmla="*/ 2147483647 h 226"/>
                <a:gd name="T14" fmla="*/ 2147483647 w 209"/>
                <a:gd name="T15" fmla="*/ 2147483647 h 226"/>
                <a:gd name="T16" fmla="*/ 2147483647 w 209"/>
                <a:gd name="T17" fmla="*/ 2147483647 h 226"/>
                <a:gd name="T18" fmla="*/ 2147483647 w 209"/>
                <a:gd name="T19" fmla="*/ 2147483647 h 226"/>
                <a:gd name="T20" fmla="*/ 2147483647 w 209"/>
                <a:gd name="T21" fmla="*/ 2147483647 h 226"/>
                <a:gd name="T22" fmla="*/ 2147483647 w 209"/>
                <a:gd name="T23" fmla="*/ 0 h 226"/>
                <a:gd name="T24" fmla="*/ 2147483647 w 209"/>
                <a:gd name="T25" fmla="*/ 2147483647 h 226"/>
                <a:gd name="T26" fmla="*/ 2147483647 w 209"/>
                <a:gd name="T27" fmla="*/ 2147483647 h 226"/>
                <a:gd name="T28" fmla="*/ 2147483647 w 209"/>
                <a:gd name="T29" fmla="*/ 2147483647 h 226"/>
                <a:gd name="T30" fmla="*/ 2147483647 w 209"/>
                <a:gd name="T31" fmla="*/ 2147483647 h 226"/>
                <a:gd name="T32" fmla="*/ 0 w 209"/>
                <a:gd name="T33" fmla="*/ 2147483647 h 2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9"/>
                <a:gd name="T52" fmla="*/ 0 h 226"/>
                <a:gd name="T53" fmla="*/ 209 w 209"/>
                <a:gd name="T54" fmla="*/ 226 h 2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9" h="226">
                  <a:moveTo>
                    <a:pt x="0" y="150"/>
                  </a:moveTo>
                  <a:lnTo>
                    <a:pt x="46" y="179"/>
                  </a:lnTo>
                  <a:lnTo>
                    <a:pt x="116" y="226"/>
                  </a:lnTo>
                  <a:lnTo>
                    <a:pt x="122" y="197"/>
                  </a:lnTo>
                  <a:lnTo>
                    <a:pt x="157" y="185"/>
                  </a:lnTo>
                  <a:lnTo>
                    <a:pt x="179" y="179"/>
                  </a:lnTo>
                  <a:lnTo>
                    <a:pt x="186" y="150"/>
                  </a:lnTo>
                  <a:lnTo>
                    <a:pt x="162" y="110"/>
                  </a:lnTo>
                  <a:lnTo>
                    <a:pt x="209" y="63"/>
                  </a:lnTo>
                  <a:lnTo>
                    <a:pt x="209" y="40"/>
                  </a:lnTo>
                  <a:lnTo>
                    <a:pt x="191" y="23"/>
                  </a:lnTo>
                  <a:lnTo>
                    <a:pt x="209" y="0"/>
                  </a:lnTo>
                  <a:lnTo>
                    <a:pt x="92" y="40"/>
                  </a:lnTo>
                  <a:lnTo>
                    <a:pt x="92" y="87"/>
                  </a:lnTo>
                  <a:lnTo>
                    <a:pt x="46" y="110"/>
                  </a:lnTo>
                  <a:lnTo>
                    <a:pt x="5" y="115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4" name="Freeform 926"/>
            <p:cNvSpPr>
              <a:spLocks/>
            </p:cNvSpPr>
            <p:nvPr/>
          </p:nvSpPr>
          <p:spPr bwMode="auto">
            <a:xfrm>
              <a:off x="6294825" y="2436763"/>
              <a:ext cx="59933" cy="129880"/>
            </a:xfrm>
            <a:custGeom>
              <a:avLst/>
              <a:gdLst>
                <a:gd name="T0" fmla="*/ 0 w 110"/>
                <a:gd name="T1" fmla="*/ 2147483647 h 279"/>
                <a:gd name="T2" fmla="*/ 0 w 110"/>
                <a:gd name="T3" fmla="*/ 2147483647 h 279"/>
                <a:gd name="T4" fmla="*/ 2147483647 w 110"/>
                <a:gd name="T5" fmla="*/ 2147483647 h 279"/>
                <a:gd name="T6" fmla="*/ 0 w 110"/>
                <a:gd name="T7" fmla="*/ 2147483647 h 279"/>
                <a:gd name="T8" fmla="*/ 2147483647 w 110"/>
                <a:gd name="T9" fmla="*/ 0 h 279"/>
                <a:gd name="T10" fmla="*/ 2147483647 w 110"/>
                <a:gd name="T11" fmla="*/ 2147483647 h 279"/>
                <a:gd name="T12" fmla="*/ 2147483647 w 110"/>
                <a:gd name="T13" fmla="*/ 2147483647 h 279"/>
                <a:gd name="T14" fmla="*/ 2147483647 w 110"/>
                <a:gd name="T15" fmla="*/ 2147483647 h 279"/>
                <a:gd name="T16" fmla="*/ 2147483647 w 110"/>
                <a:gd name="T17" fmla="*/ 2147483647 h 279"/>
                <a:gd name="T18" fmla="*/ 2147483647 w 110"/>
                <a:gd name="T19" fmla="*/ 2147483647 h 279"/>
                <a:gd name="T20" fmla="*/ 2147483647 w 110"/>
                <a:gd name="T21" fmla="*/ 2147483647 h 279"/>
                <a:gd name="T22" fmla="*/ 0 w 110"/>
                <a:gd name="T23" fmla="*/ 2147483647 h 27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0"/>
                <a:gd name="T37" fmla="*/ 0 h 279"/>
                <a:gd name="T38" fmla="*/ 110 w 110"/>
                <a:gd name="T39" fmla="*/ 279 h 27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0" h="279">
                  <a:moveTo>
                    <a:pt x="0" y="274"/>
                  </a:moveTo>
                  <a:lnTo>
                    <a:pt x="0" y="204"/>
                  </a:lnTo>
                  <a:lnTo>
                    <a:pt x="23" y="117"/>
                  </a:lnTo>
                  <a:lnTo>
                    <a:pt x="0" y="70"/>
                  </a:lnTo>
                  <a:lnTo>
                    <a:pt x="46" y="0"/>
                  </a:lnTo>
                  <a:lnTo>
                    <a:pt x="93" y="70"/>
                  </a:lnTo>
                  <a:lnTo>
                    <a:pt x="110" y="117"/>
                  </a:lnTo>
                  <a:lnTo>
                    <a:pt x="70" y="187"/>
                  </a:lnTo>
                  <a:lnTo>
                    <a:pt x="70" y="250"/>
                  </a:lnTo>
                  <a:lnTo>
                    <a:pt x="93" y="279"/>
                  </a:lnTo>
                  <a:lnTo>
                    <a:pt x="40" y="274"/>
                  </a:lnTo>
                  <a:lnTo>
                    <a:pt x="0" y="274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31" name="Freihandform 330"/>
            <p:cNvSpPr>
              <a:spLocks/>
            </p:cNvSpPr>
            <p:nvPr/>
          </p:nvSpPr>
          <p:spPr bwMode="auto">
            <a:xfrm>
              <a:off x="6784281" y="1167930"/>
              <a:ext cx="4280270" cy="2083084"/>
            </a:xfrm>
            <a:custGeom>
              <a:avLst/>
              <a:gdLst>
                <a:gd name="connsiteX0" fmla="*/ 1577759 w 4280270"/>
                <a:gd name="connsiteY0" fmla="*/ 0 h 2083084"/>
                <a:gd name="connsiteX1" fmla="*/ 1602690 w 4280270"/>
                <a:gd name="connsiteY1" fmla="*/ 29771 h 2083084"/>
                <a:gd name="connsiteX2" fmla="*/ 1649844 w 4280270"/>
                <a:gd name="connsiteY2" fmla="*/ 51634 h 2083084"/>
                <a:gd name="connsiteX3" fmla="*/ 1675318 w 4280270"/>
                <a:gd name="connsiteY3" fmla="*/ 83731 h 2083084"/>
                <a:gd name="connsiteX4" fmla="*/ 1700792 w 4280270"/>
                <a:gd name="connsiteY4" fmla="*/ 83731 h 2083084"/>
                <a:gd name="connsiteX5" fmla="*/ 1700792 w 4280270"/>
                <a:gd name="connsiteY5" fmla="*/ 51634 h 2083084"/>
                <a:gd name="connsiteX6" fmla="*/ 1725724 w 4280270"/>
                <a:gd name="connsiteY6" fmla="*/ 40470 h 2083084"/>
                <a:gd name="connsiteX7" fmla="*/ 1789138 w 4280270"/>
                <a:gd name="connsiteY7" fmla="*/ 51634 h 2083084"/>
                <a:gd name="connsiteX8" fmla="*/ 1874232 w 4280270"/>
                <a:gd name="connsiteY8" fmla="*/ 73032 h 2083084"/>
                <a:gd name="connsiteX9" fmla="*/ 1874232 w 4280270"/>
                <a:gd name="connsiteY9" fmla="*/ 105129 h 2083084"/>
                <a:gd name="connsiteX10" fmla="*/ 1895912 w 4280270"/>
                <a:gd name="connsiteY10" fmla="*/ 145599 h 2083084"/>
                <a:gd name="connsiteX11" fmla="*/ 1883446 w 4280270"/>
                <a:gd name="connsiteY11" fmla="*/ 189325 h 2083084"/>
                <a:gd name="connsiteX12" fmla="*/ 1883446 w 4280270"/>
                <a:gd name="connsiteY12" fmla="*/ 221887 h 2083084"/>
                <a:gd name="connsiteX13" fmla="*/ 1861766 w 4280270"/>
                <a:gd name="connsiteY13" fmla="*/ 251193 h 2083084"/>
                <a:gd name="connsiteX14" fmla="*/ 1823826 w 4280270"/>
                <a:gd name="connsiteY14" fmla="*/ 335389 h 2083084"/>
                <a:gd name="connsiteX15" fmla="*/ 1836292 w 4280270"/>
                <a:gd name="connsiteY15" fmla="*/ 346088 h 2083084"/>
                <a:gd name="connsiteX16" fmla="*/ 1874232 w 4280270"/>
                <a:gd name="connsiteY16" fmla="*/ 305618 h 2083084"/>
                <a:gd name="connsiteX17" fmla="*/ 1908920 w 4280270"/>
                <a:gd name="connsiteY17" fmla="*/ 283755 h 2083084"/>
                <a:gd name="connsiteX18" fmla="*/ 1908920 w 4280270"/>
                <a:gd name="connsiteY18" fmla="*/ 251193 h 2083084"/>
                <a:gd name="connsiteX19" fmla="*/ 2022197 w 4280270"/>
                <a:gd name="connsiteY19" fmla="*/ 262357 h 2083084"/>
                <a:gd name="connsiteX20" fmla="*/ 2107291 w 4280270"/>
                <a:gd name="connsiteY20" fmla="*/ 243285 h 2083084"/>
                <a:gd name="connsiteX21" fmla="*/ 2119757 w 4280270"/>
                <a:gd name="connsiteY21" fmla="*/ 251193 h 2083084"/>
                <a:gd name="connsiteX22" fmla="*/ 2132223 w 4280270"/>
                <a:gd name="connsiteY22" fmla="*/ 262357 h 2083084"/>
                <a:gd name="connsiteX23" fmla="*/ 2242791 w 4280270"/>
                <a:gd name="connsiteY23" fmla="*/ 243285 h 2083084"/>
                <a:gd name="connsiteX24" fmla="*/ 2230325 w 4280270"/>
                <a:gd name="connsiteY24" fmla="*/ 210723 h 2083084"/>
                <a:gd name="connsiteX25" fmla="*/ 2255257 w 4280270"/>
                <a:gd name="connsiteY25" fmla="*/ 200024 h 2083084"/>
                <a:gd name="connsiteX26" fmla="*/ 2340350 w 4280270"/>
                <a:gd name="connsiteY26" fmla="*/ 200024 h 2083084"/>
                <a:gd name="connsiteX27" fmla="*/ 2403222 w 4280270"/>
                <a:gd name="connsiteY27" fmla="*/ 262357 h 2083084"/>
                <a:gd name="connsiteX28" fmla="*/ 2403222 w 4280270"/>
                <a:gd name="connsiteY28" fmla="*/ 283755 h 2083084"/>
                <a:gd name="connsiteX29" fmla="*/ 2437368 w 4280270"/>
                <a:gd name="connsiteY29" fmla="*/ 283755 h 2083084"/>
                <a:gd name="connsiteX30" fmla="*/ 2462842 w 4280270"/>
                <a:gd name="connsiteY30" fmla="*/ 315852 h 2083084"/>
                <a:gd name="connsiteX31" fmla="*/ 2526256 w 4280270"/>
                <a:gd name="connsiteY31" fmla="*/ 346088 h 2083084"/>
                <a:gd name="connsiteX32" fmla="*/ 2513248 w 4280270"/>
                <a:gd name="connsiteY32" fmla="*/ 305618 h 2083084"/>
                <a:gd name="connsiteX33" fmla="*/ 2576662 w 4280270"/>
                <a:gd name="connsiteY33" fmla="*/ 262357 h 2083084"/>
                <a:gd name="connsiteX34" fmla="*/ 2611350 w 4280270"/>
                <a:gd name="connsiteY34" fmla="*/ 273056 h 2083084"/>
                <a:gd name="connsiteX35" fmla="*/ 2661214 w 4280270"/>
                <a:gd name="connsiteY35" fmla="*/ 273056 h 2083084"/>
                <a:gd name="connsiteX36" fmla="*/ 2661214 w 4280270"/>
                <a:gd name="connsiteY36" fmla="*/ 251193 h 2083084"/>
                <a:gd name="connsiteX37" fmla="*/ 2686688 w 4280270"/>
                <a:gd name="connsiteY37" fmla="*/ 251193 h 2083084"/>
                <a:gd name="connsiteX38" fmla="*/ 2636282 w 4280270"/>
                <a:gd name="connsiteY38" fmla="*/ 189325 h 2083084"/>
                <a:gd name="connsiteX39" fmla="*/ 2686688 w 4280270"/>
                <a:gd name="connsiteY39" fmla="*/ 167462 h 2083084"/>
                <a:gd name="connsiteX40" fmla="*/ 2758774 w 4280270"/>
                <a:gd name="connsiteY40" fmla="*/ 167462 h 2083084"/>
                <a:gd name="connsiteX41" fmla="*/ 2771782 w 4280270"/>
                <a:gd name="connsiteY41" fmla="*/ 221887 h 2083084"/>
                <a:gd name="connsiteX42" fmla="*/ 2856875 w 4280270"/>
                <a:gd name="connsiteY42" fmla="*/ 145599 h 2083084"/>
                <a:gd name="connsiteX43" fmla="*/ 2907281 w 4280270"/>
                <a:gd name="connsiteY43" fmla="*/ 145599 h 2083084"/>
                <a:gd name="connsiteX44" fmla="*/ 2894815 w 4280270"/>
                <a:gd name="connsiteY44" fmla="*/ 200024 h 2083084"/>
                <a:gd name="connsiteX45" fmla="*/ 2957687 w 4280270"/>
                <a:gd name="connsiteY45" fmla="*/ 189325 h 2083084"/>
                <a:gd name="connsiteX46" fmla="*/ 3020559 w 4280270"/>
                <a:gd name="connsiteY46" fmla="*/ 221887 h 2083084"/>
                <a:gd name="connsiteX47" fmla="*/ 3055789 w 4280270"/>
                <a:gd name="connsiteY47" fmla="*/ 178161 h 2083084"/>
                <a:gd name="connsiteX48" fmla="*/ 3177739 w 4280270"/>
                <a:gd name="connsiteY48" fmla="*/ 178161 h 2083084"/>
                <a:gd name="connsiteX49" fmla="*/ 3228686 w 4280270"/>
                <a:gd name="connsiteY49" fmla="*/ 251193 h 2083084"/>
                <a:gd name="connsiteX50" fmla="*/ 3275840 w 4280270"/>
                <a:gd name="connsiteY50" fmla="*/ 251193 h 2083084"/>
                <a:gd name="connsiteX51" fmla="*/ 3326246 w 4280270"/>
                <a:gd name="connsiteY51" fmla="*/ 273056 h 2083084"/>
                <a:gd name="connsiteX52" fmla="*/ 3351720 w 4280270"/>
                <a:gd name="connsiteY52" fmla="*/ 221887 h 2083084"/>
                <a:gd name="connsiteX53" fmla="*/ 3474212 w 4280270"/>
                <a:gd name="connsiteY53" fmla="*/ 200024 h 2083084"/>
                <a:gd name="connsiteX54" fmla="*/ 3533832 w 4280270"/>
                <a:gd name="connsiteY54" fmla="*/ 243285 h 2083084"/>
                <a:gd name="connsiteX55" fmla="*/ 3559306 w 4280270"/>
                <a:gd name="connsiteY55" fmla="*/ 243285 h 2083084"/>
                <a:gd name="connsiteX56" fmla="*/ 3559306 w 4280270"/>
                <a:gd name="connsiteY56" fmla="*/ 210723 h 2083084"/>
                <a:gd name="connsiteX57" fmla="*/ 3496434 w 4280270"/>
                <a:gd name="connsiteY57" fmla="*/ 178161 h 2083084"/>
                <a:gd name="connsiteX58" fmla="*/ 3496434 w 4280270"/>
                <a:gd name="connsiteY58" fmla="*/ 167462 h 2083084"/>
                <a:gd name="connsiteX59" fmla="*/ 3571772 w 4280270"/>
                <a:gd name="connsiteY59" fmla="*/ 135365 h 2083084"/>
                <a:gd name="connsiteX60" fmla="*/ 3669332 w 4280270"/>
                <a:gd name="connsiteY60" fmla="*/ 135365 h 2083084"/>
                <a:gd name="connsiteX61" fmla="*/ 3805373 w 4280270"/>
                <a:gd name="connsiteY61" fmla="*/ 178161 h 2083084"/>
                <a:gd name="connsiteX62" fmla="*/ 3880711 w 4280270"/>
                <a:gd name="connsiteY62" fmla="*/ 189325 h 2083084"/>
                <a:gd name="connsiteX63" fmla="*/ 3869755 w 4280270"/>
                <a:gd name="connsiteY63" fmla="*/ 193776 h 2083084"/>
                <a:gd name="connsiteX64" fmla="*/ 3875363 w 4280270"/>
                <a:gd name="connsiteY64" fmla="*/ 194361 h 2083084"/>
                <a:gd name="connsiteX65" fmla="*/ 3886546 w 4280270"/>
                <a:gd name="connsiteY65" fmla="*/ 189824 h 2083084"/>
                <a:gd name="connsiteX66" fmla="*/ 3923966 w 4280270"/>
                <a:gd name="connsiteY66" fmla="*/ 211180 h 2083084"/>
                <a:gd name="connsiteX67" fmla="*/ 3946201 w 4280270"/>
                <a:gd name="connsiteY67" fmla="*/ 200502 h 2083084"/>
                <a:gd name="connsiteX68" fmla="*/ 3996636 w 4280270"/>
                <a:gd name="connsiteY68" fmla="*/ 222322 h 2083084"/>
                <a:gd name="connsiteX69" fmla="*/ 4069308 w 4280270"/>
                <a:gd name="connsiteY69" fmla="*/ 273391 h 2083084"/>
                <a:gd name="connsiteX70" fmla="*/ 4145232 w 4280270"/>
                <a:gd name="connsiteY70" fmla="*/ 243678 h 2083084"/>
                <a:gd name="connsiteX71" fmla="*/ 4217361 w 4280270"/>
                <a:gd name="connsiteY71" fmla="*/ 284069 h 2083084"/>
                <a:gd name="connsiteX72" fmla="*/ 4179398 w 4280270"/>
                <a:gd name="connsiteY72" fmla="*/ 346280 h 2083084"/>
                <a:gd name="connsiteX73" fmla="*/ 4280270 w 4280270"/>
                <a:gd name="connsiteY73" fmla="*/ 356958 h 2083084"/>
                <a:gd name="connsiteX74" fmla="*/ 4230376 w 4280270"/>
                <a:gd name="connsiteY74" fmla="*/ 399670 h 2083084"/>
                <a:gd name="connsiteX75" fmla="*/ 4145232 w 4280270"/>
                <a:gd name="connsiteY75" fmla="*/ 410813 h 2083084"/>
                <a:gd name="connsiteX76" fmla="*/ 4107270 w 4280270"/>
                <a:gd name="connsiteY76" fmla="*/ 378314 h 2083084"/>
                <a:gd name="connsiteX77" fmla="*/ 4009110 w 4280270"/>
                <a:gd name="connsiteY77" fmla="*/ 368101 h 2083084"/>
                <a:gd name="connsiteX78" fmla="*/ 3971148 w 4280270"/>
                <a:gd name="connsiteY78" fmla="*/ 346280 h 2083084"/>
                <a:gd name="connsiteX79" fmla="*/ 3984163 w 4280270"/>
                <a:gd name="connsiteY79" fmla="*/ 399670 h 2083084"/>
                <a:gd name="connsiteX80" fmla="*/ 4018330 w 4280270"/>
                <a:gd name="connsiteY80" fmla="*/ 421491 h 2083084"/>
                <a:gd name="connsiteX81" fmla="*/ 3958674 w 4280270"/>
                <a:gd name="connsiteY81" fmla="*/ 451204 h 2083084"/>
                <a:gd name="connsiteX82" fmla="*/ 3933185 w 4280270"/>
                <a:gd name="connsiteY82" fmla="*/ 443311 h 2083084"/>
                <a:gd name="connsiteX83" fmla="*/ 3899019 w 4280270"/>
                <a:gd name="connsiteY83" fmla="*/ 451204 h 2083084"/>
                <a:gd name="connsiteX84" fmla="*/ 3958674 w 4280270"/>
                <a:gd name="connsiteY84" fmla="*/ 494380 h 2083084"/>
                <a:gd name="connsiteX85" fmla="*/ 3996636 w 4280270"/>
                <a:gd name="connsiteY85" fmla="*/ 526878 h 2083084"/>
                <a:gd name="connsiteX86" fmla="*/ 4060088 w 4280270"/>
                <a:gd name="connsiteY86" fmla="*/ 526878 h 2083084"/>
                <a:gd name="connsiteX87" fmla="*/ 4043818 w 4280270"/>
                <a:gd name="connsiteY87" fmla="*/ 556591 h 2083084"/>
                <a:gd name="connsiteX88" fmla="*/ 4094254 w 4280270"/>
                <a:gd name="connsiteY88" fmla="*/ 589089 h 2083084"/>
                <a:gd name="connsiteX89" fmla="*/ 4009110 w 4280270"/>
                <a:gd name="connsiteY89" fmla="*/ 631801 h 2083084"/>
                <a:gd name="connsiteX90" fmla="*/ 3971148 w 4280270"/>
                <a:gd name="connsiteY90" fmla="*/ 820756 h 2083084"/>
                <a:gd name="connsiteX91" fmla="*/ 3923966 w 4280270"/>
                <a:gd name="connsiteY91" fmla="*/ 769687 h 2083084"/>
                <a:gd name="connsiteX92" fmla="*/ 3861056 w 4280270"/>
                <a:gd name="connsiteY92" fmla="*/ 788258 h 2083084"/>
                <a:gd name="connsiteX93" fmla="*/ 3798148 w 4280270"/>
                <a:gd name="connsiteY93" fmla="*/ 831898 h 2083084"/>
                <a:gd name="connsiteX94" fmla="*/ 3798148 w 4280270"/>
                <a:gd name="connsiteY94" fmla="*/ 852790 h 2083084"/>
                <a:gd name="connsiteX95" fmla="*/ 3811163 w 4280270"/>
                <a:gd name="connsiteY95" fmla="*/ 969320 h 2083084"/>
                <a:gd name="connsiteX96" fmla="*/ 3848583 w 4280270"/>
                <a:gd name="connsiteY96" fmla="*/ 947500 h 2083084"/>
                <a:gd name="connsiteX97" fmla="*/ 3861056 w 4280270"/>
                <a:gd name="connsiteY97" fmla="*/ 1023174 h 2083084"/>
                <a:gd name="connsiteX98" fmla="*/ 3848583 w 4280270"/>
                <a:gd name="connsiteY98" fmla="*/ 1065886 h 2083084"/>
                <a:gd name="connsiteX99" fmla="*/ 3886546 w 4280270"/>
                <a:gd name="connsiteY99" fmla="*/ 1128097 h 2083084"/>
                <a:gd name="connsiteX100" fmla="*/ 3873530 w 4280270"/>
                <a:gd name="connsiteY100" fmla="*/ 1160596 h 2083084"/>
                <a:gd name="connsiteX101" fmla="*/ 3886546 w 4280270"/>
                <a:gd name="connsiteY101" fmla="*/ 1200987 h 2083084"/>
                <a:gd name="connsiteX102" fmla="*/ 3861056 w 4280270"/>
                <a:gd name="connsiteY102" fmla="*/ 1211665 h 2083084"/>
                <a:gd name="connsiteX103" fmla="*/ 3861056 w 4280270"/>
                <a:gd name="connsiteY103" fmla="*/ 1263198 h 2083084"/>
                <a:gd name="connsiteX104" fmla="*/ 3823636 w 4280270"/>
                <a:gd name="connsiteY104" fmla="*/ 1338408 h 2083084"/>
                <a:gd name="connsiteX105" fmla="*/ 3785674 w 4280270"/>
                <a:gd name="connsiteY105" fmla="*/ 1263198 h 2083084"/>
                <a:gd name="connsiteX106" fmla="*/ 3738492 w 4280270"/>
                <a:gd name="connsiteY106" fmla="*/ 1233485 h 2083084"/>
                <a:gd name="connsiteX107" fmla="*/ 3675041 w 4280270"/>
                <a:gd name="connsiteY107" fmla="*/ 1085385 h 2083084"/>
                <a:gd name="connsiteX108" fmla="*/ 3675041 w 4280270"/>
                <a:gd name="connsiteY108" fmla="*/ 990676 h 2083084"/>
                <a:gd name="connsiteX109" fmla="*/ 3700530 w 4280270"/>
                <a:gd name="connsiteY109" fmla="*/ 936822 h 2083084"/>
                <a:gd name="connsiteX110" fmla="*/ 3726019 w 4280270"/>
                <a:gd name="connsiteY110" fmla="*/ 831898 h 2083084"/>
                <a:gd name="connsiteX111" fmla="*/ 3750966 w 4280270"/>
                <a:gd name="connsiteY111" fmla="*/ 777580 h 2083084"/>
                <a:gd name="connsiteX112" fmla="*/ 3738492 w 4280270"/>
                <a:gd name="connsiteY112" fmla="*/ 759009 h 2083084"/>
                <a:gd name="connsiteX113" fmla="*/ 3713003 w 4280270"/>
                <a:gd name="connsiteY113" fmla="*/ 682870 h 2083084"/>
                <a:gd name="connsiteX114" fmla="*/ 3700530 w 4280270"/>
                <a:gd name="connsiteY114" fmla="*/ 682870 h 2083084"/>
                <a:gd name="connsiteX115" fmla="*/ 3662568 w 4280270"/>
                <a:gd name="connsiteY115" fmla="*/ 777580 h 2083084"/>
                <a:gd name="connsiteX116" fmla="*/ 3650094 w 4280270"/>
                <a:gd name="connsiteY116" fmla="*/ 777580 h 2083084"/>
                <a:gd name="connsiteX117" fmla="*/ 3627859 w 4280270"/>
                <a:gd name="connsiteY117" fmla="*/ 747867 h 2083084"/>
                <a:gd name="connsiteX118" fmla="*/ 3577423 w 4280270"/>
                <a:gd name="connsiteY118" fmla="*/ 769687 h 2083084"/>
                <a:gd name="connsiteX119" fmla="*/ 3551934 w 4280270"/>
                <a:gd name="connsiteY119" fmla="*/ 874610 h 2083084"/>
                <a:gd name="connsiteX120" fmla="*/ 3577423 w 4280270"/>
                <a:gd name="connsiteY120" fmla="*/ 893645 h 2083084"/>
                <a:gd name="connsiteX121" fmla="*/ 3539461 w 4280270"/>
                <a:gd name="connsiteY121" fmla="*/ 928929 h 2083084"/>
                <a:gd name="connsiteX122" fmla="*/ 3479806 w 4280270"/>
                <a:gd name="connsiteY122" fmla="*/ 947500 h 2083084"/>
                <a:gd name="connsiteX123" fmla="*/ 3492279 w 4280270"/>
                <a:gd name="connsiteY123" fmla="*/ 907109 h 2083084"/>
                <a:gd name="connsiteX124" fmla="*/ 3416896 w 4280270"/>
                <a:gd name="connsiteY124" fmla="*/ 915001 h 2083084"/>
                <a:gd name="connsiteX125" fmla="*/ 3366461 w 4280270"/>
                <a:gd name="connsiteY125" fmla="*/ 947500 h 2083084"/>
                <a:gd name="connsiteX126" fmla="*/ 3255827 w 4280270"/>
                <a:gd name="connsiteY126" fmla="*/ 969320 h 2083084"/>
                <a:gd name="connsiteX127" fmla="*/ 3221119 w 4280270"/>
                <a:gd name="connsiteY127" fmla="*/ 1001818 h 2083084"/>
                <a:gd name="connsiteX128" fmla="*/ 3221119 w 4280270"/>
                <a:gd name="connsiteY128" fmla="*/ 1085385 h 2083084"/>
                <a:gd name="connsiteX129" fmla="*/ 3158210 w 4280270"/>
                <a:gd name="connsiteY129" fmla="*/ 1211665 h 2083084"/>
                <a:gd name="connsiteX130" fmla="*/ 3208646 w 4280270"/>
                <a:gd name="connsiteY130" fmla="*/ 1222807 h 2083084"/>
                <a:gd name="connsiteX131" fmla="*/ 3221119 w 4280270"/>
                <a:gd name="connsiteY131" fmla="*/ 1276197 h 2083084"/>
                <a:gd name="connsiteX132" fmla="*/ 3306263 w 4280270"/>
                <a:gd name="connsiteY132" fmla="*/ 1244163 h 2083084"/>
                <a:gd name="connsiteX133" fmla="*/ 3357241 w 4280270"/>
                <a:gd name="connsiteY133" fmla="*/ 1263198 h 2083084"/>
                <a:gd name="connsiteX134" fmla="*/ 3357241 w 4280270"/>
                <a:gd name="connsiteY134" fmla="*/ 1327730 h 2083084"/>
                <a:gd name="connsiteX135" fmla="*/ 3391407 w 4280270"/>
                <a:gd name="connsiteY135" fmla="*/ 1338408 h 2083084"/>
                <a:gd name="connsiteX136" fmla="*/ 3366461 w 4280270"/>
                <a:gd name="connsiteY136" fmla="*/ 1632286 h 2083084"/>
                <a:gd name="connsiteX137" fmla="*/ 3268301 w 4280270"/>
                <a:gd name="connsiteY137" fmla="*/ 1748351 h 2083084"/>
                <a:gd name="connsiteX138" fmla="*/ 3234134 w 4280270"/>
                <a:gd name="connsiteY138" fmla="*/ 1770172 h 2083084"/>
                <a:gd name="connsiteX139" fmla="*/ 3221119 w 4280270"/>
                <a:gd name="connsiteY139" fmla="*/ 1737673 h 2083084"/>
                <a:gd name="connsiteX140" fmla="*/ 3167972 w 4280270"/>
                <a:gd name="connsiteY140" fmla="*/ 1697283 h 2083084"/>
                <a:gd name="connsiteX141" fmla="*/ 3180445 w 4280270"/>
                <a:gd name="connsiteY141" fmla="*/ 1654106 h 2083084"/>
                <a:gd name="connsiteX142" fmla="*/ 3217865 w 4280270"/>
                <a:gd name="connsiteY142" fmla="*/ 1662463 h 2083084"/>
                <a:gd name="connsiteX143" fmla="*/ 3253116 w 4280270"/>
                <a:gd name="connsiteY143" fmla="*/ 1575646 h 2083084"/>
                <a:gd name="connsiteX144" fmla="*/ 3234134 w 4280270"/>
                <a:gd name="connsiteY144" fmla="*/ 1527363 h 2083084"/>
                <a:gd name="connsiteX145" fmla="*/ 3170683 w 4280270"/>
                <a:gd name="connsiteY145" fmla="*/ 1557075 h 2083084"/>
                <a:gd name="connsiteX146" fmla="*/ 3108316 w 4280270"/>
                <a:gd name="connsiteY146" fmla="*/ 1538505 h 2083084"/>
                <a:gd name="connsiteX147" fmla="*/ 3098554 w 4280270"/>
                <a:gd name="connsiteY147" fmla="*/ 1511114 h 2083084"/>
                <a:gd name="connsiteX148" fmla="*/ 3079573 w 4280270"/>
                <a:gd name="connsiteY148" fmla="*/ 1498114 h 2083084"/>
                <a:gd name="connsiteX149" fmla="*/ 3010156 w 4280270"/>
                <a:gd name="connsiteY149" fmla="*/ 1494864 h 2083084"/>
                <a:gd name="connsiteX150" fmla="*/ 2938028 w 4280270"/>
                <a:gd name="connsiteY150" fmla="*/ 1421975 h 2083084"/>
                <a:gd name="connsiteX151" fmla="*/ 2925012 w 4280270"/>
                <a:gd name="connsiteY151" fmla="*/ 1357443 h 2083084"/>
                <a:gd name="connsiteX152" fmla="*/ 2874576 w 4280270"/>
                <a:gd name="connsiteY152" fmla="*/ 1330516 h 2083084"/>
                <a:gd name="connsiteX153" fmla="*/ 2795940 w 4280270"/>
                <a:gd name="connsiteY153" fmla="*/ 1349086 h 2083084"/>
                <a:gd name="connsiteX154" fmla="*/ 2744962 w 4280270"/>
                <a:gd name="connsiteY154" fmla="*/ 1370906 h 2083084"/>
                <a:gd name="connsiteX155" fmla="*/ 2776959 w 4280270"/>
                <a:gd name="connsiteY155" fmla="*/ 1379263 h 2083084"/>
                <a:gd name="connsiteX156" fmla="*/ 2763943 w 4280270"/>
                <a:gd name="connsiteY156" fmla="*/ 1411297 h 2083084"/>
                <a:gd name="connsiteX157" fmla="*/ 2763943 w 4280270"/>
                <a:gd name="connsiteY157" fmla="*/ 1473508 h 2083084"/>
                <a:gd name="connsiteX158" fmla="*/ 2701576 w 4280270"/>
                <a:gd name="connsiteY158" fmla="*/ 1508328 h 2083084"/>
                <a:gd name="connsiteX159" fmla="*/ 2654394 w 4280270"/>
                <a:gd name="connsiteY159" fmla="*/ 1508328 h 2083084"/>
                <a:gd name="connsiteX160" fmla="*/ 2603416 w 4280270"/>
                <a:gd name="connsiteY160" fmla="*/ 1486972 h 2083084"/>
                <a:gd name="connsiteX161" fmla="*/ 2565454 w 4280270"/>
                <a:gd name="connsiteY161" fmla="*/ 1527363 h 2083084"/>
                <a:gd name="connsiteX162" fmla="*/ 2442347 w 4280270"/>
                <a:gd name="connsiteY162" fmla="*/ 1538505 h 2083084"/>
                <a:gd name="connsiteX163" fmla="*/ 2379980 w 4280270"/>
                <a:gd name="connsiteY163" fmla="*/ 1500436 h 2083084"/>
                <a:gd name="connsiteX164" fmla="*/ 2313817 w 4280270"/>
                <a:gd name="connsiteY164" fmla="*/ 1524577 h 2083084"/>
                <a:gd name="connsiteX165" fmla="*/ 2278566 w 4280270"/>
                <a:gd name="connsiteY165" fmla="*/ 1527363 h 2083084"/>
                <a:gd name="connsiteX166" fmla="*/ 2247654 w 4280270"/>
                <a:gd name="connsiteY166" fmla="*/ 1492543 h 2083084"/>
                <a:gd name="connsiteX167" fmla="*/ 2222165 w 4280270"/>
                <a:gd name="connsiteY167" fmla="*/ 1462366 h 2083084"/>
                <a:gd name="connsiteX168" fmla="*/ 2181491 w 4280270"/>
                <a:gd name="connsiteY168" fmla="*/ 1465616 h 2083084"/>
                <a:gd name="connsiteX169" fmla="*/ 2133767 w 4280270"/>
                <a:gd name="connsiteY169" fmla="*/ 1532934 h 2083084"/>
                <a:gd name="connsiteX170" fmla="*/ 2083874 w 4280270"/>
                <a:gd name="connsiteY170" fmla="*/ 1546397 h 2083084"/>
                <a:gd name="connsiteX171" fmla="*/ 2017710 w 4280270"/>
                <a:gd name="connsiteY171" fmla="*/ 1511114 h 2083084"/>
                <a:gd name="connsiteX172" fmla="*/ 1982460 w 4280270"/>
                <a:gd name="connsiteY172" fmla="*/ 1513899 h 2083084"/>
                <a:gd name="connsiteX173" fmla="*/ 1885384 w 4280270"/>
                <a:gd name="connsiteY173" fmla="*/ 1567753 h 2083084"/>
                <a:gd name="connsiteX174" fmla="*/ 1843626 w 4280270"/>
                <a:gd name="connsiteY174" fmla="*/ 1589574 h 2083084"/>
                <a:gd name="connsiteX175" fmla="*/ 1831152 w 4280270"/>
                <a:gd name="connsiteY175" fmla="*/ 1635536 h 2083084"/>
                <a:gd name="connsiteX176" fmla="*/ 1749262 w 4280270"/>
                <a:gd name="connsiteY176" fmla="*/ 1668034 h 2083084"/>
                <a:gd name="connsiteX177" fmla="*/ 1717808 w 4280270"/>
                <a:gd name="connsiteY177" fmla="*/ 1705175 h 2083084"/>
                <a:gd name="connsiteX178" fmla="*/ 1733535 w 4280270"/>
                <a:gd name="connsiteY178" fmla="*/ 1735352 h 2083084"/>
                <a:gd name="connsiteX179" fmla="*/ 1679845 w 4280270"/>
                <a:gd name="connsiteY179" fmla="*/ 1748351 h 2083084"/>
                <a:gd name="connsiteX180" fmla="*/ 1696115 w 4280270"/>
                <a:gd name="connsiteY180" fmla="*/ 1818455 h 2083084"/>
                <a:gd name="connsiteX181" fmla="*/ 1613682 w 4280270"/>
                <a:gd name="connsiteY181" fmla="*/ 1896915 h 2083084"/>
                <a:gd name="connsiteX182" fmla="*/ 1573008 w 4280270"/>
                <a:gd name="connsiteY182" fmla="*/ 1896915 h 2083084"/>
                <a:gd name="connsiteX183" fmla="*/ 1506845 w 4280270"/>
                <a:gd name="connsiteY183" fmla="*/ 1937306 h 2083084"/>
                <a:gd name="connsiteX184" fmla="*/ 1535046 w 4280270"/>
                <a:gd name="connsiteY184" fmla="*/ 1991160 h 2083084"/>
                <a:gd name="connsiteX185" fmla="*/ 1437428 w 4280270"/>
                <a:gd name="connsiteY185" fmla="*/ 2010195 h 2083084"/>
                <a:gd name="connsiteX186" fmla="*/ 1415193 w 4280270"/>
                <a:gd name="connsiteY186" fmla="*/ 1991160 h 2083084"/>
                <a:gd name="connsiteX187" fmla="*/ 1358250 w 4280270"/>
                <a:gd name="connsiteY187" fmla="*/ 2012981 h 2083084"/>
                <a:gd name="connsiteX188" fmla="*/ 1298594 w 4280270"/>
                <a:gd name="connsiteY188" fmla="*/ 2002303 h 2083084"/>
                <a:gd name="connsiteX189" fmla="*/ 1238939 w 4280270"/>
                <a:gd name="connsiteY189" fmla="*/ 2034801 h 2083084"/>
                <a:gd name="connsiteX190" fmla="*/ 1206942 w 4280270"/>
                <a:gd name="connsiteY190" fmla="*/ 2061264 h 2083084"/>
                <a:gd name="connsiteX191" fmla="*/ 1159760 w 4280270"/>
                <a:gd name="connsiteY191" fmla="*/ 2083084 h 2083084"/>
                <a:gd name="connsiteX192" fmla="*/ 1128306 w 4280270"/>
                <a:gd name="connsiteY192" fmla="*/ 2066835 h 2083084"/>
                <a:gd name="connsiteX193" fmla="*/ 1109325 w 4280270"/>
                <a:gd name="connsiteY193" fmla="*/ 2029230 h 2083084"/>
                <a:gd name="connsiteX194" fmla="*/ 1074616 w 4280270"/>
                <a:gd name="connsiteY194" fmla="*/ 2002303 h 2083084"/>
                <a:gd name="connsiteX195" fmla="*/ 1014961 w 4280270"/>
                <a:gd name="connsiteY195" fmla="*/ 1991160 h 2083084"/>
                <a:gd name="connsiteX196" fmla="*/ 936324 w 4280270"/>
                <a:gd name="connsiteY196" fmla="*/ 1988375 h 2083084"/>
                <a:gd name="connsiteX197" fmla="*/ 901616 w 4280270"/>
                <a:gd name="connsiteY197" fmla="*/ 2002303 h 2083084"/>
                <a:gd name="connsiteX198" fmla="*/ 904328 w 4280270"/>
                <a:gd name="connsiteY198" fmla="*/ 1947984 h 2083084"/>
                <a:gd name="connsiteX199" fmla="*/ 866365 w 4280270"/>
                <a:gd name="connsiteY199" fmla="*/ 1896915 h 2083084"/>
                <a:gd name="connsiteX200" fmla="*/ 904328 w 4280270"/>
                <a:gd name="connsiteY200" fmla="*/ 1896915 h 2083084"/>
                <a:gd name="connsiteX201" fmla="*/ 917343 w 4280270"/>
                <a:gd name="connsiteY201" fmla="*/ 1875095 h 2083084"/>
                <a:gd name="connsiteX202" fmla="*/ 791525 w 4280270"/>
                <a:gd name="connsiteY202" fmla="*/ 1802206 h 2083084"/>
                <a:gd name="connsiteX203" fmla="*/ 791525 w 4280270"/>
                <a:gd name="connsiteY203" fmla="*/ 1759494 h 2083084"/>
                <a:gd name="connsiteX204" fmla="*/ 803998 w 4280270"/>
                <a:gd name="connsiteY204" fmla="*/ 1726995 h 2083084"/>
                <a:gd name="connsiteX205" fmla="*/ 841961 w 4280270"/>
                <a:gd name="connsiteY205" fmla="*/ 1726995 h 2083084"/>
                <a:gd name="connsiteX206" fmla="*/ 854434 w 4280270"/>
                <a:gd name="connsiteY206" fmla="*/ 1697283 h 2083084"/>
                <a:gd name="connsiteX207" fmla="*/ 816472 w 4280270"/>
                <a:gd name="connsiteY207" fmla="*/ 1664784 h 2083084"/>
                <a:gd name="connsiteX208" fmla="*/ 756817 w 4280270"/>
                <a:gd name="connsiteY208" fmla="*/ 1697283 h 2083084"/>
                <a:gd name="connsiteX209" fmla="*/ 718854 w 4280270"/>
                <a:gd name="connsiteY209" fmla="*/ 1697283 h 2083084"/>
                <a:gd name="connsiteX210" fmla="*/ 680892 w 4280270"/>
                <a:gd name="connsiteY210" fmla="*/ 1697283 h 2083084"/>
                <a:gd name="connsiteX211" fmla="*/ 659199 w 4280270"/>
                <a:gd name="connsiteY211" fmla="*/ 1759494 h 2083084"/>
                <a:gd name="connsiteX212" fmla="*/ 659199 w 4280270"/>
                <a:gd name="connsiteY212" fmla="*/ 1770172 h 2083084"/>
                <a:gd name="connsiteX213" fmla="*/ 731327 w 4280270"/>
                <a:gd name="connsiteY213" fmla="*/ 1885773 h 2083084"/>
                <a:gd name="connsiteX214" fmla="*/ 769290 w 4280270"/>
                <a:gd name="connsiteY214" fmla="*/ 1907593 h 2083084"/>
                <a:gd name="connsiteX215" fmla="*/ 734581 w 4280270"/>
                <a:gd name="connsiteY215" fmla="*/ 1958662 h 2083084"/>
                <a:gd name="connsiteX216" fmla="*/ 721566 w 4280270"/>
                <a:gd name="connsiteY216" fmla="*/ 1947984 h 2083084"/>
                <a:gd name="connsiteX217" fmla="*/ 649437 w 4280270"/>
                <a:gd name="connsiteY217" fmla="*/ 1974911 h 2083084"/>
                <a:gd name="connsiteX218" fmla="*/ 621237 w 4280270"/>
                <a:gd name="connsiteY218" fmla="*/ 1931735 h 2083084"/>
                <a:gd name="connsiteX219" fmla="*/ 605509 w 4280270"/>
                <a:gd name="connsiteY219" fmla="*/ 1931735 h 2083084"/>
                <a:gd name="connsiteX220" fmla="*/ 589240 w 4280270"/>
                <a:gd name="connsiteY220" fmla="*/ 1921057 h 2083084"/>
                <a:gd name="connsiteX221" fmla="*/ 557785 w 4280270"/>
                <a:gd name="connsiteY221" fmla="*/ 1864417 h 2083084"/>
                <a:gd name="connsiteX222" fmla="*/ 510603 w 4280270"/>
                <a:gd name="connsiteY222" fmla="*/ 1853275 h 2083084"/>
                <a:gd name="connsiteX223" fmla="*/ 510603 w 4280270"/>
                <a:gd name="connsiteY223" fmla="*/ 1843061 h 2083084"/>
                <a:gd name="connsiteX224" fmla="*/ 485114 w 4280270"/>
                <a:gd name="connsiteY224" fmla="*/ 1802206 h 2083084"/>
                <a:gd name="connsiteX225" fmla="*/ 435221 w 4280270"/>
                <a:gd name="connsiteY225" fmla="*/ 1780850 h 2083084"/>
                <a:gd name="connsiteX226" fmla="*/ 397258 w 4280270"/>
                <a:gd name="connsiteY226" fmla="*/ 1759494 h 2083084"/>
                <a:gd name="connsiteX227" fmla="*/ 388039 w 4280270"/>
                <a:gd name="connsiteY227" fmla="*/ 1726995 h 2083084"/>
                <a:gd name="connsiteX228" fmla="*/ 397258 w 4280270"/>
                <a:gd name="connsiteY228" fmla="*/ 1686605 h 2083084"/>
                <a:gd name="connsiteX229" fmla="*/ 397258 w 4280270"/>
                <a:gd name="connsiteY229" fmla="*/ 1664784 h 2083084"/>
                <a:gd name="connsiteX230" fmla="*/ 356584 w 4280270"/>
                <a:gd name="connsiteY230" fmla="*/ 1651785 h 2083084"/>
                <a:gd name="connsiteX231" fmla="*/ 378277 w 4280270"/>
                <a:gd name="connsiteY231" fmla="*/ 1640643 h 2083084"/>
                <a:gd name="connsiteX232" fmla="*/ 369058 w 4280270"/>
                <a:gd name="connsiteY232" fmla="*/ 1632286 h 2083084"/>
                <a:gd name="connsiteX233" fmla="*/ 397258 w 4280270"/>
                <a:gd name="connsiteY233" fmla="*/ 1624393 h 2083084"/>
                <a:gd name="connsiteX234" fmla="*/ 390750 w 4280270"/>
                <a:gd name="connsiteY234" fmla="*/ 1595145 h 2083084"/>
                <a:gd name="connsiteX235" fmla="*/ 388039 w 4280270"/>
                <a:gd name="connsiteY235" fmla="*/ 1570539 h 2083084"/>
                <a:gd name="connsiteX236" fmla="*/ 362550 w 4280270"/>
                <a:gd name="connsiteY236" fmla="*/ 1527363 h 2083084"/>
                <a:gd name="connsiteX237" fmla="*/ 327841 w 4280270"/>
                <a:gd name="connsiteY237" fmla="*/ 1527363 h 2083084"/>
                <a:gd name="connsiteX238" fmla="*/ 302895 w 4280270"/>
                <a:gd name="connsiteY238" fmla="*/ 1508328 h 2083084"/>
                <a:gd name="connsiteX239" fmla="*/ 280660 w 4280270"/>
                <a:gd name="connsiteY239" fmla="*/ 1478615 h 2083084"/>
                <a:gd name="connsiteX240" fmla="*/ 214496 w 4280270"/>
                <a:gd name="connsiteY240" fmla="*/ 1476294 h 2083084"/>
                <a:gd name="connsiteX241" fmla="*/ 207989 w 4280270"/>
                <a:gd name="connsiteY241" fmla="*/ 1454474 h 2083084"/>
                <a:gd name="connsiteX242" fmla="*/ 226970 w 4280270"/>
                <a:gd name="connsiteY242" fmla="*/ 1411297 h 2083084"/>
                <a:gd name="connsiteX243" fmla="*/ 214496 w 4280270"/>
                <a:gd name="connsiteY243" fmla="*/ 1379263 h 2083084"/>
                <a:gd name="connsiteX244" fmla="*/ 189007 w 4280270"/>
                <a:gd name="connsiteY244" fmla="*/ 1370906 h 2083084"/>
                <a:gd name="connsiteX245" fmla="*/ 176534 w 4280270"/>
                <a:gd name="connsiteY245" fmla="*/ 1349086 h 2083084"/>
                <a:gd name="connsiteX246" fmla="*/ 139114 w 4280270"/>
                <a:gd name="connsiteY246" fmla="*/ 1343979 h 2083084"/>
                <a:gd name="connsiteX247" fmla="*/ 78374 w 4280270"/>
                <a:gd name="connsiteY247" fmla="*/ 1319838 h 2083084"/>
                <a:gd name="connsiteX248" fmla="*/ 59935 w 4280270"/>
                <a:gd name="connsiteY248" fmla="*/ 1308695 h 2083084"/>
                <a:gd name="connsiteX249" fmla="*/ 84882 w 4280270"/>
                <a:gd name="connsiteY249" fmla="*/ 1252055 h 2083084"/>
                <a:gd name="connsiteX250" fmla="*/ 59935 w 4280270"/>
                <a:gd name="connsiteY250" fmla="*/ 1203308 h 2083084"/>
                <a:gd name="connsiteX251" fmla="*/ 82170 w 4280270"/>
                <a:gd name="connsiteY251" fmla="*/ 1190309 h 2083084"/>
                <a:gd name="connsiteX252" fmla="*/ 91390 w 4280270"/>
                <a:gd name="connsiteY252" fmla="*/ 1182416 h 2083084"/>
                <a:gd name="connsiteX253" fmla="*/ 107117 w 4280270"/>
                <a:gd name="connsiteY253" fmla="*/ 1171274 h 2083084"/>
                <a:gd name="connsiteX254" fmla="*/ 84882 w 4280270"/>
                <a:gd name="connsiteY254" fmla="*/ 1138775 h 2083084"/>
                <a:gd name="connsiteX255" fmla="*/ 75663 w 4280270"/>
                <a:gd name="connsiteY255" fmla="*/ 1120205 h 2083084"/>
                <a:gd name="connsiteX256" fmla="*/ 122844 w 4280270"/>
                <a:gd name="connsiteY256" fmla="*/ 1109527 h 2083084"/>
                <a:gd name="connsiteX257" fmla="*/ 138210 w 4280270"/>
                <a:gd name="connsiteY257" fmla="*/ 1068311 h 2083084"/>
                <a:gd name="connsiteX258" fmla="*/ 138210 w 4280270"/>
                <a:gd name="connsiteY258" fmla="*/ 1054080 h 2083084"/>
                <a:gd name="connsiteX259" fmla="*/ 81300 w 4280270"/>
                <a:gd name="connsiteY259" fmla="*/ 970349 h 2083084"/>
                <a:gd name="connsiteX260" fmla="*/ 81300 w 4280270"/>
                <a:gd name="connsiteY260" fmla="*/ 929879 h 2083084"/>
                <a:gd name="connsiteX261" fmla="*/ 59620 w 4280270"/>
                <a:gd name="connsiteY261" fmla="*/ 894526 h 2083084"/>
                <a:gd name="connsiteX262" fmla="*/ 56368 w 4280270"/>
                <a:gd name="connsiteY262" fmla="*/ 859173 h 2083084"/>
                <a:gd name="connsiteX263" fmla="*/ 24932 w 4280270"/>
                <a:gd name="connsiteY263" fmla="*/ 810795 h 2083084"/>
                <a:gd name="connsiteX264" fmla="*/ 21680 w 4280270"/>
                <a:gd name="connsiteY264" fmla="*/ 764743 h 2083084"/>
                <a:gd name="connsiteX265" fmla="*/ 0 w 4280270"/>
                <a:gd name="connsiteY265" fmla="*/ 721482 h 2083084"/>
                <a:gd name="connsiteX266" fmla="*/ 12466 w 4280270"/>
                <a:gd name="connsiteY266" fmla="*/ 688920 h 2083084"/>
                <a:gd name="connsiteX267" fmla="*/ 40650 w 4280270"/>
                <a:gd name="connsiteY267" fmla="*/ 683338 h 2083084"/>
                <a:gd name="connsiteX268" fmla="*/ 53116 w 4280270"/>
                <a:gd name="connsiteY268" fmla="*/ 683338 h 2083084"/>
                <a:gd name="connsiteX269" fmla="*/ 87804 w 4280270"/>
                <a:gd name="connsiteY269" fmla="*/ 715900 h 2083084"/>
                <a:gd name="connsiteX270" fmla="*/ 125744 w 4280270"/>
                <a:gd name="connsiteY270" fmla="*/ 737763 h 2083084"/>
                <a:gd name="connsiteX271" fmla="*/ 197830 w 4280270"/>
                <a:gd name="connsiteY271" fmla="*/ 737763 h 2083084"/>
                <a:gd name="connsiteX272" fmla="*/ 248778 w 4280270"/>
                <a:gd name="connsiteY272" fmla="*/ 759626 h 2083084"/>
                <a:gd name="connsiteX273" fmla="*/ 333871 w 4280270"/>
                <a:gd name="connsiteY273" fmla="*/ 843357 h 2083084"/>
                <a:gd name="connsiteX274" fmla="*/ 295932 w 4280270"/>
                <a:gd name="connsiteY274" fmla="*/ 875454 h 2083084"/>
                <a:gd name="connsiteX275" fmla="*/ 248778 w 4280270"/>
                <a:gd name="connsiteY275" fmla="*/ 886153 h 2083084"/>
                <a:gd name="connsiteX276" fmla="*/ 197830 w 4280270"/>
                <a:gd name="connsiteY276" fmla="*/ 875454 h 2083084"/>
                <a:gd name="connsiteX277" fmla="*/ 125744 w 4280270"/>
                <a:gd name="connsiteY277" fmla="*/ 853591 h 2083084"/>
                <a:gd name="connsiteX278" fmla="*/ 147966 w 4280270"/>
                <a:gd name="connsiteY278" fmla="*/ 875454 h 2083084"/>
                <a:gd name="connsiteX279" fmla="*/ 197830 w 4280270"/>
                <a:gd name="connsiteY279" fmla="*/ 908016 h 2083084"/>
                <a:gd name="connsiteX280" fmla="*/ 185364 w 4280270"/>
                <a:gd name="connsiteY280" fmla="*/ 959185 h 2083084"/>
                <a:gd name="connsiteX281" fmla="*/ 248778 w 4280270"/>
                <a:gd name="connsiteY281" fmla="*/ 1002911 h 2083084"/>
                <a:gd name="connsiteX282" fmla="*/ 248778 w 4280270"/>
                <a:gd name="connsiteY282" fmla="*/ 981048 h 2083084"/>
                <a:gd name="connsiteX283" fmla="*/ 261244 w 4280270"/>
                <a:gd name="connsiteY283" fmla="*/ 948486 h 2083084"/>
                <a:gd name="connsiteX284" fmla="*/ 320863 w 4280270"/>
                <a:gd name="connsiteY284" fmla="*/ 981048 h 2083084"/>
                <a:gd name="connsiteX285" fmla="*/ 333871 w 4280270"/>
                <a:gd name="connsiteY285" fmla="*/ 959185 h 2083084"/>
                <a:gd name="connsiteX286" fmla="*/ 320863 w 4280270"/>
                <a:gd name="connsiteY286" fmla="*/ 937787 h 2083084"/>
                <a:gd name="connsiteX287" fmla="*/ 358803 w 4280270"/>
                <a:gd name="connsiteY287" fmla="*/ 894526 h 2083084"/>
                <a:gd name="connsiteX288" fmla="*/ 393491 w 4280270"/>
                <a:gd name="connsiteY288" fmla="*/ 886153 h 2083084"/>
                <a:gd name="connsiteX289" fmla="*/ 418965 w 4280270"/>
                <a:gd name="connsiteY289" fmla="*/ 864755 h 2083084"/>
                <a:gd name="connsiteX290" fmla="*/ 405957 w 4280270"/>
                <a:gd name="connsiteY290" fmla="*/ 810795 h 2083084"/>
                <a:gd name="connsiteX291" fmla="*/ 418965 w 4280270"/>
                <a:gd name="connsiteY291" fmla="*/ 778233 h 2083084"/>
                <a:gd name="connsiteX292" fmla="*/ 456905 w 4280270"/>
                <a:gd name="connsiteY292" fmla="*/ 770325 h 2083084"/>
                <a:gd name="connsiteX293" fmla="*/ 456905 w 4280270"/>
                <a:gd name="connsiteY293" fmla="*/ 821494 h 2083084"/>
                <a:gd name="connsiteX294" fmla="*/ 469371 w 4280270"/>
                <a:gd name="connsiteY294" fmla="*/ 843357 h 2083084"/>
                <a:gd name="connsiteX295" fmla="*/ 506769 w 4280270"/>
                <a:gd name="connsiteY295" fmla="*/ 810795 h 2083084"/>
                <a:gd name="connsiteX296" fmla="*/ 541999 w 4280270"/>
                <a:gd name="connsiteY296" fmla="*/ 810795 h 2083084"/>
                <a:gd name="connsiteX297" fmla="*/ 553923 w 4280270"/>
                <a:gd name="connsiteY297" fmla="*/ 778233 h 2083084"/>
                <a:gd name="connsiteX298" fmla="*/ 642269 w 4280270"/>
                <a:gd name="connsiteY298" fmla="*/ 737763 h 2083084"/>
                <a:gd name="connsiteX299" fmla="*/ 655277 w 4280270"/>
                <a:gd name="connsiteY299" fmla="*/ 759626 h 2083084"/>
                <a:gd name="connsiteX300" fmla="*/ 676957 w 4280270"/>
                <a:gd name="connsiteY300" fmla="*/ 770325 h 2083084"/>
                <a:gd name="connsiteX301" fmla="*/ 778310 w 4280270"/>
                <a:gd name="connsiteY301" fmla="*/ 715900 h 2083084"/>
                <a:gd name="connsiteX302" fmla="*/ 787524 w 4280270"/>
                <a:gd name="connsiteY302" fmla="*/ 748462 h 2083084"/>
                <a:gd name="connsiteX303" fmla="*/ 812456 w 4280270"/>
                <a:gd name="connsiteY303" fmla="*/ 748462 h 2083084"/>
                <a:gd name="connsiteX304" fmla="*/ 812456 w 4280270"/>
                <a:gd name="connsiteY304" fmla="*/ 715900 h 2083084"/>
                <a:gd name="connsiteX305" fmla="*/ 799990 w 4280270"/>
                <a:gd name="connsiteY305" fmla="*/ 672639 h 2083084"/>
                <a:gd name="connsiteX306" fmla="*/ 900260 w 4280270"/>
                <a:gd name="connsiteY306" fmla="*/ 664731 h 2083084"/>
                <a:gd name="connsiteX307" fmla="*/ 947414 w 4280270"/>
                <a:gd name="connsiteY307" fmla="*/ 694502 h 2083084"/>
                <a:gd name="connsiteX308" fmla="*/ 998362 w 4280270"/>
                <a:gd name="connsiteY308" fmla="*/ 715900 h 2083084"/>
                <a:gd name="connsiteX309" fmla="*/ 998362 w 4280270"/>
                <a:gd name="connsiteY309" fmla="*/ 705201 h 2083084"/>
                <a:gd name="connsiteX310" fmla="*/ 947414 w 4280270"/>
                <a:gd name="connsiteY310" fmla="*/ 654032 h 2083084"/>
                <a:gd name="connsiteX311" fmla="*/ 935490 w 4280270"/>
                <a:gd name="connsiteY311" fmla="*/ 578209 h 2083084"/>
                <a:gd name="connsiteX312" fmla="*/ 960422 w 4280270"/>
                <a:gd name="connsiteY312" fmla="*/ 472615 h 2083084"/>
                <a:gd name="connsiteX313" fmla="*/ 998362 w 4280270"/>
                <a:gd name="connsiteY313" fmla="*/ 483779 h 2083084"/>
                <a:gd name="connsiteX314" fmla="*/ 1036302 w 4280270"/>
                <a:gd name="connsiteY314" fmla="*/ 567510 h 2083084"/>
                <a:gd name="connsiteX315" fmla="*/ 1121396 w 4280270"/>
                <a:gd name="connsiteY315" fmla="*/ 694502 h 2083084"/>
                <a:gd name="connsiteX316" fmla="*/ 1121396 w 4280270"/>
                <a:gd name="connsiteY316" fmla="*/ 748462 h 2083084"/>
                <a:gd name="connsiteX317" fmla="*/ 1095922 w 4280270"/>
                <a:gd name="connsiteY317" fmla="*/ 821494 h 2083084"/>
                <a:gd name="connsiteX318" fmla="*/ 1048768 w 4280270"/>
                <a:gd name="connsiteY318" fmla="*/ 843357 h 2083084"/>
                <a:gd name="connsiteX319" fmla="*/ 1108388 w 4280270"/>
                <a:gd name="connsiteY319" fmla="*/ 853591 h 2083084"/>
                <a:gd name="connsiteX320" fmla="*/ 1159335 w 4280270"/>
                <a:gd name="connsiteY320" fmla="*/ 843357 h 2083084"/>
                <a:gd name="connsiteX321" fmla="*/ 1183725 w 4280270"/>
                <a:gd name="connsiteY321" fmla="*/ 778233 h 2083084"/>
                <a:gd name="connsiteX322" fmla="*/ 1159335 w 4280270"/>
                <a:gd name="connsiteY322" fmla="*/ 727064 h 2083084"/>
                <a:gd name="connsiteX323" fmla="*/ 1193481 w 4280270"/>
                <a:gd name="connsiteY323" fmla="*/ 694502 h 2083084"/>
                <a:gd name="connsiteX324" fmla="*/ 1218955 w 4280270"/>
                <a:gd name="connsiteY324" fmla="*/ 694502 h 2083084"/>
                <a:gd name="connsiteX325" fmla="*/ 1275003 w 4280270"/>
                <a:gd name="connsiteY325" fmla="*/ 728946 h 2083084"/>
                <a:gd name="connsiteX326" fmla="*/ 1281827 w 4280270"/>
                <a:gd name="connsiteY326" fmla="*/ 737763 h 2083084"/>
                <a:gd name="connsiteX327" fmla="*/ 1306759 w 4280270"/>
                <a:gd name="connsiteY327" fmla="*/ 748462 h 2083084"/>
                <a:gd name="connsiteX328" fmla="*/ 1275003 w 4280270"/>
                <a:gd name="connsiteY328" fmla="*/ 728946 h 2083084"/>
                <a:gd name="connsiteX329" fmla="*/ 1231421 w 4280270"/>
                <a:gd name="connsiteY329" fmla="*/ 672639 h 2083084"/>
                <a:gd name="connsiteX330" fmla="*/ 1171801 w 4280270"/>
                <a:gd name="connsiteY330" fmla="*/ 672639 h 2083084"/>
                <a:gd name="connsiteX331" fmla="*/ 1133862 w 4280270"/>
                <a:gd name="connsiteY331" fmla="*/ 654032 h 2083084"/>
                <a:gd name="connsiteX332" fmla="*/ 1133862 w 4280270"/>
                <a:gd name="connsiteY332" fmla="*/ 632169 h 2083084"/>
                <a:gd name="connsiteX333" fmla="*/ 1083456 w 4280270"/>
                <a:gd name="connsiteY333" fmla="*/ 556811 h 2083084"/>
                <a:gd name="connsiteX334" fmla="*/ 1083456 w 4280270"/>
                <a:gd name="connsiteY334" fmla="*/ 516341 h 2083084"/>
                <a:gd name="connsiteX335" fmla="*/ 1146328 w 4280270"/>
                <a:gd name="connsiteY335" fmla="*/ 556811 h 2083084"/>
                <a:gd name="connsiteX336" fmla="*/ 1206489 w 4280270"/>
                <a:gd name="connsiteY336" fmla="*/ 567510 h 2083084"/>
                <a:gd name="connsiteX337" fmla="*/ 1193481 w 4280270"/>
                <a:gd name="connsiteY337" fmla="*/ 537739 h 2083084"/>
                <a:gd name="connsiteX338" fmla="*/ 1146328 w 4280270"/>
                <a:gd name="connsiteY338" fmla="*/ 537739 h 2083084"/>
                <a:gd name="connsiteX339" fmla="*/ 1133862 w 4280270"/>
                <a:gd name="connsiteY339" fmla="*/ 527040 h 2083084"/>
                <a:gd name="connsiteX340" fmla="*/ 1183725 w 4280270"/>
                <a:gd name="connsiteY340" fmla="*/ 494478 h 2083084"/>
                <a:gd name="connsiteX341" fmla="*/ 1193481 w 4280270"/>
                <a:gd name="connsiteY341" fmla="*/ 472615 h 2083084"/>
                <a:gd name="connsiteX342" fmla="*/ 1218955 w 4280270"/>
                <a:gd name="connsiteY342" fmla="*/ 472615 h 2083084"/>
                <a:gd name="connsiteX343" fmla="*/ 1306759 w 4280270"/>
                <a:gd name="connsiteY343" fmla="*/ 505177 h 2083084"/>
                <a:gd name="connsiteX344" fmla="*/ 1341447 w 4280270"/>
                <a:gd name="connsiteY344" fmla="*/ 589373 h 2083084"/>
                <a:gd name="connsiteX345" fmla="*/ 1404861 w 4280270"/>
                <a:gd name="connsiteY345" fmla="*/ 632169 h 2083084"/>
                <a:gd name="connsiteX346" fmla="*/ 1379387 w 4280270"/>
                <a:gd name="connsiteY346" fmla="*/ 567510 h 2083084"/>
                <a:gd name="connsiteX347" fmla="*/ 1329523 w 4280270"/>
                <a:gd name="connsiteY347" fmla="*/ 505177 h 2083084"/>
                <a:gd name="connsiteX348" fmla="*/ 1306759 w 4280270"/>
                <a:gd name="connsiteY348" fmla="*/ 472615 h 2083084"/>
                <a:gd name="connsiteX349" fmla="*/ 1231421 w 4280270"/>
                <a:gd name="connsiteY349" fmla="*/ 464707 h 2083084"/>
                <a:gd name="connsiteX350" fmla="*/ 1218955 w 4280270"/>
                <a:gd name="connsiteY350" fmla="*/ 399583 h 2083084"/>
                <a:gd name="connsiteX351" fmla="*/ 1244429 w 4280270"/>
                <a:gd name="connsiteY351" fmla="*/ 388884 h 2083084"/>
                <a:gd name="connsiteX352" fmla="*/ 1319767 w 4280270"/>
                <a:gd name="connsiteY352" fmla="*/ 356787 h 2083084"/>
                <a:gd name="connsiteX353" fmla="*/ 1353913 w 4280270"/>
                <a:gd name="connsiteY353" fmla="*/ 367951 h 2083084"/>
                <a:gd name="connsiteX354" fmla="*/ 1319767 w 4280270"/>
                <a:gd name="connsiteY354" fmla="*/ 315852 h 2083084"/>
                <a:gd name="connsiteX355" fmla="*/ 1329523 w 4280270"/>
                <a:gd name="connsiteY355" fmla="*/ 251193 h 2083084"/>
                <a:gd name="connsiteX356" fmla="*/ 1404861 w 4280270"/>
                <a:gd name="connsiteY356" fmla="*/ 200024 h 2083084"/>
                <a:gd name="connsiteX357" fmla="*/ 1391853 w 4280270"/>
                <a:gd name="connsiteY357" fmla="*/ 178161 h 2083084"/>
                <a:gd name="connsiteX358" fmla="*/ 1429793 w 4280270"/>
                <a:gd name="connsiteY358" fmla="*/ 167462 h 2083084"/>
                <a:gd name="connsiteX359" fmla="*/ 1452015 w 4280270"/>
                <a:gd name="connsiteY359" fmla="*/ 178161 h 2083084"/>
                <a:gd name="connsiteX360" fmla="*/ 1527895 w 4280270"/>
                <a:gd name="connsiteY360" fmla="*/ 167462 h 2083084"/>
                <a:gd name="connsiteX361" fmla="*/ 1565835 w 4280270"/>
                <a:gd name="connsiteY361" fmla="*/ 124666 h 2083084"/>
                <a:gd name="connsiteX362" fmla="*/ 1587515 w 4280270"/>
                <a:gd name="connsiteY362" fmla="*/ 124666 h 2083084"/>
                <a:gd name="connsiteX363" fmla="*/ 1565835 w 4280270"/>
                <a:gd name="connsiteY363" fmla="*/ 105129 h 2083084"/>
                <a:gd name="connsiteX364" fmla="*/ 1577759 w 4280270"/>
                <a:gd name="connsiteY364" fmla="*/ 94430 h 2083084"/>
                <a:gd name="connsiteX365" fmla="*/ 1527895 w 4280270"/>
                <a:gd name="connsiteY365" fmla="*/ 73032 h 2083084"/>
                <a:gd name="connsiteX366" fmla="*/ 1527895 w 4280270"/>
                <a:gd name="connsiteY366" fmla="*/ 51634 h 2083084"/>
                <a:gd name="connsiteX367" fmla="*/ 1552827 w 4280270"/>
                <a:gd name="connsiteY367" fmla="*/ 7908 h 2083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</a:cxnLst>
              <a:rect l="l" t="t" r="r" b="b"/>
              <a:pathLst>
                <a:path w="4280270" h="2083084">
                  <a:moveTo>
                    <a:pt x="1577759" y="0"/>
                  </a:moveTo>
                  <a:lnTo>
                    <a:pt x="1602690" y="29771"/>
                  </a:lnTo>
                  <a:lnTo>
                    <a:pt x="1649844" y="51634"/>
                  </a:lnTo>
                  <a:lnTo>
                    <a:pt x="1675318" y="83731"/>
                  </a:lnTo>
                  <a:lnTo>
                    <a:pt x="1700792" y="83731"/>
                  </a:lnTo>
                  <a:lnTo>
                    <a:pt x="1700792" y="51634"/>
                  </a:lnTo>
                  <a:lnTo>
                    <a:pt x="1725724" y="40470"/>
                  </a:lnTo>
                  <a:lnTo>
                    <a:pt x="1789138" y="51634"/>
                  </a:lnTo>
                  <a:lnTo>
                    <a:pt x="1874232" y="73032"/>
                  </a:lnTo>
                  <a:lnTo>
                    <a:pt x="1874232" y="105129"/>
                  </a:lnTo>
                  <a:lnTo>
                    <a:pt x="1895912" y="145599"/>
                  </a:lnTo>
                  <a:lnTo>
                    <a:pt x="1883446" y="189325"/>
                  </a:lnTo>
                  <a:lnTo>
                    <a:pt x="1883446" y="221887"/>
                  </a:lnTo>
                  <a:lnTo>
                    <a:pt x="1861766" y="251193"/>
                  </a:lnTo>
                  <a:lnTo>
                    <a:pt x="1823826" y="335389"/>
                  </a:lnTo>
                  <a:lnTo>
                    <a:pt x="1836292" y="346088"/>
                  </a:lnTo>
                  <a:lnTo>
                    <a:pt x="1874232" y="305618"/>
                  </a:lnTo>
                  <a:lnTo>
                    <a:pt x="1908920" y="283755"/>
                  </a:lnTo>
                  <a:lnTo>
                    <a:pt x="1908920" y="251193"/>
                  </a:lnTo>
                  <a:lnTo>
                    <a:pt x="2022197" y="262357"/>
                  </a:lnTo>
                  <a:lnTo>
                    <a:pt x="2107291" y="243285"/>
                  </a:lnTo>
                  <a:lnTo>
                    <a:pt x="2119757" y="251193"/>
                  </a:lnTo>
                  <a:lnTo>
                    <a:pt x="2132223" y="262357"/>
                  </a:lnTo>
                  <a:lnTo>
                    <a:pt x="2242791" y="243285"/>
                  </a:lnTo>
                  <a:lnTo>
                    <a:pt x="2230325" y="210723"/>
                  </a:lnTo>
                  <a:lnTo>
                    <a:pt x="2255257" y="200024"/>
                  </a:lnTo>
                  <a:lnTo>
                    <a:pt x="2340350" y="200024"/>
                  </a:lnTo>
                  <a:lnTo>
                    <a:pt x="2403222" y="262357"/>
                  </a:lnTo>
                  <a:lnTo>
                    <a:pt x="2403222" y="283755"/>
                  </a:lnTo>
                  <a:lnTo>
                    <a:pt x="2437368" y="283755"/>
                  </a:lnTo>
                  <a:lnTo>
                    <a:pt x="2462842" y="315852"/>
                  </a:lnTo>
                  <a:lnTo>
                    <a:pt x="2526256" y="346088"/>
                  </a:lnTo>
                  <a:lnTo>
                    <a:pt x="2513248" y="305618"/>
                  </a:lnTo>
                  <a:lnTo>
                    <a:pt x="2576662" y="262357"/>
                  </a:lnTo>
                  <a:lnTo>
                    <a:pt x="2611350" y="273056"/>
                  </a:lnTo>
                  <a:lnTo>
                    <a:pt x="2661214" y="273056"/>
                  </a:lnTo>
                  <a:lnTo>
                    <a:pt x="2661214" y="251193"/>
                  </a:lnTo>
                  <a:lnTo>
                    <a:pt x="2686688" y="251193"/>
                  </a:lnTo>
                  <a:lnTo>
                    <a:pt x="2636282" y="189325"/>
                  </a:lnTo>
                  <a:lnTo>
                    <a:pt x="2686688" y="167462"/>
                  </a:lnTo>
                  <a:lnTo>
                    <a:pt x="2758774" y="167462"/>
                  </a:lnTo>
                  <a:lnTo>
                    <a:pt x="2771782" y="221887"/>
                  </a:lnTo>
                  <a:lnTo>
                    <a:pt x="2856875" y="145599"/>
                  </a:lnTo>
                  <a:lnTo>
                    <a:pt x="2907281" y="145599"/>
                  </a:lnTo>
                  <a:lnTo>
                    <a:pt x="2894815" y="200024"/>
                  </a:lnTo>
                  <a:lnTo>
                    <a:pt x="2957687" y="189325"/>
                  </a:lnTo>
                  <a:lnTo>
                    <a:pt x="3020559" y="221887"/>
                  </a:lnTo>
                  <a:lnTo>
                    <a:pt x="3055789" y="178161"/>
                  </a:lnTo>
                  <a:lnTo>
                    <a:pt x="3177739" y="178161"/>
                  </a:lnTo>
                  <a:lnTo>
                    <a:pt x="3228686" y="251193"/>
                  </a:lnTo>
                  <a:lnTo>
                    <a:pt x="3275840" y="251193"/>
                  </a:lnTo>
                  <a:lnTo>
                    <a:pt x="3326246" y="273056"/>
                  </a:lnTo>
                  <a:lnTo>
                    <a:pt x="3351720" y="221887"/>
                  </a:lnTo>
                  <a:lnTo>
                    <a:pt x="3474212" y="200024"/>
                  </a:lnTo>
                  <a:lnTo>
                    <a:pt x="3533832" y="243285"/>
                  </a:lnTo>
                  <a:lnTo>
                    <a:pt x="3559306" y="243285"/>
                  </a:lnTo>
                  <a:lnTo>
                    <a:pt x="3559306" y="210723"/>
                  </a:lnTo>
                  <a:lnTo>
                    <a:pt x="3496434" y="178161"/>
                  </a:lnTo>
                  <a:lnTo>
                    <a:pt x="3496434" y="167462"/>
                  </a:lnTo>
                  <a:lnTo>
                    <a:pt x="3571772" y="135365"/>
                  </a:lnTo>
                  <a:lnTo>
                    <a:pt x="3669332" y="135365"/>
                  </a:lnTo>
                  <a:lnTo>
                    <a:pt x="3805373" y="178161"/>
                  </a:lnTo>
                  <a:lnTo>
                    <a:pt x="3880711" y="189325"/>
                  </a:lnTo>
                  <a:lnTo>
                    <a:pt x="3869755" y="193776"/>
                  </a:lnTo>
                  <a:lnTo>
                    <a:pt x="3875363" y="194361"/>
                  </a:lnTo>
                  <a:lnTo>
                    <a:pt x="3886546" y="189824"/>
                  </a:lnTo>
                  <a:lnTo>
                    <a:pt x="3923966" y="211180"/>
                  </a:lnTo>
                  <a:lnTo>
                    <a:pt x="3946201" y="200502"/>
                  </a:lnTo>
                  <a:lnTo>
                    <a:pt x="3996636" y="222322"/>
                  </a:lnTo>
                  <a:lnTo>
                    <a:pt x="4069308" y="273391"/>
                  </a:lnTo>
                  <a:lnTo>
                    <a:pt x="4145232" y="243678"/>
                  </a:lnTo>
                  <a:lnTo>
                    <a:pt x="4217361" y="284069"/>
                  </a:lnTo>
                  <a:lnTo>
                    <a:pt x="4179398" y="346280"/>
                  </a:lnTo>
                  <a:lnTo>
                    <a:pt x="4280270" y="356958"/>
                  </a:lnTo>
                  <a:lnTo>
                    <a:pt x="4230376" y="399670"/>
                  </a:lnTo>
                  <a:lnTo>
                    <a:pt x="4145232" y="410813"/>
                  </a:lnTo>
                  <a:lnTo>
                    <a:pt x="4107270" y="378314"/>
                  </a:lnTo>
                  <a:lnTo>
                    <a:pt x="4009110" y="368101"/>
                  </a:lnTo>
                  <a:lnTo>
                    <a:pt x="3971148" y="346280"/>
                  </a:lnTo>
                  <a:lnTo>
                    <a:pt x="3984163" y="399670"/>
                  </a:lnTo>
                  <a:lnTo>
                    <a:pt x="4018330" y="421491"/>
                  </a:lnTo>
                  <a:lnTo>
                    <a:pt x="3958674" y="451204"/>
                  </a:lnTo>
                  <a:lnTo>
                    <a:pt x="3933185" y="443311"/>
                  </a:lnTo>
                  <a:lnTo>
                    <a:pt x="3899019" y="451204"/>
                  </a:lnTo>
                  <a:lnTo>
                    <a:pt x="3958674" y="494380"/>
                  </a:lnTo>
                  <a:lnTo>
                    <a:pt x="3996636" y="526878"/>
                  </a:lnTo>
                  <a:lnTo>
                    <a:pt x="4060088" y="526878"/>
                  </a:lnTo>
                  <a:lnTo>
                    <a:pt x="4043818" y="556591"/>
                  </a:lnTo>
                  <a:lnTo>
                    <a:pt x="4094254" y="589089"/>
                  </a:lnTo>
                  <a:lnTo>
                    <a:pt x="4009110" y="631801"/>
                  </a:lnTo>
                  <a:lnTo>
                    <a:pt x="3971148" y="820756"/>
                  </a:lnTo>
                  <a:lnTo>
                    <a:pt x="3923966" y="769687"/>
                  </a:lnTo>
                  <a:lnTo>
                    <a:pt x="3861056" y="788258"/>
                  </a:lnTo>
                  <a:lnTo>
                    <a:pt x="3798148" y="831898"/>
                  </a:lnTo>
                  <a:lnTo>
                    <a:pt x="3798148" y="852790"/>
                  </a:lnTo>
                  <a:lnTo>
                    <a:pt x="3811163" y="969320"/>
                  </a:lnTo>
                  <a:lnTo>
                    <a:pt x="3848583" y="947500"/>
                  </a:lnTo>
                  <a:lnTo>
                    <a:pt x="3861056" y="1023174"/>
                  </a:lnTo>
                  <a:lnTo>
                    <a:pt x="3848583" y="1065886"/>
                  </a:lnTo>
                  <a:lnTo>
                    <a:pt x="3886546" y="1128097"/>
                  </a:lnTo>
                  <a:lnTo>
                    <a:pt x="3873530" y="1160596"/>
                  </a:lnTo>
                  <a:lnTo>
                    <a:pt x="3886546" y="1200987"/>
                  </a:lnTo>
                  <a:lnTo>
                    <a:pt x="3861056" y="1211665"/>
                  </a:lnTo>
                  <a:lnTo>
                    <a:pt x="3861056" y="1263198"/>
                  </a:lnTo>
                  <a:lnTo>
                    <a:pt x="3823636" y="1338408"/>
                  </a:lnTo>
                  <a:lnTo>
                    <a:pt x="3785674" y="1263198"/>
                  </a:lnTo>
                  <a:lnTo>
                    <a:pt x="3738492" y="1233485"/>
                  </a:lnTo>
                  <a:lnTo>
                    <a:pt x="3675041" y="1085385"/>
                  </a:lnTo>
                  <a:lnTo>
                    <a:pt x="3675041" y="990676"/>
                  </a:lnTo>
                  <a:lnTo>
                    <a:pt x="3700530" y="936822"/>
                  </a:lnTo>
                  <a:lnTo>
                    <a:pt x="3726019" y="831898"/>
                  </a:lnTo>
                  <a:lnTo>
                    <a:pt x="3750966" y="777580"/>
                  </a:lnTo>
                  <a:lnTo>
                    <a:pt x="3738492" y="759009"/>
                  </a:lnTo>
                  <a:lnTo>
                    <a:pt x="3713003" y="682870"/>
                  </a:lnTo>
                  <a:lnTo>
                    <a:pt x="3700530" y="682870"/>
                  </a:lnTo>
                  <a:lnTo>
                    <a:pt x="3662568" y="777580"/>
                  </a:lnTo>
                  <a:lnTo>
                    <a:pt x="3650094" y="777580"/>
                  </a:lnTo>
                  <a:lnTo>
                    <a:pt x="3627859" y="747867"/>
                  </a:lnTo>
                  <a:lnTo>
                    <a:pt x="3577423" y="769687"/>
                  </a:lnTo>
                  <a:lnTo>
                    <a:pt x="3551934" y="874610"/>
                  </a:lnTo>
                  <a:lnTo>
                    <a:pt x="3577423" y="893645"/>
                  </a:lnTo>
                  <a:lnTo>
                    <a:pt x="3539461" y="928929"/>
                  </a:lnTo>
                  <a:lnTo>
                    <a:pt x="3479806" y="947500"/>
                  </a:lnTo>
                  <a:lnTo>
                    <a:pt x="3492279" y="907109"/>
                  </a:lnTo>
                  <a:lnTo>
                    <a:pt x="3416896" y="915001"/>
                  </a:lnTo>
                  <a:lnTo>
                    <a:pt x="3366461" y="947500"/>
                  </a:lnTo>
                  <a:lnTo>
                    <a:pt x="3255827" y="969320"/>
                  </a:lnTo>
                  <a:lnTo>
                    <a:pt x="3221119" y="1001818"/>
                  </a:lnTo>
                  <a:lnTo>
                    <a:pt x="3221119" y="1085385"/>
                  </a:lnTo>
                  <a:lnTo>
                    <a:pt x="3158210" y="1211665"/>
                  </a:lnTo>
                  <a:lnTo>
                    <a:pt x="3208646" y="1222807"/>
                  </a:lnTo>
                  <a:lnTo>
                    <a:pt x="3221119" y="1276197"/>
                  </a:lnTo>
                  <a:lnTo>
                    <a:pt x="3306263" y="1244163"/>
                  </a:lnTo>
                  <a:lnTo>
                    <a:pt x="3357241" y="1263198"/>
                  </a:lnTo>
                  <a:lnTo>
                    <a:pt x="3357241" y="1327730"/>
                  </a:lnTo>
                  <a:lnTo>
                    <a:pt x="3391407" y="1338408"/>
                  </a:lnTo>
                  <a:lnTo>
                    <a:pt x="3366461" y="1632286"/>
                  </a:lnTo>
                  <a:lnTo>
                    <a:pt x="3268301" y="1748351"/>
                  </a:lnTo>
                  <a:lnTo>
                    <a:pt x="3234134" y="1770172"/>
                  </a:lnTo>
                  <a:lnTo>
                    <a:pt x="3221119" y="1737673"/>
                  </a:lnTo>
                  <a:lnTo>
                    <a:pt x="3167972" y="1697283"/>
                  </a:lnTo>
                  <a:lnTo>
                    <a:pt x="3180445" y="1654106"/>
                  </a:lnTo>
                  <a:lnTo>
                    <a:pt x="3217865" y="1662463"/>
                  </a:lnTo>
                  <a:lnTo>
                    <a:pt x="3253116" y="1575646"/>
                  </a:lnTo>
                  <a:lnTo>
                    <a:pt x="3234134" y="1527363"/>
                  </a:lnTo>
                  <a:lnTo>
                    <a:pt x="3170683" y="1557075"/>
                  </a:lnTo>
                  <a:lnTo>
                    <a:pt x="3108316" y="1538505"/>
                  </a:lnTo>
                  <a:lnTo>
                    <a:pt x="3098554" y="1511114"/>
                  </a:lnTo>
                  <a:lnTo>
                    <a:pt x="3079573" y="1498114"/>
                  </a:lnTo>
                  <a:lnTo>
                    <a:pt x="3010156" y="1494864"/>
                  </a:lnTo>
                  <a:lnTo>
                    <a:pt x="2938028" y="1421975"/>
                  </a:lnTo>
                  <a:lnTo>
                    <a:pt x="2925012" y="1357443"/>
                  </a:lnTo>
                  <a:lnTo>
                    <a:pt x="2874576" y="1330516"/>
                  </a:lnTo>
                  <a:lnTo>
                    <a:pt x="2795940" y="1349086"/>
                  </a:lnTo>
                  <a:lnTo>
                    <a:pt x="2744962" y="1370906"/>
                  </a:lnTo>
                  <a:lnTo>
                    <a:pt x="2776959" y="1379263"/>
                  </a:lnTo>
                  <a:lnTo>
                    <a:pt x="2763943" y="1411297"/>
                  </a:lnTo>
                  <a:lnTo>
                    <a:pt x="2763943" y="1473508"/>
                  </a:lnTo>
                  <a:lnTo>
                    <a:pt x="2701576" y="1508328"/>
                  </a:lnTo>
                  <a:lnTo>
                    <a:pt x="2654394" y="1508328"/>
                  </a:lnTo>
                  <a:lnTo>
                    <a:pt x="2603416" y="1486972"/>
                  </a:lnTo>
                  <a:lnTo>
                    <a:pt x="2565454" y="1527363"/>
                  </a:lnTo>
                  <a:lnTo>
                    <a:pt x="2442347" y="1538505"/>
                  </a:lnTo>
                  <a:lnTo>
                    <a:pt x="2379980" y="1500436"/>
                  </a:lnTo>
                  <a:lnTo>
                    <a:pt x="2313817" y="1524577"/>
                  </a:lnTo>
                  <a:lnTo>
                    <a:pt x="2278566" y="1527363"/>
                  </a:lnTo>
                  <a:lnTo>
                    <a:pt x="2247654" y="1492543"/>
                  </a:lnTo>
                  <a:lnTo>
                    <a:pt x="2222165" y="1462366"/>
                  </a:lnTo>
                  <a:lnTo>
                    <a:pt x="2181491" y="1465616"/>
                  </a:lnTo>
                  <a:lnTo>
                    <a:pt x="2133767" y="1532934"/>
                  </a:lnTo>
                  <a:lnTo>
                    <a:pt x="2083874" y="1546397"/>
                  </a:lnTo>
                  <a:lnTo>
                    <a:pt x="2017710" y="1511114"/>
                  </a:lnTo>
                  <a:lnTo>
                    <a:pt x="1982460" y="1513899"/>
                  </a:lnTo>
                  <a:lnTo>
                    <a:pt x="1885384" y="1567753"/>
                  </a:lnTo>
                  <a:lnTo>
                    <a:pt x="1843626" y="1589574"/>
                  </a:lnTo>
                  <a:lnTo>
                    <a:pt x="1831152" y="1635536"/>
                  </a:lnTo>
                  <a:lnTo>
                    <a:pt x="1749262" y="1668034"/>
                  </a:lnTo>
                  <a:lnTo>
                    <a:pt x="1717808" y="1705175"/>
                  </a:lnTo>
                  <a:lnTo>
                    <a:pt x="1733535" y="1735352"/>
                  </a:lnTo>
                  <a:lnTo>
                    <a:pt x="1679845" y="1748351"/>
                  </a:lnTo>
                  <a:lnTo>
                    <a:pt x="1696115" y="1818455"/>
                  </a:lnTo>
                  <a:lnTo>
                    <a:pt x="1613682" y="1896915"/>
                  </a:lnTo>
                  <a:lnTo>
                    <a:pt x="1573008" y="1896915"/>
                  </a:lnTo>
                  <a:lnTo>
                    <a:pt x="1506845" y="1937306"/>
                  </a:lnTo>
                  <a:lnTo>
                    <a:pt x="1535046" y="1991160"/>
                  </a:lnTo>
                  <a:lnTo>
                    <a:pt x="1437428" y="2010195"/>
                  </a:lnTo>
                  <a:lnTo>
                    <a:pt x="1415193" y="1991160"/>
                  </a:lnTo>
                  <a:lnTo>
                    <a:pt x="1358250" y="2012981"/>
                  </a:lnTo>
                  <a:lnTo>
                    <a:pt x="1298594" y="2002303"/>
                  </a:lnTo>
                  <a:lnTo>
                    <a:pt x="1238939" y="2034801"/>
                  </a:lnTo>
                  <a:lnTo>
                    <a:pt x="1206942" y="2061264"/>
                  </a:lnTo>
                  <a:lnTo>
                    <a:pt x="1159760" y="2083084"/>
                  </a:lnTo>
                  <a:lnTo>
                    <a:pt x="1128306" y="2066835"/>
                  </a:lnTo>
                  <a:lnTo>
                    <a:pt x="1109325" y="2029230"/>
                  </a:lnTo>
                  <a:lnTo>
                    <a:pt x="1074616" y="2002303"/>
                  </a:lnTo>
                  <a:lnTo>
                    <a:pt x="1014961" y="1991160"/>
                  </a:lnTo>
                  <a:lnTo>
                    <a:pt x="936324" y="1988375"/>
                  </a:lnTo>
                  <a:lnTo>
                    <a:pt x="901616" y="2002303"/>
                  </a:lnTo>
                  <a:lnTo>
                    <a:pt x="904328" y="1947984"/>
                  </a:lnTo>
                  <a:lnTo>
                    <a:pt x="866365" y="1896915"/>
                  </a:lnTo>
                  <a:lnTo>
                    <a:pt x="904328" y="1896915"/>
                  </a:lnTo>
                  <a:lnTo>
                    <a:pt x="917343" y="1875095"/>
                  </a:lnTo>
                  <a:lnTo>
                    <a:pt x="791525" y="1802206"/>
                  </a:lnTo>
                  <a:lnTo>
                    <a:pt x="791525" y="1759494"/>
                  </a:lnTo>
                  <a:lnTo>
                    <a:pt x="803998" y="1726995"/>
                  </a:lnTo>
                  <a:lnTo>
                    <a:pt x="841961" y="1726995"/>
                  </a:lnTo>
                  <a:lnTo>
                    <a:pt x="854434" y="1697283"/>
                  </a:lnTo>
                  <a:lnTo>
                    <a:pt x="816472" y="1664784"/>
                  </a:lnTo>
                  <a:lnTo>
                    <a:pt x="756817" y="1697283"/>
                  </a:lnTo>
                  <a:lnTo>
                    <a:pt x="718854" y="1697283"/>
                  </a:lnTo>
                  <a:lnTo>
                    <a:pt x="680892" y="1697283"/>
                  </a:lnTo>
                  <a:lnTo>
                    <a:pt x="659199" y="1759494"/>
                  </a:lnTo>
                  <a:lnTo>
                    <a:pt x="659199" y="1770172"/>
                  </a:lnTo>
                  <a:lnTo>
                    <a:pt x="731327" y="1885773"/>
                  </a:lnTo>
                  <a:lnTo>
                    <a:pt x="769290" y="1907593"/>
                  </a:lnTo>
                  <a:lnTo>
                    <a:pt x="734581" y="1958662"/>
                  </a:lnTo>
                  <a:lnTo>
                    <a:pt x="721566" y="1947984"/>
                  </a:lnTo>
                  <a:lnTo>
                    <a:pt x="649437" y="1974911"/>
                  </a:lnTo>
                  <a:lnTo>
                    <a:pt x="621237" y="1931735"/>
                  </a:lnTo>
                  <a:lnTo>
                    <a:pt x="605509" y="1931735"/>
                  </a:lnTo>
                  <a:lnTo>
                    <a:pt x="589240" y="1921057"/>
                  </a:lnTo>
                  <a:lnTo>
                    <a:pt x="557785" y="1864417"/>
                  </a:lnTo>
                  <a:lnTo>
                    <a:pt x="510603" y="1853275"/>
                  </a:lnTo>
                  <a:lnTo>
                    <a:pt x="510603" y="1843061"/>
                  </a:lnTo>
                  <a:lnTo>
                    <a:pt x="485114" y="1802206"/>
                  </a:lnTo>
                  <a:lnTo>
                    <a:pt x="435221" y="1780850"/>
                  </a:lnTo>
                  <a:lnTo>
                    <a:pt x="397258" y="1759494"/>
                  </a:lnTo>
                  <a:lnTo>
                    <a:pt x="388039" y="1726995"/>
                  </a:lnTo>
                  <a:lnTo>
                    <a:pt x="397258" y="1686605"/>
                  </a:lnTo>
                  <a:lnTo>
                    <a:pt x="397258" y="1664784"/>
                  </a:lnTo>
                  <a:lnTo>
                    <a:pt x="356584" y="1651785"/>
                  </a:lnTo>
                  <a:lnTo>
                    <a:pt x="378277" y="1640643"/>
                  </a:lnTo>
                  <a:lnTo>
                    <a:pt x="369058" y="1632286"/>
                  </a:lnTo>
                  <a:lnTo>
                    <a:pt x="397258" y="1624393"/>
                  </a:lnTo>
                  <a:lnTo>
                    <a:pt x="390750" y="1595145"/>
                  </a:lnTo>
                  <a:lnTo>
                    <a:pt x="388039" y="1570539"/>
                  </a:lnTo>
                  <a:lnTo>
                    <a:pt x="362550" y="1527363"/>
                  </a:lnTo>
                  <a:lnTo>
                    <a:pt x="327841" y="1527363"/>
                  </a:lnTo>
                  <a:lnTo>
                    <a:pt x="302895" y="1508328"/>
                  </a:lnTo>
                  <a:lnTo>
                    <a:pt x="280660" y="1478615"/>
                  </a:lnTo>
                  <a:lnTo>
                    <a:pt x="214496" y="1476294"/>
                  </a:lnTo>
                  <a:lnTo>
                    <a:pt x="207989" y="1454474"/>
                  </a:lnTo>
                  <a:lnTo>
                    <a:pt x="226970" y="1411297"/>
                  </a:lnTo>
                  <a:lnTo>
                    <a:pt x="214496" y="1379263"/>
                  </a:lnTo>
                  <a:lnTo>
                    <a:pt x="189007" y="1370906"/>
                  </a:lnTo>
                  <a:lnTo>
                    <a:pt x="176534" y="1349086"/>
                  </a:lnTo>
                  <a:lnTo>
                    <a:pt x="139114" y="1343979"/>
                  </a:lnTo>
                  <a:lnTo>
                    <a:pt x="78374" y="1319838"/>
                  </a:lnTo>
                  <a:lnTo>
                    <a:pt x="59935" y="1308695"/>
                  </a:lnTo>
                  <a:lnTo>
                    <a:pt x="84882" y="1252055"/>
                  </a:lnTo>
                  <a:lnTo>
                    <a:pt x="59935" y="1203308"/>
                  </a:lnTo>
                  <a:lnTo>
                    <a:pt x="82170" y="1190309"/>
                  </a:lnTo>
                  <a:lnTo>
                    <a:pt x="91390" y="1182416"/>
                  </a:lnTo>
                  <a:lnTo>
                    <a:pt x="107117" y="1171274"/>
                  </a:lnTo>
                  <a:lnTo>
                    <a:pt x="84882" y="1138775"/>
                  </a:lnTo>
                  <a:lnTo>
                    <a:pt x="75663" y="1120205"/>
                  </a:lnTo>
                  <a:lnTo>
                    <a:pt x="122844" y="1109527"/>
                  </a:lnTo>
                  <a:lnTo>
                    <a:pt x="138210" y="1068311"/>
                  </a:lnTo>
                  <a:lnTo>
                    <a:pt x="138210" y="1054080"/>
                  </a:lnTo>
                  <a:lnTo>
                    <a:pt x="81300" y="970349"/>
                  </a:lnTo>
                  <a:lnTo>
                    <a:pt x="81300" y="929879"/>
                  </a:lnTo>
                  <a:lnTo>
                    <a:pt x="59620" y="894526"/>
                  </a:lnTo>
                  <a:lnTo>
                    <a:pt x="56368" y="859173"/>
                  </a:lnTo>
                  <a:lnTo>
                    <a:pt x="24932" y="810795"/>
                  </a:lnTo>
                  <a:lnTo>
                    <a:pt x="21680" y="764743"/>
                  </a:lnTo>
                  <a:lnTo>
                    <a:pt x="0" y="721482"/>
                  </a:lnTo>
                  <a:lnTo>
                    <a:pt x="12466" y="688920"/>
                  </a:lnTo>
                  <a:lnTo>
                    <a:pt x="40650" y="683338"/>
                  </a:lnTo>
                  <a:lnTo>
                    <a:pt x="53116" y="683338"/>
                  </a:lnTo>
                  <a:lnTo>
                    <a:pt x="87804" y="715900"/>
                  </a:lnTo>
                  <a:lnTo>
                    <a:pt x="125744" y="737763"/>
                  </a:lnTo>
                  <a:lnTo>
                    <a:pt x="197830" y="737763"/>
                  </a:lnTo>
                  <a:lnTo>
                    <a:pt x="248778" y="759626"/>
                  </a:lnTo>
                  <a:lnTo>
                    <a:pt x="333871" y="843357"/>
                  </a:lnTo>
                  <a:lnTo>
                    <a:pt x="295932" y="875454"/>
                  </a:lnTo>
                  <a:lnTo>
                    <a:pt x="248778" y="886153"/>
                  </a:lnTo>
                  <a:lnTo>
                    <a:pt x="197830" y="875454"/>
                  </a:lnTo>
                  <a:lnTo>
                    <a:pt x="125744" y="853591"/>
                  </a:lnTo>
                  <a:lnTo>
                    <a:pt x="147966" y="875454"/>
                  </a:lnTo>
                  <a:lnTo>
                    <a:pt x="197830" y="908016"/>
                  </a:lnTo>
                  <a:lnTo>
                    <a:pt x="185364" y="959185"/>
                  </a:lnTo>
                  <a:lnTo>
                    <a:pt x="248778" y="1002911"/>
                  </a:lnTo>
                  <a:lnTo>
                    <a:pt x="248778" y="981048"/>
                  </a:lnTo>
                  <a:lnTo>
                    <a:pt x="261244" y="948486"/>
                  </a:lnTo>
                  <a:lnTo>
                    <a:pt x="320863" y="981048"/>
                  </a:lnTo>
                  <a:lnTo>
                    <a:pt x="333871" y="959185"/>
                  </a:lnTo>
                  <a:lnTo>
                    <a:pt x="320863" y="937787"/>
                  </a:lnTo>
                  <a:lnTo>
                    <a:pt x="358803" y="894526"/>
                  </a:lnTo>
                  <a:lnTo>
                    <a:pt x="393491" y="886153"/>
                  </a:lnTo>
                  <a:lnTo>
                    <a:pt x="418965" y="864755"/>
                  </a:lnTo>
                  <a:lnTo>
                    <a:pt x="405957" y="810795"/>
                  </a:lnTo>
                  <a:lnTo>
                    <a:pt x="418965" y="778233"/>
                  </a:lnTo>
                  <a:lnTo>
                    <a:pt x="456905" y="770325"/>
                  </a:lnTo>
                  <a:lnTo>
                    <a:pt x="456905" y="821494"/>
                  </a:lnTo>
                  <a:lnTo>
                    <a:pt x="469371" y="843357"/>
                  </a:lnTo>
                  <a:lnTo>
                    <a:pt x="506769" y="810795"/>
                  </a:lnTo>
                  <a:lnTo>
                    <a:pt x="541999" y="810795"/>
                  </a:lnTo>
                  <a:lnTo>
                    <a:pt x="553923" y="778233"/>
                  </a:lnTo>
                  <a:lnTo>
                    <a:pt x="642269" y="737763"/>
                  </a:lnTo>
                  <a:lnTo>
                    <a:pt x="655277" y="759626"/>
                  </a:lnTo>
                  <a:lnTo>
                    <a:pt x="676957" y="770325"/>
                  </a:lnTo>
                  <a:lnTo>
                    <a:pt x="778310" y="715900"/>
                  </a:lnTo>
                  <a:lnTo>
                    <a:pt x="787524" y="748462"/>
                  </a:lnTo>
                  <a:lnTo>
                    <a:pt x="812456" y="748462"/>
                  </a:lnTo>
                  <a:lnTo>
                    <a:pt x="812456" y="715900"/>
                  </a:lnTo>
                  <a:lnTo>
                    <a:pt x="799990" y="672639"/>
                  </a:lnTo>
                  <a:lnTo>
                    <a:pt x="900260" y="664731"/>
                  </a:lnTo>
                  <a:lnTo>
                    <a:pt x="947414" y="694502"/>
                  </a:lnTo>
                  <a:lnTo>
                    <a:pt x="998362" y="715900"/>
                  </a:lnTo>
                  <a:lnTo>
                    <a:pt x="998362" y="705201"/>
                  </a:lnTo>
                  <a:lnTo>
                    <a:pt x="947414" y="654032"/>
                  </a:lnTo>
                  <a:lnTo>
                    <a:pt x="935490" y="578209"/>
                  </a:lnTo>
                  <a:lnTo>
                    <a:pt x="960422" y="472615"/>
                  </a:lnTo>
                  <a:lnTo>
                    <a:pt x="998362" y="483779"/>
                  </a:lnTo>
                  <a:lnTo>
                    <a:pt x="1036302" y="567510"/>
                  </a:lnTo>
                  <a:lnTo>
                    <a:pt x="1121396" y="694502"/>
                  </a:lnTo>
                  <a:lnTo>
                    <a:pt x="1121396" y="748462"/>
                  </a:lnTo>
                  <a:lnTo>
                    <a:pt x="1095922" y="821494"/>
                  </a:lnTo>
                  <a:lnTo>
                    <a:pt x="1048768" y="843357"/>
                  </a:lnTo>
                  <a:lnTo>
                    <a:pt x="1108388" y="853591"/>
                  </a:lnTo>
                  <a:lnTo>
                    <a:pt x="1159335" y="843357"/>
                  </a:lnTo>
                  <a:lnTo>
                    <a:pt x="1183725" y="778233"/>
                  </a:lnTo>
                  <a:lnTo>
                    <a:pt x="1159335" y="727064"/>
                  </a:lnTo>
                  <a:lnTo>
                    <a:pt x="1193481" y="694502"/>
                  </a:lnTo>
                  <a:lnTo>
                    <a:pt x="1218955" y="694502"/>
                  </a:lnTo>
                  <a:lnTo>
                    <a:pt x="1275003" y="728946"/>
                  </a:lnTo>
                  <a:lnTo>
                    <a:pt x="1281827" y="737763"/>
                  </a:lnTo>
                  <a:lnTo>
                    <a:pt x="1306759" y="748462"/>
                  </a:lnTo>
                  <a:lnTo>
                    <a:pt x="1275003" y="728946"/>
                  </a:lnTo>
                  <a:lnTo>
                    <a:pt x="1231421" y="672639"/>
                  </a:lnTo>
                  <a:lnTo>
                    <a:pt x="1171801" y="672639"/>
                  </a:lnTo>
                  <a:lnTo>
                    <a:pt x="1133862" y="654032"/>
                  </a:lnTo>
                  <a:lnTo>
                    <a:pt x="1133862" y="632169"/>
                  </a:lnTo>
                  <a:lnTo>
                    <a:pt x="1083456" y="556811"/>
                  </a:lnTo>
                  <a:lnTo>
                    <a:pt x="1083456" y="516341"/>
                  </a:lnTo>
                  <a:lnTo>
                    <a:pt x="1146328" y="556811"/>
                  </a:lnTo>
                  <a:lnTo>
                    <a:pt x="1206489" y="567510"/>
                  </a:lnTo>
                  <a:lnTo>
                    <a:pt x="1193481" y="537739"/>
                  </a:lnTo>
                  <a:lnTo>
                    <a:pt x="1146328" y="537739"/>
                  </a:lnTo>
                  <a:lnTo>
                    <a:pt x="1133862" y="527040"/>
                  </a:lnTo>
                  <a:lnTo>
                    <a:pt x="1183725" y="494478"/>
                  </a:lnTo>
                  <a:lnTo>
                    <a:pt x="1193481" y="472615"/>
                  </a:lnTo>
                  <a:lnTo>
                    <a:pt x="1218955" y="472615"/>
                  </a:lnTo>
                  <a:lnTo>
                    <a:pt x="1306759" y="505177"/>
                  </a:lnTo>
                  <a:lnTo>
                    <a:pt x="1341447" y="589373"/>
                  </a:lnTo>
                  <a:lnTo>
                    <a:pt x="1404861" y="632169"/>
                  </a:lnTo>
                  <a:lnTo>
                    <a:pt x="1379387" y="567510"/>
                  </a:lnTo>
                  <a:lnTo>
                    <a:pt x="1329523" y="505177"/>
                  </a:lnTo>
                  <a:lnTo>
                    <a:pt x="1306759" y="472615"/>
                  </a:lnTo>
                  <a:lnTo>
                    <a:pt x="1231421" y="464707"/>
                  </a:lnTo>
                  <a:lnTo>
                    <a:pt x="1218955" y="399583"/>
                  </a:lnTo>
                  <a:lnTo>
                    <a:pt x="1244429" y="388884"/>
                  </a:lnTo>
                  <a:lnTo>
                    <a:pt x="1319767" y="356787"/>
                  </a:lnTo>
                  <a:lnTo>
                    <a:pt x="1353913" y="367951"/>
                  </a:lnTo>
                  <a:lnTo>
                    <a:pt x="1319767" y="315852"/>
                  </a:lnTo>
                  <a:lnTo>
                    <a:pt x="1329523" y="251193"/>
                  </a:lnTo>
                  <a:lnTo>
                    <a:pt x="1404861" y="200024"/>
                  </a:lnTo>
                  <a:lnTo>
                    <a:pt x="1391853" y="178161"/>
                  </a:lnTo>
                  <a:lnTo>
                    <a:pt x="1429793" y="167462"/>
                  </a:lnTo>
                  <a:lnTo>
                    <a:pt x="1452015" y="178161"/>
                  </a:lnTo>
                  <a:lnTo>
                    <a:pt x="1527895" y="167462"/>
                  </a:lnTo>
                  <a:lnTo>
                    <a:pt x="1565835" y="124666"/>
                  </a:lnTo>
                  <a:lnTo>
                    <a:pt x="1587515" y="124666"/>
                  </a:lnTo>
                  <a:lnTo>
                    <a:pt x="1565835" y="105129"/>
                  </a:lnTo>
                  <a:lnTo>
                    <a:pt x="1577759" y="94430"/>
                  </a:lnTo>
                  <a:lnTo>
                    <a:pt x="1527895" y="73032"/>
                  </a:lnTo>
                  <a:lnTo>
                    <a:pt x="1527895" y="51634"/>
                  </a:lnTo>
                  <a:lnTo>
                    <a:pt x="1552827" y="7908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wrap="square" lIns="72000" tIns="72000" rIns="36000" bIns="36000">
              <a:no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8" name="Freeform 930"/>
            <p:cNvSpPr>
              <a:spLocks/>
            </p:cNvSpPr>
            <p:nvPr/>
          </p:nvSpPr>
          <p:spPr bwMode="auto">
            <a:xfrm>
              <a:off x="6604482" y="2986257"/>
              <a:ext cx="79910" cy="64941"/>
            </a:xfrm>
            <a:custGeom>
              <a:avLst/>
              <a:gdLst>
                <a:gd name="T0" fmla="*/ 0 w 152"/>
                <a:gd name="T1" fmla="*/ 2147483647 h 128"/>
                <a:gd name="T2" fmla="*/ 2147483647 w 152"/>
                <a:gd name="T3" fmla="*/ 0 h 128"/>
                <a:gd name="T4" fmla="*/ 2147483647 w 152"/>
                <a:gd name="T5" fmla="*/ 2147483647 h 128"/>
                <a:gd name="T6" fmla="*/ 2147483647 w 152"/>
                <a:gd name="T7" fmla="*/ 2147483647 h 128"/>
                <a:gd name="T8" fmla="*/ 2147483647 w 152"/>
                <a:gd name="T9" fmla="*/ 2147483647 h 128"/>
                <a:gd name="T10" fmla="*/ 2147483647 w 152"/>
                <a:gd name="T11" fmla="*/ 2147483647 h 128"/>
                <a:gd name="T12" fmla="*/ 2147483647 w 152"/>
                <a:gd name="T13" fmla="*/ 2147483647 h 128"/>
                <a:gd name="T14" fmla="*/ 2147483647 w 152"/>
                <a:gd name="T15" fmla="*/ 2147483647 h 128"/>
                <a:gd name="T16" fmla="*/ 0 w 152"/>
                <a:gd name="T17" fmla="*/ 2147483647 h 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2"/>
                <a:gd name="T28" fmla="*/ 0 h 128"/>
                <a:gd name="T29" fmla="*/ 152 w 152"/>
                <a:gd name="T30" fmla="*/ 128 h 1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2" h="128">
                  <a:moveTo>
                    <a:pt x="0" y="12"/>
                  </a:moveTo>
                  <a:lnTo>
                    <a:pt x="35" y="0"/>
                  </a:lnTo>
                  <a:lnTo>
                    <a:pt x="87" y="17"/>
                  </a:lnTo>
                  <a:lnTo>
                    <a:pt x="152" y="93"/>
                  </a:lnTo>
                  <a:lnTo>
                    <a:pt x="111" y="122"/>
                  </a:lnTo>
                  <a:lnTo>
                    <a:pt x="82" y="128"/>
                  </a:lnTo>
                  <a:lnTo>
                    <a:pt x="18" y="111"/>
                  </a:lnTo>
                  <a:lnTo>
                    <a:pt x="18" y="59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29" name="Freeform 931"/>
            <p:cNvSpPr>
              <a:spLocks/>
            </p:cNvSpPr>
            <p:nvPr/>
          </p:nvSpPr>
          <p:spPr bwMode="auto">
            <a:xfrm>
              <a:off x="9166650" y="4125209"/>
              <a:ext cx="124862" cy="164850"/>
            </a:xfrm>
            <a:custGeom>
              <a:avLst/>
              <a:gdLst>
                <a:gd name="T0" fmla="*/ 0 w 232"/>
                <a:gd name="T1" fmla="*/ 0 h 354"/>
                <a:gd name="T2" fmla="*/ 2147483647 w 232"/>
                <a:gd name="T3" fmla="*/ 2147483647 h 354"/>
                <a:gd name="T4" fmla="*/ 2147483647 w 232"/>
                <a:gd name="T5" fmla="*/ 2147483647 h 354"/>
                <a:gd name="T6" fmla="*/ 2147483647 w 232"/>
                <a:gd name="T7" fmla="*/ 2147483647 h 354"/>
                <a:gd name="T8" fmla="*/ 2147483647 w 232"/>
                <a:gd name="T9" fmla="*/ 2147483647 h 354"/>
                <a:gd name="T10" fmla="*/ 2147483647 w 232"/>
                <a:gd name="T11" fmla="*/ 2147483647 h 354"/>
                <a:gd name="T12" fmla="*/ 2147483647 w 232"/>
                <a:gd name="T13" fmla="*/ 2147483647 h 354"/>
                <a:gd name="T14" fmla="*/ 2147483647 w 232"/>
                <a:gd name="T15" fmla="*/ 2147483647 h 354"/>
                <a:gd name="T16" fmla="*/ 2147483647 w 232"/>
                <a:gd name="T17" fmla="*/ 2147483647 h 354"/>
                <a:gd name="T18" fmla="*/ 2147483647 w 232"/>
                <a:gd name="T19" fmla="*/ 2147483647 h 354"/>
                <a:gd name="T20" fmla="*/ 0 w 232"/>
                <a:gd name="T21" fmla="*/ 0 h 3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2"/>
                <a:gd name="T34" fmla="*/ 0 h 354"/>
                <a:gd name="T35" fmla="*/ 232 w 232"/>
                <a:gd name="T36" fmla="*/ 354 h 35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2" h="354">
                  <a:moveTo>
                    <a:pt x="0" y="0"/>
                  </a:moveTo>
                  <a:lnTo>
                    <a:pt x="23" y="110"/>
                  </a:lnTo>
                  <a:lnTo>
                    <a:pt x="70" y="244"/>
                  </a:lnTo>
                  <a:lnTo>
                    <a:pt x="232" y="354"/>
                  </a:lnTo>
                  <a:lnTo>
                    <a:pt x="232" y="255"/>
                  </a:lnTo>
                  <a:lnTo>
                    <a:pt x="187" y="220"/>
                  </a:lnTo>
                  <a:lnTo>
                    <a:pt x="187" y="87"/>
                  </a:lnTo>
                  <a:lnTo>
                    <a:pt x="145" y="12"/>
                  </a:lnTo>
                  <a:lnTo>
                    <a:pt x="70" y="12"/>
                  </a:lnTo>
                  <a:lnTo>
                    <a:pt x="12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  <p:sp>
          <p:nvSpPr>
            <p:cNvPr id="330" name="Freeform 932"/>
            <p:cNvSpPr>
              <a:spLocks/>
            </p:cNvSpPr>
            <p:nvPr/>
          </p:nvSpPr>
          <p:spPr bwMode="auto">
            <a:xfrm>
              <a:off x="9471313" y="4734649"/>
              <a:ext cx="1268600" cy="964113"/>
            </a:xfrm>
            <a:custGeom>
              <a:avLst/>
              <a:gdLst>
                <a:gd name="T0" fmla="*/ 2147483647 w 2343"/>
                <a:gd name="T1" fmla="*/ 2147483647 h 2074"/>
                <a:gd name="T2" fmla="*/ 2147483647 w 2343"/>
                <a:gd name="T3" fmla="*/ 2147483647 h 2074"/>
                <a:gd name="T4" fmla="*/ 2147483647 w 2343"/>
                <a:gd name="T5" fmla="*/ 2147483647 h 2074"/>
                <a:gd name="T6" fmla="*/ 2147483647 w 2343"/>
                <a:gd name="T7" fmla="*/ 2147483647 h 2074"/>
                <a:gd name="T8" fmla="*/ 2147483647 w 2343"/>
                <a:gd name="T9" fmla="*/ 2147483647 h 2074"/>
                <a:gd name="T10" fmla="*/ 2147483647 w 2343"/>
                <a:gd name="T11" fmla="*/ 2147483647 h 2074"/>
                <a:gd name="T12" fmla="*/ 2147483647 w 2343"/>
                <a:gd name="T13" fmla="*/ 2147483647 h 2074"/>
                <a:gd name="T14" fmla="*/ 2147483647 w 2343"/>
                <a:gd name="T15" fmla="*/ 2147483647 h 2074"/>
                <a:gd name="T16" fmla="*/ 2147483647 w 2343"/>
                <a:gd name="T17" fmla="*/ 2147483647 h 2074"/>
                <a:gd name="T18" fmla="*/ 2147483647 w 2343"/>
                <a:gd name="T19" fmla="*/ 2147483647 h 2074"/>
                <a:gd name="T20" fmla="*/ 2147483647 w 2343"/>
                <a:gd name="T21" fmla="*/ 2147483647 h 2074"/>
                <a:gd name="T22" fmla="*/ 2147483647 w 2343"/>
                <a:gd name="T23" fmla="*/ 2147483647 h 2074"/>
                <a:gd name="T24" fmla="*/ 2147483647 w 2343"/>
                <a:gd name="T25" fmla="*/ 2147483647 h 2074"/>
                <a:gd name="T26" fmla="*/ 2147483647 w 2343"/>
                <a:gd name="T27" fmla="*/ 2147483647 h 2074"/>
                <a:gd name="T28" fmla="*/ 2147483647 w 2343"/>
                <a:gd name="T29" fmla="*/ 2147483647 h 2074"/>
                <a:gd name="T30" fmla="*/ 2147483647 w 2343"/>
                <a:gd name="T31" fmla="*/ 2147483647 h 2074"/>
                <a:gd name="T32" fmla="*/ 2147483647 w 2343"/>
                <a:gd name="T33" fmla="*/ 2147483647 h 2074"/>
                <a:gd name="T34" fmla="*/ 2147483647 w 2343"/>
                <a:gd name="T35" fmla="*/ 2147483647 h 2074"/>
                <a:gd name="T36" fmla="*/ 2147483647 w 2343"/>
                <a:gd name="T37" fmla="*/ 2147483647 h 2074"/>
                <a:gd name="T38" fmla="*/ 2147483647 w 2343"/>
                <a:gd name="T39" fmla="*/ 2147483647 h 2074"/>
                <a:gd name="T40" fmla="*/ 2147483647 w 2343"/>
                <a:gd name="T41" fmla="*/ 2147483647 h 2074"/>
                <a:gd name="T42" fmla="*/ 2147483647 w 2343"/>
                <a:gd name="T43" fmla="*/ 2147483647 h 2074"/>
                <a:gd name="T44" fmla="*/ 2147483647 w 2343"/>
                <a:gd name="T45" fmla="*/ 2147483647 h 2074"/>
                <a:gd name="T46" fmla="*/ 2147483647 w 2343"/>
                <a:gd name="T47" fmla="*/ 2147483647 h 2074"/>
                <a:gd name="T48" fmla="*/ 2147483647 w 2343"/>
                <a:gd name="T49" fmla="*/ 2147483647 h 2074"/>
                <a:gd name="T50" fmla="*/ 2147483647 w 2343"/>
                <a:gd name="T51" fmla="*/ 2147483647 h 2074"/>
                <a:gd name="T52" fmla="*/ 2147483647 w 2343"/>
                <a:gd name="T53" fmla="*/ 2147483647 h 2074"/>
                <a:gd name="T54" fmla="*/ 2147483647 w 2343"/>
                <a:gd name="T55" fmla="*/ 2147483647 h 2074"/>
                <a:gd name="T56" fmla="*/ 2147483647 w 2343"/>
                <a:gd name="T57" fmla="*/ 2147483647 h 2074"/>
                <a:gd name="T58" fmla="*/ 2147483647 w 2343"/>
                <a:gd name="T59" fmla="*/ 2147483647 h 2074"/>
                <a:gd name="T60" fmla="*/ 2147483647 w 2343"/>
                <a:gd name="T61" fmla="*/ 2147483647 h 2074"/>
                <a:gd name="T62" fmla="*/ 2147483647 w 2343"/>
                <a:gd name="T63" fmla="*/ 2147483647 h 2074"/>
                <a:gd name="T64" fmla="*/ 2147483647 w 2343"/>
                <a:gd name="T65" fmla="*/ 2147483647 h 2074"/>
                <a:gd name="T66" fmla="*/ 2147483647 w 2343"/>
                <a:gd name="T67" fmla="*/ 2147483647 h 2074"/>
                <a:gd name="T68" fmla="*/ 2147483647 w 2343"/>
                <a:gd name="T69" fmla="*/ 2147483647 h 2074"/>
                <a:gd name="T70" fmla="*/ 2147483647 w 2343"/>
                <a:gd name="T71" fmla="*/ 2147483647 h 2074"/>
                <a:gd name="T72" fmla="*/ 2147483647 w 2343"/>
                <a:gd name="T73" fmla="*/ 2147483647 h 2074"/>
                <a:gd name="T74" fmla="*/ 2147483647 w 2343"/>
                <a:gd name="T75" fmla="*/ 2147483647 h 2074"/>
                <a:gd name="T76" fmla="*/ 2147483647 w 2343"/>
                <a:gd name="T77" fmla="*/ 2147483647 h 2074"/>
                <a:gd name="T78" fmla="*/ 2147483647 w 2343"/>
                <a:gd name="T79" fmla="*/ 2147483647 h 2074"/>
                <a:gd name="T80" fmla="*/ 2147483647 w 2343"/>
                <a:gd name="T81" fmla="*/ 2147483647 h 2074"/>
                <a:gd name="T82" fmla="*/ 2147483647 w 2343"/>
                <a:gd name="T83" fmla="*/ 2147483647 h 2074"/>
                <a:gd name="T84" fmla="*/ 2147483647 w 2343"/>
                <a:gd name="T85" fmla="*/ 2147483647 h 2074"/>
                <a:gd name="T86" fmla="*/ 2147483647 w 2343"/>
                <a:gd name="T87" fmla="*/ 2147483647 h 2074"/>
                <a:gd name="T88" fmla="*/ 2147483647 w 2343"/>
                <a:gd name="T89" fmla="*/ 2147483647 h 2074"/>
                <a:gd name="T90" fmla="*/ 2147483647 w 2343"/>
                <a:gd name="T91" fmla="*/ 2147483647 h 2074"/>
                <a:gd name="T92" fmla="*/ 2147483647 w 2343"/>
                <a:gd name="T93" fmla="*/ 2147483647 h 2074"/>
                <a:gd name="T94" fmla="*/ 2147483647 w 2343"/>
                <a:gd name="T95" fmla="*/ 2147483647 h 2074"/>
                <a:gd name="T96" fmla="*/ 2147483647 w 2343"/>
                <a:gd name="T97" fmla="*/ 0 h 20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343"/>
                <a:gd name="T148" fmla="*/ 0 h 2074"/>
                <a:gd name="T149" fmla="*/ 2343 w 2343"/>
                <a:gd name="T150" fmla="*/ 2074 h 20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343" h="2074">
                  <a:moveTo>
                    <a:pt x="1337" y="0"/>
                  </a:moveTo>
                  <a:lnTo>
                    <a:pt x="1314" y="81"/>
                  </a:lnTo>
                  <a:lnTo>
                    <a:pt x="1250" y="58"/>
                  </a:lnTo>
                  <a:lnTo>
                    <a:pt x="1145" y="110"/>
                  </a:lnTo>
                  <a:lnTo>
                    <a:pt x="1145" y="191"/>
                  </a:lnTo>
                  <a:lnTo>
                    <a:pt x="1105" y="191"/>
                  </a:lnTo>
                  <a:lnTo>
                    <a:pt x="1029" y="168"/>
                  </a:lnTo>
                  <a:lnTo>
                    <a:pt x="994" y="168"/>
                  </a:lnTo>
                  <a:lnTo>
                    <a:pt x="948" y="127"/>
                  </a:lnTo>
                  <a:lnTo>
                    <a:pt x="843" y="168"/>
                  </a:lnTo>
                  <a:lnTo>
                    <a:pt x="785" y="249"/>
                  </a:lnTo>
                  <a:lnTo>
                    <a:pt x="663" y="261"/>
                  </a:lnTo>
                  <a:lnTo>
                    <a:pt x="628" y="290"/>
                  </a:lnTo>
                  <a:lnTo>
                    <a:pt x="623" y="354"/>
                  </a:lnTo>
                  <a:lnTo>
                    <a:pt x="536" y="447"/>
                  </a:lnTo>
                  <a:lnTo>
                    <a:pt x="494" y="447"/>
                  </a:lnTo>
                  <a:lnTo>
                    <a:pt x="466" y="493"/>
                  </a:lnTo>
                  <a:lnTo>
                    <a:pt x="257" y="493"/>
                  </a:lnTo>
                  <a:lnTo>
                    <a:pt x="134" y="465"/>
                  </a:lnTo>
                  <a:lnTo>
                    <a:pt x="88" y="505"/>
                  </a:lnTo>
                  <a:lnTo>
                    <a:pt x="70" y="667"/>
                  </a:lnTo>
                  <a:lnTo>
                    <a:pt x="93" y="831"/>
                  </a:lnTo>
                  <a:lnTo>
                    <a:pt x="6" y="789"/>
                  </a:lnTo>
                  <a:lnTo>
                    <a:pt x="6" y="901"/>
                  </a:lnTo>
                  <a:lnTo>
                    <a:pt x="53" y="1202"/>
                  </a:lnTo>
                  <a:lnTo>
                    <a:pt x="53" y="1278"/>
                  </a:lnTo>
                  <a:lnTo>
                    <a:pt x="0" y="1382"/>
                  </a:lnTo>
                  <a:lnTo>
                    <a:pt x="47" y="1424"/>
                  </a:lnTo>
                  <a:lnTo>
                    <a:pt x="76" y="1429"/>
                  </a:lnTo>
                  <a:lnTo>
                    <a:pt x="110" y="1476"/>
                  </a:lnTo>
                  <a:lnTo>
                    <a:pt x="180" y="1476"/>
                  </a:lnTo>
                  <a:lnTo>
                    <a:pt x="291" y="1417"/>
                  </a:lnTo>
                  <a:lnTo>
                    <a:pt x="367" y="1424"/>
                  </a:lnTo>
                  <a:lnTo>
                    <a:pt x="459" y="1452"/>
                  </a:lnTo>
                  <a:lnTo>
                    <a:pt x="518" y="1446"/>
                  </a:lnTo>
                  <a:lnTo>
                    <a:pt x="576" y="1365"/>
                  </a:lnTo>
                  <a:lnTo>
                    <a:pt x="663" y="1365"/>
                  </a:lnTo>
                  <a:lnTo>
                    <a:pt x="773" y="1336"/>
                  </a:lnTo>
                  <a:lnTo>
                    <a:pt x="965" y="1342"/>
                  </a:lnTo>
                  <a:lnTo>
                    <a:pt x="1087" y="1429"/>
                  </a:lnTo>
                  <a:lnTo>
                    <a:pt x="1162" y="1534"/>
                  </a:lnTo>
                  <a:lnTo>
                    <a:pt x="1180" y="1568"/>
                  </a:lnTo>
                  <a:lnTo>
                    <a:pt x="1209" y="1579"/>
                  </a:lnTo>
                  <a:lnTo>
                    <a:pt x="1314" y="1544"/>
                  </a:lnTo>
                  <a:lnTo>
                    <a:pt x="1424" y="1464"/>
                  </a:lnTo>
                  <a:lnTo>
                    <a:pt x="1354" y="1556"/>
                  </a:lnTo>
                  <a:lnTo>
                    <a:pt x="1314" y="1632"/>
                  </a:lnTo>
                  <a:lnTo>
                    <a:pt x="1250" y="1666"/>
                  </a:lnTo>
                  <a:lnTo>
                    <a:pt x="1354" y="1638"/>
                  </a:lnTo>
                  <a:lnTo>
                    <a:pt x="1441" y="1591"/>
                  </a:lnTo>
                  <a:lnTo>
                    <a:pt x="1378" y="1696"/>
                  </a:lnTo>
                  <a:lnTo>
                    <a:pt x="1319" y="1731"/>
                  </a:lnTo>
                  <a:lnTo>
                    <a:pt x="1413" y="1708"/>
                  </a:lnTo>
                  <a:lnTo>
                    <a:pt x="1436" y="1701"/>
                  </a:lnTo>
                  <a:lnTo>
                    <a:pt x="1418" y="1766"/>
                  </a:lnTo>
                  <a:lnTo>
                    <a:pt x="1384" y="1835"/>
                  </a:lnTo>
                  <a:lnTo>
                    <a:pt x="1406" y="1900"/>
                  </a:lnTo>
                  <a:lnTo>
                    <a:pt x="1518" y="1987"/>
                  </a:lnTo>
                  <a:lnTo>
                    <a:pt x="1546" y="2004"/>
                  </a:lnTo>
                  <a:lnTo>
                    <a:pt x="1640" y="2010"/>
                  </a:lnTo>
                  <a:lnTo>
                    <a:pt x="1720" y="1987"/>
                  </a:lnTo>
                  <a:lnTo>
                    <a:pt x="1698" y="2045"/>
                  </a:lnTo>
                  <a:lnTo>
                    <a:pt x="1738" y="2074"/>
                  </a:lnTo>
                  <a:lnTo>
                    <a:pt x="1866" y="2045"/>
                  </a:lnTo>
                  <a:lnTo>
                    <a:pt x="1930" y="2039"/>
                  </a:lnTo>
                  <a:lnTo>
                    <a:pt x="2006" y="2010"/>
                  </a:lnTo>
                  <a:lnTo>
                    <a:pt x="2081" y="1905"/>
                  </a:lnTo>
                  <a:lnTo>
                    <a:pt x="2145" y="1778"/>
                  </a:lnTo>
                  <a:lnTo>
                    <a:pt x="2198" y="1719"/>
                  </a:lnTo>
                  <a:lnTo>
                    <a:pt x="2256" y="1568"/>
                  </a:lnTo>
                  <a:lnTo>
                    <a:pt x="2343" y="1429"/>
                  </a:lnTo>
                  <a:lnTo>
                    <a:pt x="2343" y="1243"/>
                  </a:lnTo>
                  <a:lnTo>
                    <a:pt x="2313" y="1033"/>
                  </a:lnTo>
                  <a:lnTo>
                    <a:pt x="2256" y="848"/>
                  </a:lnTo>
                  <a:lnTo>
                    <a:pt x="2191" y="755"/>
                  </a:lnTo>
                  <a:lnTo>
                    <a:pt x="2134" y="691"/>
                  </a:lnTo>
                  <a:lnTo>
                    <a:pt x="2069" y="615"/>
                  </a:lnTo>
                  <a:lnTo>
                    <a:pt x="2052" y="587"/>
                  </a:lnTo>
                  <a:lnTo>
                    <a:pt x="2041" y="458"/>
                  </a:lnTo>
                  <a:lnTo>
                    <a:pt x="2029" y="383"/>
                  </a:lnTo>
                  <a:lnTo>
                    <a:pt x="1977" y="343"/>
                  </a:lnTo>
                  <a:lnTo>
                    <a:pt x="1959" y="232"/>
                  </a:lnTo>
                  <a:lnTo>
                    <a:pt x="1930" y="139"/>
                  </a:lnTo>
                  <a:lnTo>
                    <a:pt x="1895" y="179"/>
                  </a:lnTo>
                  <a:lnTo>
                    <a:pt x="1872" y="266"/>
                  </a:lnTo>
                  <a:lnTo>
                    <a:pt x="1832" y="430"/>
                  </a:lnTo>
                  <a:lnTo>
                    <a:pt x="1785" y="458"/>
                  </a:lnTo>
                  <a:lnTo>
                    <a:pt x="1744" y="458"/>
                  </a:lnTo>
                  <a:lnTo>
                    <a:pt x="1651" y="383"/>
                  </a:lnTo>
                  <a:lnTo>
                    <a:pt x="1581" y="343"/>
                  </a:lnTo>
                  <a:lnTo>
                    <a:pt x="1541" y="301"/>
                  </a:lnTo>
                  <a:lnTo>
                    <a:pt x="1523" y="249"/>
                  </a:lnTo>
                  <a:lnTo>
                    <a:pt x="1570" y="179"/>
                  </a:lnTo>
                  <a:lnTo>
                    <a:pt x="1581" y="122"/>
                  </a:lnTo>
                  <a:lnTo>
                    <a:pt x="1593" y="99"/>
                  </a:lnTo>
                  <a:lnTo>
                    <a:pt x="1546" y="110"/>
                  </a:lnTo>
                  <a:lnTo>
                    <a:pt x="1424" y="41"/>
                  </a:lnTo>
                  <a:lnTo>
                    <a:pt x="1378" y="0"/>
                  </a:lnTo>
                  <a:lnTo>
                    <a:pt x="1337" y="0"/>
                  </a:lnTo>
                  <a:close/>
                </a:path>
              </a:pathLst>
            </a:custGeom>
            <a:solidFill>
              <a:srgbClr val="E3E8EC"/>
            </a:solidFill>
            <a:ln w="12700" algn="ctr">
              <a:solidFill>
                <a:schemeClr val="accent1">
                  <a:shade val="50000"/>
                </a:schemeClr>
              </a:solidFill>
              <a:miter lim="800000"/>
              <a:headEnd/>
              <a:tailEnd/>
            </a:ln>
          </p:spPr>
          <p:txBody>
            <a:bodyPr lIns="72000" tIns="72000" rIns="36000" bIns="36000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tx1"/>
                </a:buClr>
              </a:pPr>
              <a:endParaRPr lang="de-DE" altLang="de-DE" sz="1400">
                <a:latin typeface="Georgia" panose="02040502050405020303" pitchFamily="18" charset="0"/>
              </a:endParaRPr>
            </a:p>
          </p:txBody>
        </p:sp>
      </p:grpSp>
      <p:sp>
        <p:nvSpPr>
          <p:cNvPr id="32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678741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eutschlandkart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ditierba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extfeld 65"/>
          <p:cNvSpPr txBox="1"/>
          <p:nvPr/>
        </p:nvSpPr>
        <p:spPr>
          <a:xfrm>
            <a:off x="10744276" y="4385762"/>
            <a:ext cx="184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hangingPunct="0">
              <a:buSzPct val="80000"/>
            </a:pPr>
            <a:endParaRPr lang="de-DE" altLang="de-DE" sz="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2" name="Gruppierung 1"/>
          <p:cNvGrpSpPr/>
          <p:nvPr/>
        </p:nvGrpSpPr>
        <p:grpSpPr>
          <a:xfrm>
            <a:off x="3699310" y="259590"/>
            <a:ext cx="4484922" cy="5977722"/>
            <a:chOff x="4179881" y="1577975"/>
            <a:chExt cx="3276600" cy="4367213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4513256" y="2246313"/>
              <a:ext cx="1698625" cy="1450975"/>
            </a:xfrm>
            <a:custGeom>
              <a:avLst/>
              <a:gdLst>
                <a:gd name="T0" fmla="*/ 1267583 w 1064"/>
                <a:gd name="T1" fmla="*/ 1283067 h 916"/>
                <a:gd name="T2" fmla="*/ 1076009 w 1064"/>
                <a:gd name="T3" fmla="*/ 1397118 h 916"/>
                <a:gd name="T4" fmla="*/ 1047272 w 1064"/>
                <a:gd name="T5" fmla="*/ 1444639 h 916"/>
                <a:gd name="T6" fmla="*/ 1008958 w 1064"/>
                <a:gd name="T7" fmla="*/ 1368605 h 916"/>
                <a:gd name="T8" fmla="*/ 964257 w 1064"/>
                <a:gd name="T9" fmla="*/ 1270395 h 916"/>
                <a:gd name="T10" fmla="*/ 916363 w 1064"/>
                <a:gd name="T11" fmla="*/ 1143673 h 916"/>
                <a:gd name="T12" fmla="*/ 871663 w 1064"/>
                <a:gd name="T13" fmla="*/ 1016950 h 916"/>
                <a:gd name="T14" fmla="*/ 798226 w 1064"/>
                <a:gd name="T15" fmla="*/ 899731 h 916"/>
                <a:gd name="T16" fmla="*/ 817383 w 1064"/>
                <a:gd name="T17" fmla="*/ 722319 h 916"/>
                <a:gd name="T18" fmla="*/ 680088 w 1064"/>
                <a:gd name="T19" fmla="*/ 779345 h 916"/>
                <a:gd name="T20" fmla="*/ 593880 w 1064"/>
                <a:gd name="T21" fmla="*/ 757168 h 916"/>
                <a:gd name="T22" fmla="*/ 597073 w 1064"/>
                <a:gd name="T23" fmla="*/ 899731 h 916"/>
                <a:gd name="T24" fmla="*/ 520443 w 1064"/>
                <a:gd name="T25" fmla="*/ 969429 h 916"/>
                <a:gd name="T26" fmla="*/ 415078 w 1064"/>
                <a:gd name="T27" fmla="*/ 937748 h 916"/>
                <a:gd name="T28" fmla="*/ 415078 w 1064"/>
                <a:gd name="T29" fmla="*/ 871219 h 916"/>
                <a:gd name="T30" fmla="*/ 341641 w 1064"/>
                <a:gd name="T31" fmla="*/ 734992 h 916"/>
                <a:gd name="T32" fmla="*/ 188381 w 1064"/>
                <a:gd name="T33" fmla="*/ 871219 h 916"/>
                <a:gd name="T34" fmla="*/ 3193 w 1064"/>
                <a:gd name="T35" fmla="*/ 779345 h 916"/>
                <a:gd name="T36" fmla="*/ 140488 w 1064"/>
                <a:gd name="T37" fmla="*/ 627277 h 916"/>
                <a:gd name="T38" fmla="*/ 181996 w 1064"/>
                <a:gd name="T39" fmla="*/ 329479 h 916"/>
                <a:gd name="T40" fmla="*/ 201153 w 1064"/>
                <a:gd name="T41" fmla="*/ 300966 h 916"/>
                <a:gd name="T42" fmla="*/ 98980 w 1064"/>
                <a:gd name="T43" fmla="*/ 275622 h 916"/>
                <a:gd name="T44" fmla="*/ 95787 w 1064"/>
                <a:gd name="T45" fmla="*/ 209093 h 916"/>
                <a:gd name="T46" fmla="*/ 140488 w 1064"/>
                <a:gd name="T47" fmla="*/ 186916 h 916"/>
                <a:gd name="T48" fmla="*/ 127716 w 1064"/>
                <a:gd name="T49" fmla="*/ 164740 h 916"/>
                <a:gd name="T50" fmla="*/ 156452 w 1064"/>
                <a:gd name="T51" fmla="*/ 117219 h 916"/>
                <a:gd name="T52" fmla="*/ 242661 w 1064"/>
                <a:gd name="T53" fmla="*/ 101378 h 916"/>
                <a:gd name="T54" fmla="*/ 335255 w 1064"/>
                <a:gd name="T55" fmla="*/ 98210 h 916"/>
                <a:gd name="T56" fmla="*/ 443814 w 1064"/>
                <a:gd name="T57" fmla="*/ 98210 h 916"/>
                <a:gd name="T58" fmla="*/ 475743 w 1064"/>
                <a:gd name="T59" fmla="*/ 174244 h 916"/>
                <a:gd name="T60" fmla="*/ 485321 w 1064"/>
                <a:gd name="T61" fmla="*/ 215429 h 916"/>
                <a:gd name="T62" fmla="*/ 450199 w 1064"/>
                <a:gd name="T63" fmla="*/ 228101 h 916"/>
                <a:gd name="T64" fmla="*/ 478936 w 1064"/>
                <a:gd name="T65" fmla="*/ 243941 h 916"/>
                <a:gd name="T66" fmla="*/ 526829 w 1064"/>
                <a:gd name="T67" fmla="*/ 259782 h 916"/>
                <a:gd name="T68" fmla="*/ 545987 w 1064"/>
                <a:gd name="T69" fmla="*/ 209093 h 916"/>
                <a:gd name="T70" fmla="*/ 517250 w 1064"/>
                <a:gd name="T71" fmla="*/ 186916 h 916"/>
                <a:gd name="T72" fmla="*/ 549179 w 1064"/>
                <a:gd name="T73" fmla="*/ 155235 h 916"/>
                <a:gd name="T74" fmla="*/ 613038 w 1064"/>
                <a:gd name="T75" fmla="*/ 202756 h 916"/>
                <a:gd name="T76" fmla="*/ 613038 w 1064"/>
                <a:gd name="T77" fmla="*/ 158403 h 916"/>
                <a:gd name="T78" fmla="*/ 616230 w 1064"/>
                <a:gd name="T79" fmla="*/ 88706 h 916"/>
                <a:gd name="T80" fmla="*/ 660931 w 1064"/>
                <a:gd name="T81" fmla="*/ 3168 h 916"/>
                <a:gd name="T82" fmla="*/ 692860 w 1064"/>
                <a:gd name="T83" fmla="*/ 15840 h 916"/>
                <a:gd name="T84" fmla="*/ 734368 w 1064"/>
                <a:gd name="T85" fmla="*/ 31681 h 916"/>
                <a:gd name="T86" fmla="*/ 887627 w 1064"/>
                <a:gd name="T87" fmla="*/ 31681 h 916"/>
                <a:gd name="T88" fmla="*/ 919556 w 1064"/>
                <a:gd name="T89" fmla="*/ 69697 h 916"/>
                <a:gd name="T90" fmla="*/ 957871 w 1064"/>
                <a:gd name="T91" fmla="*/ 117219 h 916"/>
                <a:gd name="T92" fmla="*/ 1012151 w 1064"/>
                <a:gd name="T93" fmla="*/ 183748 h 916"/>
                <a:gd name="T94" fmla="*/ 1079201 w 1064"/>
                <a:gd name="T95" fmla="*/ 275622 h 916"/>
                <a:gd name="T96" fmla="*/ 1184567 w 1064"/>
                <a:gd name="T97" fmla="*/ 272454 h 916"/>
                <a:gd name="T98" fmla="*/ 1318669 w 1064"/>
                <a:gd name="T99" fmla="*/ 300966 h 916"/>
                <a:gd name="T100" fmla="*/ 1382527 w 1064"/>
                <a:gd name="T101" fmla="*/ 307303 h 916"/>
                <a:gd name="T102" fmla="*/ 1411263 w 1064"/>
                <a:gd name="T103" fmla="*/ 348487 h 916"/>
                <a:gd name="T104" fmla="*/ 1491086 w 1064"/>
                <a:gd name="T105" fmla="*/ 405513 h 916"/>
                <a:gd name="T106" fmla="*/ 1548558 w 1064"/>
                <a:gd name="T107" fmla="*/ 411849 h 916"/>
                <a:gd name="T108" fmla="*/ 1596452 w 1064"/>
                <a:gd name="T109" fmla="*/ 453034 h 916"/>
                <a:gd name="T110" fmla="*/ 1657117 w 1064"/>
                <a:gd name="T111" fmla="*/ 459370 h 916"/>
                <a:gd name="T112" fmla="*/ 1647539 w 1064"/>
                <a:gd name="T113" fmla="*/ 551244 h 916"/>
                <a:gd name="T114" fmla="*/ 1411263 w 1064"/>
                <a:gd name="T115" fmla="*/ 595597 h 916"/>
                <a:gd name="T116" fmla="*/ 1494279 w 1064"/>
                <a:gd name="T117" fmla="*/ 798353 h 916"/>
                <a:gd name="T118" fmla="*/ 1376141 w 1064"/>
                <a:gd name="T119" fmla="*/ 1029622 h 916"/>
                <a:gd name="T120" fmla="*/ 1353791 w 1064"/>
                <a:gd name="T121" fmla="*/ 1286236 h 91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64"/>
                <a:gd name="T184" fmla="*/ 0 h 916"/>
                <a:gd name="T185" fmla="*/ 1064 w 1064"/>
                <a:gd name="T186" fmla="*/ 916 h 91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64" h="916">
                  <a:moveTo>
                    <a:pt x="848" y="812"/>
                  </a:moveTo>
                  <a:lnTo>
                    <a:pt x="828" y="814"/>
                  </a:lnTo>
                  <a:lnTo>
                    <a:pt x="812" y="798"/>
                  </a:lnTo>
                  <a:lnTo>
                    <a:pt x="798" y="792"/>
                  </a:lnTo>
                  <a:lnTo>
                    <a:pt x="794" y="798"/>
                  </a:lnTo>
                  <a:lnTo>
                    <a:pt x="794" y="810"/>
                  </a:lnTo>
                  <a:lnTo>
                    <a:pt x="780" y="826"/>
                  </a:lnTo>
                  <a:lnTo>
                    <a:pt x="784" y="846"/>
                  </a:lnTo>
                  <a:lnTo>
                    <a:pt x="704" y="888"/>
                  </a:lnTo>
                  <a:lnTo>
                    <a:pt x="688" y="866"/>
                  </a:lnTo>
                  <a:lnTo>
                    <a:pt x="672" y="870"/>
                  </a:lnTo>
                  <a:lnTo>
                    <a:pt x="674" y="882"/>
                  </a:lnTo>
                  <a:lnTo>
                    <a:pt x="670" y="884"/>
                  </a:lnTo>
                  <a:lnTo>
                    <a:pt x="652" y="874"/>
                  </a:lnTo>
                  <a:lnTo>
                    <a:pt x="628" y="886"/>
                  </a:lnTo>
                  <a:lnTo>
                    <a:pt x="636" y="898"/>
                  </a:lnTo>
                  <a:lnTo>
                    <a:pt x="650" y="902"/>
                  </a:lnTo>
                  <a:lnTo>
                    <a:pt x="656" y="912"/>
                  </a:lnTo>
                  <a:lnTo>
                    <a:pt x="652" y="916"/>
                  </a:lnTo>
                  <a:lnTo>
                    <a:pt x="618" y="908"/>
                  </a:lnTo>
                  <a:lnTo>
                    <a:pt x="602" y="888"/>
                  </a:lnTo>
                  <a:lnTo>
                    <a:pt x="618" y="874"/>
                  </a:lnTo>
                  <a:lnTo>
                    <a:pt x="628" y="874"/>
                  </a:lnTo>
                  <a:lnTo>
                    <a:pt x="632" y="864"/>
                  </a:lnTo>
                  <a:lnTo>
                    <a:pt x="622" y="848"/>
                  </a:lnTo>
                  <a:lnTo>
                    <a:pt x="628" y="832"/>
                  </a:lnTo>
                  <a:lnTo>
                    <a:pt x="634" y="828"/>
                  </a:lnTo>
                  <a:lnTo>
                    <a:pt x="640" y="818"/>
                  </a:lnTo>
                  <a:lnTo>
                    <a:pt x="634" y="792"/>
                  </a:lnTo>
                  <a:lnTo>
                    <a:pt x="604" y="802"/>
                  </a:lnTo>
                  <a:lnTo>
                    <a:pt x="590" y="798"/>
                  </a:lnTo>
                  <a:lnTo>
                    <a:pt x="574" y="800"/>
                  </a:lnTo>
                  <a:lnTo>
                    <a:pt x="562" y="796"/>
                  </a:lnTo>
                  <a:lnTo>
                    <a:pt x="566" y="758"/>
                  </a:lnTo>
                  <a:lnTo>
                    <a:pt x="576" y="736"/>
                  </a:lnTo>
                  <a:lnTo>
                    <a:pt x="574" y="722"/>
                  </a:lnTo>
                  <a:lnTo>
                    <a:pt x="560" y="716"/>
                  </a:lnTo>
                  <a:lnTo>
                    <a:pt x="568" y="700"/>
                  </a:lnTo>
                  <a:lnTo>
                    <a:pt x="554" y="676"/>
                  </a:lnTo>
                  <a:lnTo>
                    <a:pt x="540" y="680"/>
                  </a:lnTo>
                  <a:lnTo>
                    <a:pt x="538" y="658"/>
                  </a:lnTo>
                  <a:lnTo>
                    <a:pt x="546" y="642"/>
                  </a:lnTo>
                  <a:lnTo>
                    <a:pt x="528" y="626"/>
                  </a:lnTo>
                  <a:lnTo>
                    <a:pt x="508" y="620"/>
                  </a:lnTo>
                  <a:lnTo>
                    <a:pt x="504" y="592"/>
                  </a:lnTo>
                  <a:lnTo>
                    <a:pt x="524" y="596"/>
                  </a:lnTo>
                  <a:lnTo>
                    <a:pt x="526" y="572"/>
                  </a:lnTo>
                  <a:lnTo>
                    <a:pt x="500" y="568"/>
                  </a:lnTo>
                  <a:lnTo>
                    <a:pt x="510" y="528"/>
                  </a:lnTo>
                  <a:lnTo>
                    <a:pt x="524" y="520"/>
                  </a:lnTo>
                  <a:lnTo>
                    <a:pt x="532" y="492"/>
                  </a:lnTo>
                  <a:lnTo>
                    <a:pt x="526" y="484"/>
                  </a:lnTo>
                  <a:lnTo>
                    <a:pt x="532" y="468"/>
                  </a:lnTo>
                  <a:lnTo>
                    <a:pt x="512" y="456"/>
                  </a:lnTo>
                  <a:lnTo>
                    <a:pt x="484" y="482"/>
                  </a:lnTo>
                  <a:lnTo>
                    <a:pt x="484" y="494"/>
                  </a:lnTo>
                  <a:lnTo>
                    <a:pt x="472" y="498"/>
                  </a:lnTo>
                  <a:lnTo>
                    <a:pt x="462" y="494"/>
                  </a:lnTo>
                  <a:lnTo>
                    <a:pt x="432" y="500"/>
                  </a:lnTo>
                  <a:lnTo>
                    <a:pt x="426" y="492"/>
                  </a:lnTo>
                  <a:lnTo>
                    <a:pt x="424" y="464"/>
                  </a:lnTo>
                  <a:lnTo>
                    <a:pt x="414" y="456"/>
                  </a:lnTo>
                  <a:lnTo>
                    <a:pt x="398" y="466"/>
                  </a:lnTo>
                  <a:lnTo>
                    <a:pt x="384" y="464"/>
                  </a:lnTo>
                  <a:lnTo>
                    <a:pt x="374" y="470"/>
                  </a:lnTo>
                  <a:lnTo>
                    <a:pt x="372" y="478"/>
                  </a:lnTo>
                  <a:lnTo>
                    <a:pt x="358" y="486"/>
                  </a:lnTo>
                  <a:lnTo>
                    <a:pt x="346" y="480"/>
                  </a:lnTo>
                  <a:lnTo>
                    <a:pt x="340" y="496"/>
                  </a:lnTo>
                  <a:lnTo>
                    <a:pt x="354" y="500"/>
                  </a:lnTo>
                  <a:lnTo>
                    <a:pt x="378" y="524"/>
                  </a:lnTo>
                  <a:lnTo>
                    <a:pt x="374" y="568"/>
                  </a:lnTo>
                  <a:lnTo>
                    <a:pt x="388" y="572"/>
                  </a:lnTo>
                  <a:lnTo>
                    <a:pt x="390" y="582"/>
                  </a:lnTo>
                  <a:lnTo>
                    <a:pt x="366" y="604"/>
                  </a:lnTo>
                  <a:lnTo>
                    <a:pt x="346" y="592"/>
                  </a:lnTo>
                  <a:lnTo>
                    <a:pt x="334" y="598"/>
                  </a:lnTo>
                  <a:lnTo>
                    <a:pt x="326" y="612"/>
                  </a:lnTo>
                  <a:lnTo>
                    <a:pt x="298" y="614"/>
                  </a:lnTo>
                  <a:lnTo>
                    <a:pt x="288" y="610"/>
                  </a:lnTo>
                  <a:lnTo>
                    <a:pt x="266" y="620"/>
                  </a:lnTo>
                  <a:lnTo>
                    <a:pt x="248" y="620"/>
                  </a:lnTo>
                  <a:lnTo>
                    <a:pt x="246" y="604"/>
                  </a:lnTo>
                  <a:lnTo>
                    <a:pt x="260" y="592"/>
                  </a:lnTo>
                  <a:lnTo>
                    <a:pt x="274" y="592"/>
                  </a:lnTo>
                  <a:lnTo>
                    <a:pt x="280" y="582"/>
                  </a:lnTo>
                  <a:lnTo>
                    <a:pt x="290" y="582"/>
                  </a:lnTo>
                  <a:lnTo>
                    <a:pt x="284" y="558"/>
                  </a:lnTo>
                  <a:lnTo>
                    <a:pt x="264" y="558"/>
                  </a:lnTo>
                  <a:lnTo>
                    <a:pt x="260" y="550"/>
                  </a:lnTo>
                  <a:lnTo>
                    <a:pt x="280" y="514"/>
                  </a:lnTo>
                  <a:lnTo>
                    <a:pt x="278" y="500"/>
                  </a:lnTo>
                  <a:lnTo>
                    <a:pt x="260" y="488"/>
                  </a:lnTo>
                  <a:lnTo>
                    <a:pt x="244" y="490"/>
                  </a:lnTo>
                  <a:lnTo>
                    <a:pt x="218" y="478"/>
                  </a:lnTo>
                  <a:lnTo>
                    <a:pt x="214" y="464"/>
                  </a:lnTo>
                  <a:lnTo>
                    <a:pt x="188" y="452"/>
                  </a:lnTo>
                  <a:lnTo>
                    <a:pt x="170" y="472"/>
                  </a:lnTo>
                  <a:lnTo>
                    <a:pt x="186" y="480"/>
                  </a:lnTo>
                  <a:lnTo>
                    <a:pt x="170" y="502"/>
                  </a:lnTo>
                  <a:lnTo>
                    <a:pt x="172" y="514"/>
                  </a:lnTo>
                  <a:lnTo>
                    <a:pt x="118" y="550"/>
                  </a:lnTo>
                  <a:lnTo>
                    <a:pt x="84" y="552"/>
                  </a:lnTo>
                  <a:lnTo>
                    <a:pt x="72" y="532"/>
                  </a:lnTo>
                  <a:lnTo>
                    <a:pt x="82" y="520"/>
                  </a:lnTo>
                  <a:lnTo>
                    <a:pt x="66" y="496"/>
                  </a:lnTo>
                  <a:lnTo>
                    <a:pt x="52" y="512"/>
                  </a:lnTo>
                  <a:lnTo>
                    <a:pt x="2" y="492"/>
                  </a:lnTo>
                  <a:lnTo>
                    <a:pt x="0" y="464"/>
                  </a:lnTo>
                  <a:lnTo>
                    <a:pt x="10" y="432"/>
                  </a:lnTo>
                  <a:lnTo>
                    <a:pt x="30" y="428"/>
                  </a:lnTo>
                  <a:lnTo>
                    <a:pt x="78" y="438"/>
                  </a:lnTo>
                  <a:lnTo>
                    <a:pt x="90" y="430"/>
                  </a:lnTo>
                  <a:lnTo>
                    <a:pt x="88" y="396"/>
                  </a:lnTo>
                  <a:lnTo>
                    <a:pt x="116" y="314"/>
                  </a:lnTo>
                  <a:lnTo>
                    <a:pt x="110" y="288"/>
                  </a:lnTo>
                  <a:lnTo>
                    <a:pt x="110" y="216"/>
                  </a:lnTo>
                  <a:lnTo>
                    <a:pt x="114" y="208"/>
                  </a:lnTo>
                  <a:lnTo>
                    <a:pt x="116" y="204"/>
                  </a:lnTo>
                  <a:lnTo>
                    <a:pt x="120" y="200"/>
                  </a:lnTo>
                  <a:lnTo>
                    <a:pt x="126" y="198"/>
                  </a:lnTo>
                  <a:lnTo>
                    <a:pt x="128" y="194"/>
                  </a:lnTo>
                  <a:lnTo>
                    <a:pt x="126" y="190"/>
                  </a:lnTo>
                  <a:lnTo>
                    <a:pt x="120" y="188"/>
                  </a:lnTo>
                  <a:lnTo>
                    <a:pt x="98" y="182"/>
                  </a:lnTo>
                  <a:lnTo>
                    <a:pt x="76" y="180"/>
                  </a:lnTo>
                  <a:lnTo>
                    <a:pt x="68" y="178"/>
                  </a:lnTo>
                  <a:lnTo>
                    <a:pt x="62" y="174"/>
                  </a:lnTo>
                  <a:lnTo>
                    <a:pt x="58" y="170"/>
                  </a:lnTo>
                  <a:lnTo>
                    <a:pt x="56" y="164"/>
                  </a:lnTo>
                  <a:lnTo>
                    <a:pt x="58" y="150"/>
                  </a:lnTo>
                  <a:lnTo>
                    <a:pt x="58" y="138"/>
                  </a:lnTo>
                  <a:lnTo>
                    <a:pt x="60" y="132"/>
                  </a:lnTo>
                  <a:lnTo>
                    <a:pt x="62" y="126"/>
                  </a:lnTo>
                  <a:lnTo>
                    <a:pt x="66" y="124"/>
                  </a:lnTo>
                  <a:lnTo>
                    <a:pt x="70" y="122"/>
                  </a:lnTo>
                  <a:lnTo>
                    <a:pt x="84" y="120"/>
                  </a:lnTo>
                  <a:lnTo>
                    <a:pt x="88" y="118"/>
                  </a:lnTo>
                  <a:lnTo>
                    <a:pt x="88" y="114"/>
                  </a:lnTo>
                  <a:lnTo>
                    <a:pt x="88" y="108"/>
                  </a:lnTo>
                  <a:lnTo>
                    <a:pt x="84" y="106"/>
                  </a:lnTo>
                  <a:lnTo>
                    <a:pt x="80" y="104"/>
                  </a:lnTo>
                  <a:lnTo>
                    <a:pt x="78" y="102"/>
                  </a:lnTo>
                  <a:lnTo>
                    <a:pt x="78" y="98"/>
                  </a:lnTo>
                  <a:lnTo>
                    <a:pt x="82" y="90"/>
                  </a:lnTo>
                  <a:lnTo>
                    <a:pt x="88" y="8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12" y="66"/>
                  </a:lnTo>
                  <a:lnTo>
                    <a:pt x="120" y="64"/>
                  </a:lnTo>
                  <a:lnTo>
                    <a:pt x="128" y="64"/>
                  </a:lnTo>
                  <a:lnTo>
                    <a:pt x="152" y="64"/>
                  </a:lnTo>
                  <a:lnTo>
                    <a:pt x="168" y="66"/>
                  </a:lnTo>
                  <a:lnTo>
                    <a:pt x="180" y="68"/>
                  </a:lnTo>
                  <a:lnTo>
                    <a:pt x="194" y="66"/>
                  </a:lnTo>
                  <a:lnTo>
                    <a:pt x="210" y="62"/>
                  </a:lnTo>
                  <a:lnTo>
                    <a:pt x="236" y="58"/>
                  </a:lnTo>
                  <a:lnTo>
                    <a:pt x="250" y="56"/>
                  </a:lnTo>
                  <a:lnTo>
                    <a:pt x="262" y="56"/>
                  </a:lnTo>
                  <a:lnTo>
                    <a:pt x="272" y="58"/>
                  </a:lnTo>
                  <a:lnTo>
                    <a:pt x="276" y="60"/>
                  </a:lnTo>
                  <a:lnTo>
                    <a:pt x="278" y="62"/>
                  </a:lnTo>
                  <a:lnTo>
                    <a:pt x="288" y="80"/>
                  </a:lnTo>
                  <a:lnTo>
                    <a:pt x="292" y="90"/>
                  </a:lnTo>
                  <a:lnTo>
                    <a:pt x="294" y="98"/>
                  </a:lnTo>
                  <a:lnTo>
                    <a:pt x="298" y="110"/>
                  </a:lnTo>
                  <a:lnTo>
                    <a:pt x="304" y="120"/>
                  </a:lnTo>
                  <a:lnTo>
                    <a:pt x="308" y="128"/>
                  </a:lnTo>
                  <a:lnTo>
                    <a:pt x="308" y="132"/>
                  </a:lnTo>
                  <a:lnTo>
                    <a:pt x="308" y="134"/>
                  </a:lnTo>
                  <a:lnTo>
                    <a:pt x="304" y="136"/>
                  </a:lnTo>
                  <a:lnTo>
                    <a:pt x="300" y="136"/>
                  </a:lnTo>
                  <a:lnTo>
                    <a:pt x="290" y="134"/>
                  </a:lnTo>
                  <a:lnTo>
                    <a:pt x="284" y="136"/>
                  </a:lnTo>
                  <a:lnTo>
                    <a:pt x="282" y="136"/>
                  </a:lnTo>
                  <a:lnTo>
                    <a:pt x="282" y="144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92" y="152"/>
                  </a:lnTo>
                  <a:lnTo>
                    <a:pt x="300" y="154"/>
                  </a:lnTo>
                  <a:lnTo>
                    <a:pt x="308" y="158"/>
                  </a:lnTo>
                  <a:lnTo>
                    <a:pt x="314" y="162"/>
                  </a:lnTo>
                  <a:lnTo>
                    <a:pt x="322" y="166"/>
                  </a:lnTo>
                  <a:lnTo>
                    <a:pt x="326" y="166"/>
                  </a:lnTo>
                  <a:lnTo>
                    <a:pt x="330" y="164"/>
                  </a:lnTo>
                  <a:lnTo>
                    <a:pt x="334" y="162"/>
                  </a:lnTo>
                  <a:lnTo>
                    <a:pt x="336" y="156"/>
                  </a:lnTo>
                  <a:lnTo>
                    <a:pt x="340" y="144"/>
                  </a:lnTo>
                  <a:lnTo>
                    <a:pt x="342" y="136"/>
                  </a:lnTo>
                  <a:lnTo>
                    <a:pt x="342" y="132"/>
                  </a:lnTo>
                  <a:lnTo>
                    <a:pt x="338" y="128"/>
                  </a:lnTo>
                  <a:lnTo>
                    <a:pt x="332" y="126"/>
                  </a:lnTo>
                  <a:lnTo>
                    <a:pt x="326" y="122"/>
                  </a:lnTo>
                  <a:lnTo>
                    <a:pt x="324" y="120"/>
                  </a:lnTo>
                  <a:lnTo>
                    <a:pt x="324" y="118"/>
                  </a:lnTo>
                  <a:lnTo>
                    <a:pt x="324" y="114"/>
                  </a:lnTo>
                  <a:lnTo>
                    <a:pt x="326" y="110"/>
                  </a:lnTo>
                  <a:lnTo>
                    <a:pt x="332" y="100"/>
                  </a:lnTo>
                  <a:lnTo>
                    <a:pt x="338" y="98"/>
                  </a:lnTo>
                  <a:lnTo>
                    <a:pt x="344" y="98"/>
                  </a:lnTo>
                  <a:lnTo>
                    <a:pt x="350" y="102"/>
                  </a:lnTo>
                  <a:lnTo>
                    <a:pt x="366" y="118"/>
                  </a:lnTo>
                  <a:lnTo>
                    <a:pt x="376" y="124"/>
                  </a:lnTo>
                  <a:lnTo>
                    <a:pt x="384" y="128"/>
                  </a:lnTo>
                  <a:lnTo>
                    <a:pt x="390" y="126"/>
                  </a:lnTo>
                  <a:lnTo>
                    <a:pt x="394" y="122"/>
                  </a:lnTo>
                  <a:lnTo>
                    <a:pt x="394" y="116"/>
                  </a:lnTo>
                  <a:lnTo>
                    <a:pt x="390" y="108"/>
                  </a:lnTo>
                  <a:lnTo>
                    <a:pt x="384" y="100"/>
                  </a:lnTo>
                  <a:lnTo>
                    <a:pt x="378" y="92"/>
                  </a:lnTo>
                  <a:lnTo>
                    <a:pt x="374" y="82"/>
                  </a:lnTo>
                  <a:lnTo>
                    <a:pt x="374" y="76"/>
                  </a:lnTo>
                  <a:lnTo>
                    <a:pt x="376" y="72"/>
                  </a:lnTo>
                  <a:lnTo>
                    <a:pt x="386" y="56"/>
                  </a:lnTo>
                  <a:lnTo>
                    <a:pt x="392" y="46"/>
                  </a:lnTo>
                  <a:lnTo>
                    <a:pt x="396" y="36"/>
                  </a:lnTo>
                  <a:lnTo>
                    <a:pt x="404" y="12"/>
                  </a:lnTo>
                  <a:lnTo>
                    <a:pt x="410" y="4"/>
                  </a:lnTo>
                  <a:lnTo>
                    <a:pt x="414" y="2"/>
                  </a:lnTo>
                  <a:lnTo>
                    <a:pt x="418" y="0"/>
                  </a:lnTo>
                  <a:lnTo>
                    <a:pt x="426" y="2"/>
                  </a:lnTo>
                  <a:lnTo>
                    <a:pt x="430" y="4"/>
                  </a:lnTo>
                  <a:lnTo>
                    <a:pt x="432" y="6"/>
                  </a:lnTo>
                  <a:lnTo>
                    <a:pt x="434" y="10"/>
                  </a:lnTo>
                  <a:lnTo>
                    <a:pt x="436" y="14"/>
                  </a:lnTo>
                  <a:lnTo>
                    <a:pt x="440" y="18"/>
                  </a:lnTo>
                  <a:lnTo>
                    <a:pt x="448" y="20"/>
                  </a:lnTo>
                  <a:lnTo>
                    <a:pt x="460" y="20"/>
                  </a:lnTo>
                  <a:lnTo>
                    <a:pt x="494" y="18"/>
                  </a:lnTo>
                  <a:lnTo>
                    <a:pt x="530" y="18"/>
                  </a:lnTo>
                  <a:lnTo>
                    <a:pt x="548" y="20"/>
                  </a:lnTo>
                  <a:lnTo>
                    <a:pt x="554" y="20"/>
                  </a:lnTo>
                  <a:lnTo>
                    <a:pt x="556" y="20"/>
                  </a:lnTo>
                  <a:lnTo>
                    <a:pt x="556" y="18"/>
                  </a:lnTo>
                  <a:lnTo>
                    <a:pt x="566" y="24"/>
                  </a:lnTo>
                  <a:lnTo>
                    <a:pt x="570" y="30"/>
                  </a:lnTo>
                  <a:lnTo>
                    <a:pt x="576" y="44"/>
                  </a:lnTo>
                  <a:lnTo>
                    <a:pt x="582" y="56"/>
                  </a:lnTo>
                  <a:lnTo>
                    <a:pt x="586" y="60"/>
                  </a:lnTo>
                  <a:lnTo>
                    <a:pt x="592" y="64"/>
                  </a:lnTo>
                  <a:lnTo>
                    <a:pt x="598" y="68"/>
                  </a:lnTo>
                  <a:lnTo>
                    <a:pt x="600" y="74"/>
                  </a:lnTo>
                  <a:lnTo>
                    <a:pt x="606" y="90"/>
                  </a:lnTo>
                  <a:lnTo>
                    <a:pt x="612" y="102"/>
                  </a:lnTo>
                  <a:lnTo>
                    <a:pt x="620" y="108"/>
                  </a:lnTo>
                  <a:lnTo>
                    <a:pt x="634" y="116"/>
                  </a:lnTo>
                  <a:lnTo>
                    <a:pt x="646" y="122"/>
                  </a:lnTo>
                  <a:lnTo>
                    <a:pt x="660" y="124"/>
                  </a:lnTo>
                  <a:lnTo>
                    <a:pt x="660" y="144"/>
                  </a:lnTo>
                  <a:lnTo>
                    <a:pt x="672" y="156"/>
                  </a:lnTo>
                  <a:lnTo>
                    <a:pt x="676" y="174"/>
                  </a:lnTo>
                  <a:lnTo>
                    <a:pt x="686" y="178"/>
                  </a:lnTo>
                  <a:lnTo>
                    <a:pt x="690" y="168"/>
                  </a:lnTo>
                  <a:lnTo>
                    <a:pt x="702" y="172"/>
                  </a:lnTo>
                  <a:lnTo>
                    <a:pt x="706" y="190"/>
                  </a:lnTo>
                  <a:lnTo>
                    <a:pt x="724" y="190"/>
                  </a:lnTo>
                  <a:lnTo>
                    <a:pt x="742" y="172"/>
                  </a:lnTo>
                  <a:lnTo>
                    <a:pt x="764" y="186"/>
                  </a:lnTo>
                  <a:lnTo>
                    <a:pt x="790" y="182"/>
                  </a:lnTo>
                  <a:lnTo>
                    <a:pt x="798" y="172"/>
                  </a:lnTo>
                  <a:lnTo>
                    <a:pt x="816" y="184"/>
                  </a:lnTo>
                  <a:lnTo>
                    <a:pt x="826" y="190"/>
                  </a:lnTo>
                  <a:lnTo>
                    <a:pt x="836" y="192"/>
                  </a:lnTo>
                  <a:lnTo>
                    <a:pt x="848" y="190"/>
                  </a:lnTo>
                  <a:lnTo>
                    <a:pt x="858" y="192"/>
                  </a:lnTo>
                  <a:lnTo>
                    <a:pt x="866" y="194"/>
                  </a:lnTo>
                  <a:lnTo>
                    <a:pt x="870" y="196"/>
                  </a:lnTo>
                  <a:lnTo>
                    <a:pt x="872" y="200"/>
                  </a:lnTo>
                  <a:lnTo>
                    <a:pt x="874" y="206"/>
                  </a:lnTo>
                  <a:lnTo>
                    <a:pt x="880" y="216"/>
                  </a:lnTo>
                  <a:lnTo>
                    <a:pt x="884" y="220"/>
                  </a:lnTo>
                  <a:lnTo>
                    <a:pt x="888" y="222"/>
                  </a:lnTo>
                  <a:lnTo>
                    <a:pt x="904" y="230"/>
                  </a:lnTo>
                  <a:lnTo>
                    <a:pt x="920" y="244"/>
                  </a:lnTo>
                  <a:lnTo>
                    <a:pt x="934" y="256"/>
                  </a:lnTo>
                  <a:lnTo>
                    <a:pt x="942" y="258"/>
                  </a:lnTo>
                  <a:lnTo>
                    <a:pt x="948" y="258"/>
                  </a:lnTo>
                  <a:lnTo>
                    <a:pt x="960" y="256"/>
                  </a:lnTo>
                  <a:lnTo>
                    <a:pt x="966" y="256"/>
                  </a:lnTo>
                  <a:lnTo>
                    <a:pt x="970" y="260"/>
                  </a:lnTo>
                  <a:lnTo>
                    <a:pt x="982" y="276"/>
                  </a:lnTo>
                  <a:lnTo>
                    <a:pt x="990" y="284"/>
                  </a:lnTo>
                  <a:lnTo>
                    <a:pt x="994" y="286"/>
                  </a:lnTo>
                  <a:lnTo>
                    <a:pt x="1000" y="286"/>
                  </a:lnTo>
                  <a:lnTo>
                    <a:pt x="1008" y="286"/>
                  </a:lnTo>
                  <a:lnTo>
                    <a:pt x="1016" y="282"/>
                  </a:lnTo>
                  <a:lnTo>
                    <a:pt x="1022" y="282"/>
                  </a:lnTo>
                  <a:lnTo>
                    <a:pt x="1026" y="284"/>
                  </a:lnTo>
                  <a:lnTo>
                    <a:pt x="1038" y="290"/>
                  </a:lnTo>
                  <a:lnTo>
                    <a:pt x="1054" y="296"/>
                  </a:lnTo>
                  <a:lnTo>
                    <a:pt x="1064" y="298"/>
                  </a:lnTo>
                  <a:lnTo>
                    <a:pt x="1062" y="310"/>
                  </a:lnTo>
                  <a:lnTo>
                    <a:pt x="1030" y="336"/>
                  </a:lnTo>
                  <a:lnTo>
                    <a:pt x="1032" y="348"/>
                  </a:lnTo>
                  <a:lnTo>
                    <a:pt x="986" y="362"/>
                  </a:lnTo>
                  <a:lnTo>
                    <a:pt x="968" y="354"/>
                  </a:lnTo>
                  <a:lnTo>
                    <a:pt x="924" y="364"/>
                  </a:lnTo>
                  <a:lnTo>
                    <a:pt x="924" y="376"/>
                  </a:lnTo>
                  <a:lnTo>
                    <a:pt x="902" y="372"/>
                  </a:lnTo>
                  <a:lnTo>
                    <a:pt x="884" y="376"/>
                  </a:lnTo>
                  <a:lnTo>
                    <a:pt x="878" y="404"/>
                  </a:lnTo>
                  <a:lnTo>
                    <a:pt x="892" y="414"/>
                  </a:lnTo>
                  <a:lnTo>
                    <a:pt x="898" y="432"/>
                  </a:lnTo>
                  <a:lnTo>
                    <a:pt x="918" y="438"/>
                  </a:lnTo>
                  <a:lnTo>
                    <a:pt x="920" y="484"/>
                  </a:lnTo>
                  <a:lnTo>
                    <a:pt x="936" y="504"/>
                  </a:lnTo>
                  <a:lnTo>
                    <a:pt x="922" y="516"/>
                  </a:lnTo>
                  <a:lnTo>
                    <a:pt x="926" y="528"/>
                  </a:lnTo>
                  <a:lnTo>
                    <a:pt x="928" y="588"/>
                  </a:lnTo>
                  <a:lnTo>
                    <a:pt x="938" y="600"/>
                  </a:lnTo>
                  <a:lnTo>
                    <a:pt x="922" y="640"/>
                  </a:lnTo>
                  <a:lnTo>
                    <a:pt x="862" y="650"/>
                  </a:lnTo>
                  <a:lnTo>
                    <a:pt x="844" y="682"/>
                  </a:lnTo>
                  <a:lnTo>
                    <a:pt x="858" y="718"/>
                  </a:lnTo>
                  <a:lnTo>
                    <a:pt x="836" y="752"/>
                  </a:lnTo>
                  <a:lnTo>
                    <a:pt x="838" y="766"/>
                  </a:lnTo>
                  <a:lnTo>
                    <a:pt x="852" y="796"/>
                  </a:lnTo>
                  <a:lnTo>
                    <a:pt x="848" y="812"/>
                  </a:lnTo>
                  <a:close/>
                </a:path>
              </a:pathLst>
            </a:custGeom>
            <a:solidFill>
              <a:srgbClr val="FFBC04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4513256" y="2246313"/>
              <a:ext cx="1698625" cy="1450975"/>
            </a:xfrm>
            <a:custGeom>
              <a:avLst/>
              <a:gdLst>
                <a:gd name="T0" fmla="*/ 1267583 w 1064"/>
                <a:gd name="T1" fmla="*/ 1283067 h 916"/>
                <a:gd name="T2" fmla="*/ 1076009 w 1064"/>
                <a:gd name="T3" fmla="*/ 1397118 h 916"/>
                <a:gd name="T4" fmla="*/ 1047272 w 1064"/>
                <a:gd name="T5" fmla="*/ 1444639 h 916"/>
                <a:gd name="T6" fmla="*/ 1008958 w 1064"/>
                <a:gd name="T7" fmla="*/ 1368605 h 916"/>
                <a:gd name="T8" fmla="*/ 964257 w 1064"/>
                <a:gd name="T9" fmla="*/ 1270395 h 916"/>
                <a:gd name="T10" fmla="*/ 916363 w 1064"/>
                <a:gd name="T11" fmla="*/ 1143673 h 916"/>
                <a:gd name="T12" fmla="*/ 871663 w 1064"/>
                <a:gd name="T13" fmla="*/ 1016950 h 916"/>
                <a:gd name="T14" fmla="*/ 798226 w 1064"/>
                <a:gd name="T15" fmla="*/ 899731 h 916"/>
                <a:gd name="T16" fmla="*/ 817383 w 1064"/>
                <a:gd name="T17" fmla="*/ 722319 h 916"/>
                <a:gd name="T18" fmla="*/ 680088 w 1064"/>
                <a:gd name="T19" fmla="*/ 779345 h 916"/>
                <a:gd name="T20" fmla="*/ 593880 w 1064"/>
                <a:gd name="T21" fmla="*/ 757168 h 916"/>
                <a:gd name="T22" fmla="*/ 597073 w 1064"/>
                <a:gd name="T23" fmla="*/ 899731 h 916"/>
                <a:gd name="T24" fmla="*/ 520443 w 1064"/>
                <a:gd name="T25" fmla="*/ 969429 h 916"/>
                <a:gd name="T26" fmla="*/ 415078 w 1064"/>
                <a:gd name="T27" fmla="*/ 937748 h 916"/>
                <a:gd name="T28" fmla="*/ 415078 w 1064"/>
                <a:gd name="T29" fmla="*/ 871219 h 916"/>
                <a:gd name="T30" fmla="*/ 341641 w 1064"/>
                <a:gd name="T31" fmla="*/ 734992 h 916"/>
                <a:gd name="T32" fmla="*/ 188381 w 1064"/>
                <a:gd name="T33" fmla="*/ 871219 h 916"/>
                <a:gd name="T34" fmla="*/ 3193 w 1064"/>
                <a:gd name="T35" fmla="*/ 779345 h 916"/>
                <a:gd name="T36" fmla="*/ 140488 w 1064"/>
                <a:gd name="T37" fmla="*/ 627277 h 916"/>
                <a:gd name="T38" fmla="*/ 181996 w 1064"/>
                <a:gd name="T39" fmla="*/ 329479 h 916"/>
                <a:gd name="T40" fmla="*/ 201153 w 1064"/>
                <a:gd name="T41" fmla="*/ 300966 h 916"/>
                <a:gd name="T42" fmla="*/ 98980 w 1064"/>
                <a:gd name="T43" fmla="*/ 275622 h 916"/>
                <a:gd name="T44" fmla="*/ 95787 w 1064"/>
                <a:gd name="T45" fmla="*/ 209093 h 916"/>
                <a:gd name="T46" fmla="*/ 140488 w 1064"/>
                <a:gd name="T47" fmla="*/ 186916 h 916"/>
                <a:gd name="T48" fmla="*/ 127716 w 1064"/>
                <a:gd name="T49" fmla="*/ 164740 h 916"/>
                <a:gd name="T50" fmla="*/ 156452 w 1064"/>
                <a:gd name="T51" fmla="*/ 117219 h 916"/>
                <a:gd name="T52" fmla="*/ 242661 w 1064"/>
                <a:gd name="T53" fmla="*/ 101378 h 916"/>
                <a:gd name="T54" fmla="*/ 335255 w 1064"/>
                <a:gd name="T55" fmla="*/ 98210 h 916"/>
                <a:gd name="T56" fmla="*/ 443814 w 1064"/>
                <a:gd name="T57" fmla="*/ 98210 h 916"/>
                <a:gd name="T58" fmla="*/ 475743 w 1064"/>
                <a:gd name="T59" fmla="*/ 174244 h 916"/>
                <a:gd name="T60" fmla="*/ 485321 w 1064"/>
                <a:gd name="T61" fmla="*/ 215429 h 916"/>
                <a:gd name="T62" fmla="*/ 450199 w 1064"/>
                <a:gd name="T63" fmla="*/ 228101 h 916"/>
                <a:gd name="T64" fmla="*/ 478936 w 1064"/>
                <a:gd name="T65" fmla="*/ 243941 h 916"/>
                <a:gd name="T66" fmla="*/ 526829 w 1064"/>
                <a:gd name="T67" fmla="*/ 259782 h 916"/>
                <a:gd name="T68" fmla="*/ 545987 w 1064"/>
                <a:gd name="T69" fmla="*/ 209093 h 916"/>
                <a:gd name="T70" fmla="*/ 517250 w 1064"/>
                <a:gd name="T71" fmla="*/ 186916 h 916"/>
                <a:gd name="T72" fmla="*/ 549179 w 1064"/>
                <a:gd name="T73" fmla="*/ 155235 h 916"/>
                <a:gd name="T74" fmla="*/ 613038 w 1064"/>
                <a:gd name="T75" fmla="*/ 202756 h 916"/>
                <a:gd name="T76" fmla="*/ 613038 w 1064"/>
                <a:gd name="T77" fmla="*/ 158403 h 916"/>
                <a:gd name="T78" fmla="*/ 616230 w 1064"/>
                <a:gd name="T79" fmla="*/ 88706 h 916"/>
                <a:gd name="T80" fmla="*/ 660931 w 1064"/>
                <a:gd name="T81" fmla="*/ 3168 h 916"/>
                <a:gd name="T82" fmla="*/ 692860 w 1064"/>
                <a:gd name="T83" fmla="*/ 15840 h 916"/>
                <a:gd name="T84" fmla="*/ 734368 w 1064"/>
                <a:gd name="T85" fmla="*/ 31681 h 916"/>
                <a:gd name="T86" fmla="*/ 887627 w 1064"/>
                <a:gd name="T87" fmla="*/ 31681 h 916"/>
                <a:gd name="T88" fmla="*/ 919556 w 1064"/>
                <a:gd name="T89" fmla="*/ 69697 h 916"/>
                <a:gd name="T90" fmla="*/ 957871 w 1064"/>
                <a:gd name="T91" fmla="*/ 117219 h 916"/>
                <a:gd name="T92" fmla="*/ 1012151 w 1064"/>
                <a:gd name="T93" fmla="*/ 183748 h 916"/>
                <a:gd name="T94" fmla="*/ 1079201 w 1064"/>
                <a:gd name="T95" fmla="*/ 275622 h 916"/>
                <a:gd name="T96" fmla="*/ 1184567 w 1064"/>
                <a:gd name="T97" fmla="*/ 272454 h 916"/>
                <a:gd name="T98" fmla="*/ 1318669 w 1064"/>
                <a:gd name="T99" fmla="*/ 300966 h 916"/>
                <a:gd name="T100" fmla="*/ 1382527 w 1064"/>
                <a:gd name="T101" fmla="*/ 307303 h 916"/>
                <a:gd name="T102" fmla="*/ 1411263 w 1064"/>
                <a:gd name="T103" fmla="*/ 348487 h 916"/>
                <a:gd name="T104" fmla="*/ 1491086 w 1064"/>
                <a:gd name="T105" fmla="*/ 405513 h 916"/>
                <a:gd name="T106" fmla="*/ 1548558 w 1064"/>
                <a:gd name="T107" fmla="*/ 411849 h 916"/>
                <a:gd name="T108" fmla="*/ 1596452 w 1064"/>
                <a:gd name="T109" fmla="*/ 453034 h 916"/>
                <a:gd name="T110" fmla="*/ 1657117 w 1064"/>
                <a:gd name="T111" fmla="*/ 459370 h 916"/>
                <a:gd name="T112" fmla="*/ 1647539 w 1064"/>
                <a:gd name="T113" fmla="*/ 551244 h 916"/>
                <a:gd name="T114" fmla="*/ 1411263 w 1064"/>
                <a:gd name="T115" fmla="*/ 595597 h 916"/>
                <a:gd name="T116" fmla="*/ 1494279 w 1064"/>
                <a:gd name="T117" fmla="*/ 798353 h 916"/>
                <a:gd name="T118" fmla="*/ 1376141 w 1064"/>
                <a:gd name="T119" fmla="*/ 1029622 h 916"/>
                <a:gd name="T120" fmla="*/ 1353791 w 1064"/>
                <a:gd name="T121" fmla="*/ 1286236 h 91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64"/>
                <a:gd name="T184" fmla="*/ 0 h 916"/>
                <a:gd name="T185" fmla="*/ 1064 w 1064"/>
                <a:gd name="T186" fmla="*/ 916 h 91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64" h="916">
                  <a:moveTo>
                    <a:pt x="848" y="812"/>
                  </a:moveTo>
                  <a:lnTo>
                    <a:pt x="828" y="814"/>
                  </a:lnTo>
                  <a:lnTo>
                    <a:pt x="812" y="798"/>
                  </a:lnTo>
                  <a:lnTo>
                    <a:pt x="798" y="792"/>
                  </a:lnTo>
                  <a:lnTo>
                    <a:pt x="794" y="798"/>
                  </a:lnTo>
                  <a:lnTo>
                    <a:pt x="794" y="810"/>
                  </a:lnTo>
                  <a:lnTo>
                    <a:pt x="780" y="826"/>
                  </a:lnTo>
                  <a:lnTo>
                    <a:pt x="784" y="846"/>
                  </a:lnTo>
                  <a:lnTo>
                    <a:pt x="704" y="888"/>
                  </a:lnTo>
                  <a:lnTo>
                    <a:pt x="688" y="866"/>
                  </a:lnTo>
                  <a:lnTo>
                    <a:pt x="672" y="870"/>
                  </a:lnTo>
                  <a:lnTo>
                    <a:pt x="674" y="882"/>
                  </a:lnTo>
                  <a:lnTo>
                    <a:pt x="670" y="884"/>
                  </a:lnTo>
                  <a:lnTo>
                    <a:pt x="652" y="874"/>
                  </a:lnTo>
                  <a:lnTo>
                    <a:pt x="628" y="886"/>
                  </a:lnTo>
                  <a:lnTo>
                    <a:pt x="636" y="898"/>
                  </a:lnTo>
                  <a:lnTo>
                    <a:pt x="650" y="902"/>
                  </a:lnTo>
                  <a:lnTo>
                    <a:pt x="656" y="912"/>
                  </a:lnTo>
                  <a:lnTo>
                    <a:pt x="652" y="916"/>
                  </a:lnTo>
                  <a:lnTo>
                    <a:pt x="618" y="908"/>
                  </a:lnTo>
                  <a:lnTo>
                    <a:pt x="602" y="888"/>
                  </a:lnTo>
                  <a:lnTo>
                    <a:pt x="618" y="874"/>
                  </a:lnTo>
                  <a:lnTo>
                    <a:pt x="628" y="874"/>
                  </a:lnTo>
                  <a:lnTo>
                    <a:pt x="632" y="864"/>
                  </a:lnTo>
                  <a:lnTo>
                    <a:pt x="622" y="848"/>
                  </a:lnTo>
                  <a:lnTo>
                    <a:pt x="628" y="832"/>
                  </a:lnTo>
                  <a:lnTo>
                    <a:pt x="634" y="828"/>
                  </a:lnTo>
                  <a:lnTo>
                    <a:pt x="640" y="818"/>
                  </a:lnTo>
                  <a:lnTo>
                    <a:pt x="634" y="792"/>
                  </a:lnTo>
                  <a:lnTo>
                    <a:pt x="604" y="802"/>
                  </a:lnTo>
                  <a:lnTo>
                    <a:pt x="590" y="798"/>
                  </a:lnTo>
                  <a:lnTo>
                    <a:pt x="574" y="800"/>
                  </a:lnTo>
                  <a:lnTo>
                    <a:pt x="562" y="796"/>
                  </a:lnTo>
                  <a:lnTo>
                    <a:pt x="566" y="758"/>
                  </a:lnTo>
                  <a:lnTo>
                    <a:pt x="576" y="736"/>
                  </a:lnTo>
                  <a:lnTo>
                    <a:pt x="574" y="722"/>
                  </a:lnTo>
                  <a:lnTo>
                    <a:pt x="560" y="716"/>
                  </a:lnTo>
                  <a:lnTo>
                    <a:pt x="568" y="700"/>
                  </a:lnTo>
                  <a:lnTo>
                    <a:pt x="554" y="676"/>
                  </a:lnTo>
                  <a:lnTo>
                    <a:pt x="540" y="680"/>
                  </a:lnTo>
                  <a:lnTo>
                    <a:pt x="538" y="658"/>
                  </a:lnTo>
                  <a:lnTo>
                    <a:pt x="546" y="642"/>
                  </a:lnTo>
                  <a:lnTo>
                    <a:pt x="528" y="626"/>
                  </a:lnTo>
                  <a:lnTo>
                    <a:pt x="508" y="620"/>
                  </a:lnTo>
                  <a:lnTo>
                    <a:pt x="504" y="592"/>
                  </a:lnTo>
                  <a:lnTo>
                    <a:pt x="524" y="596"/>
                  </a:lnTo>
                  <a:lnTo>
                    <a:pt x="526" y="572"/>
                  </a:lnTo>
                  <a:lnTo>
                    <a:pt x="500" y="568"/>
                  </a:lnTo>
                  <a:lnTo>
                    <a:pt x="510" y="528"/>
                  </a:lnTo>
                  <a:lnTo>
                    <a:pt x="524" y="520"/>
                  </a:lnTo>
                  <a:lnTo>
                    <a:pt x="532" y="492"/>
                  </a:lnTo>
                  <a:lnTo>
                    <a:pt x="526" y="484"/>
                  </a:lnTo>
                  <a:lnTo>
                    <a:pt x="532" y="468"/>
                  </a:lnTo>
                  <a:lnTo>
                    <a:pt x="512" y="456"/>
                  </a:lnTo>
                  <a:lnTo>
                    <a:pt x="484" y="482"/>
                  </a:lnTo>
                  <a:lnTo>
                    <a:pt x="484" y="494"/>
                  </a:lnTo>
                  <a:lnTo>
                    <a:pt x="472" y="498"/>
                  </a:lnTo>
                  <a:lnTo>
                    <a:pt x="462" y="494"/>
                  </a:lnTo>
                  <a:lnTo>
                    <a:pt x="432" y="500"/>
                  </a:lnTo>
                  <a:lnTo>
                    <a:pt x="426" y="492"/>
                  </a:lnTo>
                  <a:lnTo>
                    <a:pt x="424" y="464"/>
                  </a:lnTo>
                  <a:lnTo>
                    <a:pt x="414" y="456"/>
                  </a:lnTo>
                  <a:lnTo>
                    <a:pt x="398" y="466"/>
                  </a:lnTo>
                  <a:lnTo>
                    <a:pt x="384" y="464"/>
                  </a:lnTo>
                  <a:lnTo>
                    <a:pt x="374" y="470"/>
                  </a:lnTo>
                  <a:lnTo>
                    <a:pt x="372" y="478"/>
                  </a:lnTo>
                  <a:lnTo>
                    <a:pt x="358" y="486"/>
                  </a:lnTo>
                  <a:lnTo>
                    <a:pt x="346" y="480"/>
                  </a:lnTo>
                  <a:lnTo>
                    <a:pt x="340" y="496"/>
                  </a:lnTo>
                  <a:lnTo>
                    <a:pt x="354" y="500"/>
                  </a:lnTo>
                  <a:lnTo>
                    <a:pt x="378" y="524"/>
                  </a:lnTo>
                  <a:lnTo>
                    <a:pt x="374" y="568"/>
                  </a:lnTo>
                  <a:lnTo>
                    <a:pt x="388" y="572"/>
                  </a:lnTo>
                  <a:lnTo>
                    <a:pt x="390" y="582"/>
                  </a:lnTo>
                  <a:lnTo>
                    <a:pt x="366" y="604"/>
                  </a:lnTo>
                  <a:lnTo>
                    <a:pt x="346" y="592"/>
                  </a:lnTo>
                  <a:lnTo>
                    <a:pt x="334" y="598"/>
                  </a:lnTo>
                  <a:lnTo>
                    <a:pt x="326" y="612"/>
                  </a:lnTo>
                  <a:lnTo>
                    <a:pt x="298" y="614"/>
                  </a:lnTo>
                  <a:lnTo>
                    <a:pt x="288" y="610"/>
                  </a:lnTo>
                  <a:lnTo>
                    <a:pt x="266" y="620"/>
                  </a:lnTo>
                  <a:lnTo>
                    <a:pt x="248" y="620"/>
                  </a:lnTo>
                  <a:lnTo>
                    <a:pt x="246" y="604"/>
                  </a:lnTo>
                  <a:lnTo>
                    <a:pt x="260" y="592"/>
                  </a:lnTo>
                  <a:lnTo>
                    <a:pt x="274" y="592"/>
                  </a:lnTo>
                  <a:lnTo>
                    <a:pt x="280" y="582"/>
                  </a:lnTo>
                  <a:lnTo>
                    <a:pt x="290" y="582"/>
                  </a:lnTo>
                  <a:lnTo>
                    <a:pt x="284" y="558"/>
                  </a:lnTo>
                  <a:lnTo>
                    <a:pt x="264" y="558"/>
                  </a:lnTo>
                  <a:lnTo>
                    <a:pt x="260" y="550"/>
                  </a:lnTo>
                  <a:lnTo>
                    <a:pt x="280" y="514"/>
                  </a:lnTo>
                  <a:lnTo>
                    <a:pt x="278" y="500"/>
                  </a:lnTo>
                  <a:lnTo>
                    <a:pt x="260" y="488"/>
                  </a:lnTo>
                  <a:lnTo>
                    <a:pt x="244" y="490"/>
                  </a:lnTo>
                  <a:lnTo>
                    <a:pt x="218" y="478"/>
                  </a:lnTo>
                  <a:lnTo>
                    <a:pt x="214" y="464"/>
                  </a:lnTo>
                  <a:lnTo>
                    <a:pt x="188" y="452"/>
                  </a:lnTo>
                  <a:lnTo>
                    <a:pt x="170" y="472"/>
                  </a:lnTo>
                  <a:lnTo>
                    <a:pt x="186" y="480"/>
                  </a:lnTo>
                  <a:lnTo>
                    <a:pt x="170" y="502"/>
                  </a:lnTo>
                  <a:lnTo>
                    <a:pt x="172" y="514"/>
                  </a:lnTo>
                  <a:lnTo>
                    <a:pt x="118" y="550"/>
                  </a:lnTo>
                  <a:lnTo>
                    <a:pt x="84" y="552"/>
                  </a:lnTo>
                  <a:lnTo>
                    <a:pt x="72" y="532"/>
                  </a:lnTo>
                  <a:lnTo>
                    <a:pt x="82" y="520"/>
                  </a:lnTo>
                  <a:lnTo>
                    <a:pt x="66" y="496"/>
                  </a:lnTo>
                  <a:lnTo>
                    <a:pt x="52" y="512"/>
                  </a:lnTo>
                  <a:lnTo>
                    <a:pt x="2" y="492"/>
                  </a:lnTo>
                  <a:lnTo>
                    <a:pt x="0" y="464"/>
                  </a:lnTo>
                  <a:lnTo>
                    <a:pt x="10" y="432"/>
                  </a:lnTo>
                  <a:lnTo>
                    <a:pt x="30" y="428"/>
                  </a:lnTo>
                  <a:lnTo>
                    <a:pt x="78" y="438"/>
                  </a:lnTo>
                  <a:lnTo>
                    <a:pt x="90" y="430"/>
                  </a:lnTo>
                  <a:lnTo>
                    <a:pt x="88" y="396"/>
                  </a:lnTo>
                  <a:lnTo>
                    <a:pt x="116" y="314"/>
                  </a:lnTo>
                  <a:lnTo>
                    <a:pt x="110" y="288"/>
                  </a:lnTo>
                  <a:lnTo>
                    <a:pt x="110" y="216"/>
                  </a:lnTo>
                  <a:lnTo>
                    <a:pt x="114" y="208"/>
                  </a:lnTo>
                  <a:lnTo>
                    <a:pt x="116" y="204"/>
                  </a:lnTo>
                  <a:lnTo>
                    <a:pt x="120" y="200"/>
                  </a:lnTo>
                  <a:lnTo>
                    <a:pt x="126" y="198"/>
                  </a:lnTo>
                  <a:lnTo>
                    <a:pt x="128" y="194"/>
                  </a:lnTo>
                  <a:lnTo>
                    <a:pt x="126" y="190"/>
                  </a:lnTo>
                  <a:lnTo>
                    <a:pt x="120" y="188"/>
                  </a:lnTo>
                  <a:lnTo>
                    <a:pt x="98" y="182"/>
                  </a:lnTo>
                  <a:lnTo>
                    <a:pt x="76" y="180"/>
                  </a:lnTo>
                  <a:lnTo>
                    <a:pt x="68" y="178"/>
                  </a:lnTo>
                  <a:lnTo>
                    <a:pt x="62" y="174"/>
                  </a:lnTo>
                  <a:lnTo>
                    <a:pt x="58" y="170"/>
                  </a:lnTo>
                  <a:lnTo>
                    <a:pt x="56" y="164"/>
                  </a:lnTo>
                  <a:lnTo>
                    <a:pt x="58" y="150"/>
                  </a:lnTo>
                  <a:lnTo>
                    <a:pt x="58" y="138"/>
                  </a:lnTo>
                  <a:lnTo>
                    <a:pt x="60" y="132"/>
                  </a:lnTo>
                  <a:lnTo>
                    <a:pt x="62" y="126"/>
                  </a:lnTo>
                  <a:lnTo>
                    <a:pt x="66" y="124"/>
                  </a:lnTo>
                  <a:lnTo>
                    <a:pt x="70" y="122"/>
                  </a:lnTo>
                  <a:lnTo>
                    <a:pt x="84" y="120"/>
                  </a:lnTo>
                  <a:lnTo>
                    <a:pt x="88" y="118"/>
                  </a:lnTo>
                  <a:lnTo>
                    <a:pt x="88" y="114"/>
                  </a:lnTo>
                  <a:lnTo>
                    <a:pt x="88" y="108"/>
                  </a:lnTo>
                  <a:lnTo>
                    <a:pt x="84" y="106"/>
                  </a:lnTo>
                  <a:lnTo>
                    <a:pt x="80" y="104"/>
                  </a:lnTo>
                  <a:lnTo>
                    <a:pt x="78" y="102"/>
                  </a:lnTo>
                  <a:lnTo>
                    <a:pt x="78" y="98"/>
                  </a:lnTo>
                  <a:lnTo>
                    <a:pt x="82" y="90"/>
                  </a:lnTo>
                  <a:lnTo>
                    <a:pt x="88" y="8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12" y="66"/>
                  </a:lnTo>
                  <a:lnTo>
                    <a:pt x="120" y="64"/>
                  </a:lnTo>
                  <a:lnTo>
                    <a:pt x="128" y="64"/>
                  </a:lnTo>
                  <a:lnTo>
                    <a:pt x="152" y="64"/>
                  </a:lnTo>
                  <a:lnTo>
                    <a:pt x="168" y="66"/>
                  </a:lnTo>
                  <a:lnTo>
                    <a:pt x="180" y="68"/>
                  </a:lnTo>
                  <a:lnTo>
                    <a:pt x="194" y="66"/>
                  </a:lnTo>
                  <a:lnTo>
                    <a:pt x="210" y="62"/>
                  </a:lnTo>
                  <a:lnTo>
                    <a:pt x="236" y="58"/>
                  </a:lnTo>
                  <a:lnTo>
                    <a:pt x="250" y="56"/>
                  </a:lnTo>
                  <a:lnTo>
                    <a:pt x="262" y="56"/>
                  </a:lnTo>
                  <a:lnTo>
                    <a:pt x="272" y="58"/>
                  </a:lnTo>
                  <a:lnTo>
                    <a:pt x="276" y="60"/>
                  </a:lnTo>
                  <a:lnTo>
                    <a:pt x="278" y="62"/>
                  </a:lnTo>
                  <a:lnTo>
                    <a:pt x="288" y="80"/>
                  </a:lnTo>
                  <a:lnTo>
                    <a:pt x="292" y="90"/>
                  </a:lnTo>
                  <a:lnTo>
                    <a:pt x="294" y="98"/>
                  </a:lnTo>
                  <a:lnTo>
                    <a:pt x="298" y="110"/>
                  </a:lnTo>
                  <a:lnTo>
                    <a:pt x="304" y="120"/>
                  </a:lnTo>
                  <a:lnTo>
                    <a:pt x="308" y="128"/>
                  </a:lnTo>
                  <a:lnTo>
                    <a:pt x="308" y="132"/>
                  </a:lnTo>
                  <a:lnTo>
                    <a:pt x="308" y="134"/>
                  </a:lnTo>
                  <a:lnTo>
                    <a:pt x="304" y="136"/>
                  </a:lnTo>
                  <a:lnTo>
                    <a:pt x="300" y="136"/>
                  </a:lnTo>
                  <a:lnTo>
                    <a:pt x="290" y="134"/>
                  </a:lnTo>
                  <a:lnTo>
                    <a:pt x="284" y="136"/>
                  </a:lnTo>
                  <a:lnTo>
                    <a:pt x="282" y="136"/>
                  </a:lnTo>
                  <a:lnTo>
                    <a:pt x="282" y="144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92" y="152"/>
                  </a:lnTo>
                  <a:lnTo>
                    <a:pt x="300" y="154"/>
                  </a:lnTo>
                  <a:lnTo>
                    <a:pt x="308" y="158"/>
                  </a:lnTo>
                  <a:lnTo>
                    <a:pt x="314" y="162"/>
                  </a:lnTo>
                  <a:lnTo>
                    <a:pt x="322" y="166"/>
                  </a:lnTo>
                  <a:lnTo>
                    <a:pt x="326" y="166"/>
                  </a:lnTo>
                  <a:lnTo>
                    <a:pt x="330" y="164"/>
                  </a:lnTo>
                  <a:lnTo>
                    <a:pt x="334" y="162"/>
                  </a:lnTo>
                  <a:lnTo>
                    <a:pt x="336" y="156"/>
                  </a:lnTo>
                  <a:lnTo>
                    <a:pt x="340" y="144"/>
                  </a:lnTo>
                  <a:lnTo>
                    <a:pt x="342" y="136"/>
                  </a:lnTo>
                  <a:lnTo>
                    <a:pt x="342" y="132"/>
                  </a:lnTo>
                  <a:lnTo>
                    <a:pt x="338" y="128"/>
                  </a:lnTo>
                  <a:lnTo>
                    <a:pt x="332" y="126"/>
                  </a:lnTo>
                  <a:lnTo>
                    <a:pt x="326" y="122"/>
                  </a:lnTo>
                  <a:lnTo>
                    <a:pt x="324" y="120"/>
                  </a:lnTo>
                  <a:lnTo>
                    <a:pt x="324" y="118"/>
                  </a:lnTo>
                  <a:lnTo>
                    <a:pt x="324" y="114"/>
                  </a:lnTo>
                  <a:lnTo>
                    <a:pt x="326" y="110"/>
                  </a:lnTo>
                  <a:lnTo>
                    <a:pt x="332" y="100"/>
                  </a:lnTo>
                  <a:lnTo>
                    <a:pt x="338" y="98"/>
                  </a:lnTo>
                  <a:lnTo>
                    <a:pt x="344" y="98"/>
                  </a:lnTo>
                  <a:lnTo>
                    <a:pt x="350" y="102"/>
                  </a:lnTo>
                  <a:lnTo>
                    <a:pt x="366" y="118"/>
                  </a:lnTo>
                  <a:lnTo>
                    <a:pt x="376" y="124"/>
                  </a:lnTo>
                  <a:lnTo>
                    <a:pt x="384" y="128"/>
                  </a:lnTo>
                  <a:lnTo>
                    <a:pt x="390" y="126"/>
                  </a:lnTo>
                  <a:lnTo>
                    <a:pt x="394" y="122"/>
                  </a:lnTo>
                  <a:lnTo>
                    <a:pt x="394" y="116"/>
                  </a:lnTo>
                  <a:lnTo>
                    <a:pt x="390" y="108"/>
                  </a:lnTo>
                  <a:lnTo>
                    <a:pt x="384" y="100"/>
                  </a:lnTo>
                  <a:lnTo>
                    <a:pt x="378" y="92"/>
                  </a:lnTo>
                  <a:lnTo>
                    <a:pt x="374" y="82"/>
                  </a:lnTo>
                  <a:lnTo>
                    <a:pt x="374" y="76"/>
                  </a:lnTo>
                  <a:lnTo>
                    <a:pt x="376" y="72"/>
                  </a:lnTo>
                  <a:lnTo>
                    <a:pt x="386" y="56"/>
                  </a:lnTo>
                  <a:lnTo>
                    <a:pt x="392" y="46"/>
                  </a:lnTo>
                  <a:lnTo>
                    <a:pt x="396" y="36"/>
                  </a:lnTo>
                  <a:lnTo>
                    <a:pt x="404" y="12"/>
                  </a:lnTo>
                  <a:lnTo>
                    <a:pt x="410" y="4"/>
                  </a:lnTo>
                  <a:lnTo>
                    <a:pt x="414" y="2"/>
                  </a:lnTo>
                  <a:lnTo>
                    <a:pt x="418" y="0"/>
                  </a:lnTo>
                  <a:lnTo>
                    <a:pt x="426" y="2"/>
                  </a:lnTo>
                  <a:lnTo>
                    <a:pt x="430" y="4"/>
                  </a:lnTo>
                  <a:lnTo>
                    <a:pt x="432" y="6"/>
                  </a:lnTo>
                  <a:lnTo>
                    <a:pt x="434" y="10"/>
                  </a:lnTo>
                  <a:lnTo>
                    <a:pt x="436" y="14"/>
                  </a:lnTo>
                  <a:lnTo>
                    <a:pt x="440" y="18"/>
                  </a:lnTo>
                  <a:lnTo>
                    <a:pt x="448" y="20"/>
                  </a:lnTo>
                  <a:lnTo>
                    <a:pt x="460" y="20"/>
                  </a:lnTo>
                  <a:lnTo>
                    <a:pt x="494" y="18"/>
                  </a:lnTo>
                  <a:lnTo>
                    <a:pt x="530" y="18"/>
                  </a:lnTo>
                  <a:lnTo>
                    <a:pt x="548" y="20"/>
                  </a:lnTo>
                  <a:lnTo>
                    <a:pt x="554" y="20"/>
                  </a:lnTo>
                  <a:lnTo>
                    <a:pt x="556" y="20"/>
                  </a:lnTo>
                  <a:lnTo>
                    <a:pt x="556" y="18"/>
                  </a:lnTo>
                  <a:lnTo>
                    <a:pt x="566" y="24"/>
                  </a:lnTo>
                  <a:lnTo>
                    <a:pt x="570" y="30"/>
                  </a:lnTo>
                  <a:lnTo>
                    <a:pt x="576" y="44"/>
                  </a:lnTo>
                  <a:lnTo>
                    <a:pt x="582" y="56"/>
                  </a:lnTo>
                  <a:lnTo>
                    <a:pt x="586" y="60"/>
                  </a:lnTo>
                  <a:lnTo>
                    <a:pt x="592" y="64"/>
                  </a:lnTo>
                  <a:lnTo>
                    <a:pt x="598" y="68"/>
                  </a:lnTo>
                  <a:lnTo>
                    <a:pt x="600" y="74"/>
                  </a:lnTo>
                  <a:lnTo>
                    <a:pt x="606" y="90"/>
                  </a:lnTo>
                  <a:lnTo>
                    <a:pt x="612" y="102"/>
                  </a:lnTo>
                  <a:lnTo>
                    <a:pt x="620" y="108"/>
                  </a:lnTo>
                  <a:lnTo>
                    <a:pt x="634" y="116"/>
                  </a:lnTo>
                  <a:lnTo>
                    <a:pt x="646" y="122"/>
                  </a:lnTo>
                  <a:lnTo>
                    <a:pt x="660" y="124"/>
                  </a:lnTo>
                  <a:lnTo>
                    <a:pt x="660" y="144"/>
                  </a:lnTo>
                  <a:lnTo>
                    <a:pt x="672" y="156"/>
                  </a:lnTo>
                  <a:lnTo>
                    <a:pt x="676" y="174"/>
                  </a:lnTo>
                  <a:lnTo>
                    <a:pt x="686" y="178"/>
                  </a:lnTo>
                  <a:lnTo>
                    <a:pt x="690" y="168"/>
                  </a:lnTo>
                  <a:lnTo>
                    <a:pt x="702" y="172"/>
                  </a:lnTo>
                  <a:lnTo>
                    <a:pt x="706" y="190"/>
                  </a:lnTo>
                  <a:lnTo>
                    <a:pt x="724" y="190"/>
                  </a:lnTo>
                  <a:lnTo>
                    <a:pt x="742" y="172"/>
                  </a:lnTo>
                  <a:lnTo>
                    <a:pt x="764" y="186"/>
                  </a:lnTo>
                  <a:lnTo>
                    <a:pt x="790" y="182"/>
                  </a:lnTo>
                  <a:lnTo>
                    <a:pt x="798" y="172"/>
                  </a:lnTo>
                  <a:lnTo>
                    <a:pt x="816" y="184"/>
                  </a:lnTo>
                  <a:lnTo>
                    <a:pt x="826" y="190"/>
                  </a:lnTo>
                  <a:lnTo>
                    <a:pt x="836" y="192"/>
                  </a:lnTo>
                  <a:lnTo>
                    <a:pt x="848" y="190"/>
                  </a:lnTo>
                  <a:lnTo>
                    <a:pt x="858" y="192"/>
                  </a:lnTo>
                  <a:lnTo>
                    <a:pt x="866" y="194"/>
                  </a:lnTo>
                  <a:lnTo>
                    <a:pt x="870" y="196"/>
                  </a:lnTo>
                  <a:lnTo>
                    <a:pt x="872" y="200"/>
                  </a:lnTo>
                  <a:lnTo>
                    <a:pt x="874" y="206"/>
                  </a:lnTo>
                  <a:lnTo>
                    <a:pt x="880" y="216"/>
                  </a:lnTo>
                  <a:lnTo>
                    <a:pt x="884" y="220"/>
                  </a:lnTo>
                  <a:lnTo>
                    <a:pt x="888" y="222"/>
                  </a:lnTo>
                  <a:lnTo>
                    <a:pt x="904" y="230"/>
                  </a:lnTo>
                  <a:lnTo>
                    <a:pt x="920" y="244"/>
                  </a:lnTo>
                  <a:lnTo>
                    <a:pt x="934" y="256"/>
                  </a:lnTo>
                  <a:lnTo>
                    <a:pt x="942" y="258"/>
                  </a:lnTo>
                  <a:lnTo>
                    <a:pt x="948" y="258"/>
                  </a:lnTo>
                  <a:lnTo>
                    <a:pt x="960" y="256"/>
                  </a:lnTo>
                  <a:lnTo>
                    <a:pt x="966" y="256"/>
                  </a:lnTo>
                  <a:lnTo>
                    <a:pt x="970" y="260"/>
                  </a:lnTo>
                  <a:lnTo>
                    <a:pt x="982" y="276"/>
                  </a:lnTo>
                  <a:lnTo>
                    <a:pt x="990" y="284"/>
                  </a:lnTo>
                  <a:lnTo>
                    <a:pt x="994" y="286"/>
                  </a:lnTo>
                  <a:lnTo>
                    <a:pt x="1000" y="286"/>
                  </a:lnTo>
                  <a:lnTo>
                    <a:pt x="1008" y="286"/>
                  </a:lnTo>
                  <a:lnTo>
                    <a:pt x="1016" y="282"/>
                  </a:lnTo>
                  <a:lnTo>
                    <a:pt x="1022" y="282"/>
                  </a:lnTo>
                  <a:lnTo>
                    <a:pt x="1026" y="284"/>
                  </a:lnTo>
                  <a:lnTo>
                    <a:pt x="1038" y="290"/>
                  </a:lnTo>
                  <a:lnTo>
                    <a:pt x="1054" y="296"/>
                  </a:lnTo>
                  <a:lnTo>
                    <a:pt x="1064" y="298"/>
                  </a:lnTo>
                  <a:lnTo>
                    <a:pt x="1062" y="310"/>
                  </a:lnTo>
                  <a:lnTo>
                    <a:pt x="1030" y="336"/>
                  </a:lnTo>
                  <a:lnTo>
                    <a:pt x="1032" y="348"/>
                  </a:lnTo>
                  <a:lnTo>
                    <a:pt x="986" y="362"/>
                  </a:lnTo>
                  <a:lnTo>
                    <a:pt x="968" y="354"/>
                  </a:lnTo>
                  <a:lnTo>
                    <a:pt x="924" y="364"/>
                  </a:lnTo>
                  <a:lnTo>
                    <a:pt x="924" y="376"/>
                  </a:lnTo>
                  <a:lnTo>
                    <a:pt x="902" y="372"/>
                  </a:lnTo>
                  <a:lnTo>
                    <a:pt x="884" y="376"/>
                  </a:lnTo>
                  <a:lnTo>
                    <a:pt x="878" y="404"/>
                  </a:lnTo>
                  <a:lnTo>
                    <a:pt x="892" y="414"/>
                  </a:lnTo>
                  <a:lnTo>
                    <a:pt x="898" y="432"/>
                  </a:lnTo>
                  <a:lnTo>
                    <a:pt x="918" y="438"/>
                  </a:lnTo>
                  <a:lnTo>
                    <a:pt x="920" y="484"/>
                  </a:lnTo>
                  <a:lnTo>
                    <a:pt x="936" y="504"/>
                  </a:lnTo>
                  <a:lnTo>
                    <a:pt x="922" y="516"/>
                  </a:lnTo>
                  <a:lnTo>
                    <a:pt x="926" y="528"/>
                  </a:lnTo>
                  <a:lnTo>
                    <a:pt x="928" y="588"/>
                  </a:lnTo>
                  <a:lnTo>
                    <a:pt x="938" y="600"/>
                  </a:lnTo>
                  <a:lnTo>
                    <a:pt x="922" y="640"/>
                  </a:lnTo>
                  <a:lnTo>
                    <a:pt x="862" y="650"/>
                  </a:lnTo>
                  <a:lnTo>
                    <a:pt x="844" y="682"/>
                  </a:lnTo>
                  <a:lnTo>
                    <a:pt x="858" y="718"/>
                  </a:lnTo>
                  <a:lnTo>
                    <a:pt x="836" y="752"/>
                  </a:lnTo>
                  <a:lnTo>
                    <a:pt x="838" y="766"/>
                  </a:lnTo>
                  <a:lnTo>
                    <a:pt x="852" y="796"/>
                  </a:lnTo>
                  <a:lnTo>
                    <a:pt x="848" y="812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6196006" y="2471738"/>
              <a:ext cx="1144588" cy="1165225"/>
            </a:xfrm>
            <a:custGeom>
              <a:avLst/>
              <a:gdLst>
                <a:gd name="T0" fmla="*/ 617054 w 716"/>
                <a:gd name="T1" fmla="*/ 1155726 h 736"/>
                <a:gd name="T2" fmla="*/ 837659 w 716"/>
                <a:gd name="T3" fmla="*/ 1158892 h 736"/>
                <a:gd name="T4" fmla="*/ 907997 w 716"/>
                <a:gd name="T5" fmla="*/ 1098731 h 736"/>
                <a:gd name="T6" fmla="*/ 1134996 w 716"/>
                <a:gd name="T7" fmla="*/ 1035404 h 736"/>
                <a:gd name="T8" fmla="*/ 1134996 w 716"/>
                <a:gd name="T9" fmla="*/ 1016406 h 736"/>
                <a:gd name="T10" fmla="*/ 1144588 w 716"/>
                <a:gd name="T11" fmla="*/ 994241 h 736"/>
                <a:gd name="T12" fmla="*/ 1119011 w 716"/>
                <a:gd name="T13" fmla="*/ 959411 h 736"/>
                <a:gd name="T14" fmla="*/ 1087039 w 716"/>
                <a:gd name="T15" fmla="*/ 915082 h 736"/>
                <a:gd name="T16" fmla="*/ 1093433 w 716"/>
                <a:gd name="T17" fmla="*/ 861253 h 736"/>
                <a:gd name="T18" fmla="*/ 1119011 w 716"/>
                <a:gd name="T19" fmla="*/ 829590 h 736"/>
                <a:gd name="T20" fmla="*/ 1122208 w 716"/>
                <a:gd name="T21" fmla="*/ 775761 h 736"/>
                <a:gd name="T22" fmla="*/ 1122208 w 716"/>
                <a:gd name="T23" fmla="*/ 750430 h 736"/>
                <a:gd name="T24" fmla="*/ 1090236 w 716"/>
                <a:gd name="T25" fmla="*/ 725099 h 736"/>
                <a:gd name="T26" fmla="*/ 1087039 w 716"/>
                <a:gd name="T27" fmla="*/ 674437 h 736"/>
                <a:gd name="T28" fmla="*/ 1064659 w 716"/>
                <a:gd name="T29" fmla="*/ 658605 h 736"/>
                <a:gd name="T30" fmla="*/ 1039081 w 716"/>
                <a:gd name="T31" fmla="*/ 614276 h 736"/>
                <a:gd name="T32" fmla="*/ 1045476 w 716"/>
                <a:gd name="T33" fmla="*/ 547782 h 736"/>
                <a:gd name="T34" fmla="*/ 1048673 w 716"/>
                <a:gd name="T35" fmla="*/ 493954 h 736"/>
                <a:gd name="T36" fmla="*/ 991124 w 716"/>
                <a:gd name="T37" fmla="*/ 433793 h 736"/>
                <a:gd name="T38" fmla="*/ 949561 w 716"/>
                <a:gd name="T39" fmla="*/ 392630 h 736"/>
                <a:gd name="T40" fmla="*/ 895209 w 716"/>
                <a:gd name="T41" fmla="*/ 367299 h 736"/>
                <a:gd name="T42" fmla="*/ 872828 w 716"/>
                <a:gd name="T43" fmla="*/ 332469 h 736"/>
                <a:gd name="T44" fmla="*/ 882420 w 716"/>
                <a:gd name="T45" fmla="*/ 265975 h 736"/>
                <a:gd name="T46" fmla="*/ 907997 w 716"/>
                <a:gd name="T47" fmla="*/ 243811 h 736"/>
                <a:gd name="T48" fmla="*/ 927180 w 716"/>
                <a:gd name="T49" fmla="*/ 215313 h 736"/>
                <a:gd name="T50" fmla="*/ 946363 w 716"/>
                <a:gd name="T51" fmla="*/ 199481 h 736"/>
                <a:gd name="T52" fmla="*/ 959152 w 716"/>
                <a:gd name="T53" fmla="*/ 170984 h 736"/>
                <a:gd name="T54" fmla="*/ 949561 w 716"/>
                <a:gd name="T55" fmla="*/ 104490 h 736"/>
                <a:gd name="T56" fmla="*/ 943166 w 716"/>
                <a:gd name="T57" fmla="*/ 50662 h 736"/>
                <a:gd name="T58" fmla="*/ 840857 w 716"/>
                <a:gd name="T59" fmla="*/ 0 h 736"/>
                <a:gd name="T60" fmla="*/ 668209 w 716"/>
                <a:gd name="T61" fmla="*/ 98158 h 736"/>
                <a:gd name="T62" fmla="*/ 591477 w 716"/>
                <a:gd name="T63" fmla="*/ 120322 h 736"/>
                <a:gd name="T64" fmla="*/ 533928 w 716"/>
                <a:gd name="T65" fmla="*/ 136154 h 736"/>
                <a:gd name="T66" fmla="*/ 444407 w 716"/>
                <a:gd name="T67" fmla="*/ 167818 h 736"/>
                <a:gd name="T68" fmla="*/ 198225 w 716"/>
                <a:gd name="T69" fmla="*/ 75993 h 736"/>
                <a:gd name="T70" fmla="*/ 92718 w 716"/>
                <a:gd name="T71" fmla="*/ 126655 h 736"/>
                <a:gd name="T72" fmla="*/ 44760 w 716"/>
                <a:gd name="T73" fmla="*/ 136154 h 736"/>
                <a:gd name="T74" fmla="*/ 28775 w 716"/>
                <a:gd name="T75" fmla="*/ 212147 h 736"/>
                <a:gd name="T76" fmla="*/ 31972 w 716"/>
                <a:gd name="T77" fmla="*/ 262809 h 736"/>
                <a:gd name="T78" fmla="*/ 60746 w 716"/>
                <a:gd name="T79" fmla="*/ 281807 h 736"/>
                <a:gd name="T80" fmla="*/ 99112 w 716"/>
                <a:gd name="T81" fmla="*/ 303972 h 736"/>
                <a:gd name="T82" fmla="*/ 127887 w 716"/>
                <a:gd name="T83" fmla="*/ 329303 h 736"/>
                <a:gd name="T84" fmla="*/ 211013 w 716"/>
                <a:gd name="T85" fmla="*/ 345135 h 736"/>
                <a:gd name="T86" fmla="*/ 246182 w 716"/>
                <a:gd name="T87" fmla="*/ 452791 h 736"/>
                <a:gd name="T88" fmla="*/ 214211 w 716"/>
                <a:gd name="T89" fmla="*/ 531951 h 736"/>
                <a:gd name="T90" fmla="*/ 274957 w 716"/>
                <a:gd name="T91" fmla="*/ 576280 h 736"/>
                <a:gd name="T92" fmla="*/ 258971 w 716"/>
                <a:gd name="T93" fmla="*/ 687103 h 736"/>
                <a:gd name="T94" fmla="*/ 332506 w 716"/>
                <a:gd name="T95" fmla="*/ 804258 h 736"/>
                <a:gd name="T96" fmla="*/ 511548 w 716"/>
                <a:gd name="T97" fmla="*/ 864420 h 736"/>
                <a:gd name="T98" fmla="*/ 575491 w 716"/>
                <a:gd name="T99" fmla="*/ 1051236 h 7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16"/>
                <a:gd name="T151" fmla="*/ 0 h 736"/>
                <a:gd name="T152" fmla="*/ 716 w 716"/>
                <a:gd name="T153" fmla="*/ 736 h 7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16" h="736">
                  <a:moveTo>
                    <a:pt x="360" y="664"/>
                  </a:moveTo>
                  <a:lnTo>
                    <a:pt x="386" y="686"/>
                  </a:lnTo>
                  <a:lnTo>
                    <a:pt x="376" y="710"/>
                  </a:lnTo>
                  <a:lnTo>
                    <a:pt x="386" y="730"/>
                  </a:lnTo>
                  <a:lnTo>
                    <a:pt x="408" y="718"/>
                  </a:lnTo>
                  <a:lnTo>
                    <a:pt x="442" y="716"/>
                  </a:lnTo>
                  <a:lnTo>
                    <a:pt x="470" y="736"/>
                  </a:lnTo>
                  <a:lnTo>
                    <a:pt x="524" y="732"/>
                  </a:lnTo>
                  <a:lnTo>
                    <a:pt x="544" y="722"/>
                  </a:lnTo>
                  <a:lnTo>
                    <a:pt x="562" y="726"/>
                  </a:lnTo>
                  <a:lnTo>
                    <a:pt x="572" y="708"/>
                  </a:lnTo>
                  <a:lnTo>
                    <a:pt x="568" y="694"/>
                  </a:lnTo>
                  <a:lnTo>
                    <a:pt x="586" y="672"/>
                  </a:lnTo>
                  <a:lnTo>
                    <a:pt x="624" y="678"/>
                  </a:lnTo>
                  <a:lnTo>
                    <a:pt x="648" y="668"/>
                  </a:lnTo>
                  <a:lnTo>
                    <a:pt x="710" y="654"/>
                  </a:lnTo>
                  <a:lnTo>
                    <a:pt x="710" y="650"/>
                  </a:lnTo>
                  <a:lnTo>
                    <a:pt x="710" y="642"/>
                  </a:lnTo>
                  <a:lnTo>
                    <a:pt x="712" y="638"/>
                  </a:lnTo>
                  <a:lnTo>
                    <a:pt x="714" y="634"/>
                  </a:lnTo>
                  <a:lnTo>
                    <a:pt x="716" y="628"/>
                  </a:lnTo>
                  <a:lnTo>
                    <a:pt x="716" y="622"/>
                  </a:lnTo>
                  <a:lnTo>
                    <a:pt x="714" y="618"/>
                  </a:lnTo>
                  <a:lnTo>
                    <a:pt x="708" y="612"/>
                  </a:lnTo>
                  <a:lnTo>
                    <a:pt x="700" y="606"/>
                  </a:lnTo>
                  <a:lnTo>
                    <a:pt x="694" y="600"/>
                  </a:lnTo>
                  <a:lnTo>
                    <a:pt x="684" y="586"/>
                  </a:lnTo>
                  <a:lnTo>
                    <a:pt x="680" y="578"/>
                  </a:lnTo>
                  <a:lnTo>
                    <a:pt x="680" y="568"/>
                  </a:lnTo>
                  <a:lnTo>
                    <a:pt x="682" y="552"/>
                  </a:lnTo>
                  <a:lnTo>
                    <a:pt x="684" y="544"/>
                  </a:lnTo>
                  <a:lnTo>
                    <a:pt x="688" y="538"/>
                  </a:lnTo>
                  <a:lnTo>
                    <a:pt x="696" y="530"/>
                  </a:lnTo>
                  <a:lnTo>
                    <a:pt x="700" y="524"/>
                  </a:lnTo>
                  <a:lnTo>
                    <a:pt x="702" y="518"/>
                  </a:lnTo>
                  <a:lnTo>
                    <a:pt x="702" y="504"/>
                  </a:lnTo>
                  <a:lnTo>
                    <a:pt x="702" y="490"/>
                  </a:lnTo>
                  <a:lnTo>
                    <a:pt x="704" y="484"/>
                  </a:lnTo>
                  <a:lnTo>
                    <a:pt x="704" y="478"/>
                  </a:lnTo>
                  <a:lnTo>
                    <a:pt x="702" y="474"/>
                  </a:lnTo>
                  <a:lnTo>
                    <a:pt x="694" y="468"/>
                  </a:lnTo>
                  <a:lnTo>
                    <a:pt x="686" y="464"/>
                  </a:lnTo>
                  <a:lnTo>
                    <a:pt x="682" y="458"/>
                  </a:lnTo>
                  <a:lnTo>
                    <a:pt x="680" y="454"/>
                  </a:lnTo>
                  <a:lnTo>
                    <a:pt x="680" y="444"/>
                  </a:lnTo>
                  <a:lnTo>
                    <a:pt x="680" y="426"/>
                  </a:lnTo>
                  <a:lnTo>
                    <a:pt x="678" y="422"/>
                  </a:lnTo>
                  <a:lnTo>
                    <a:pt x="674" y="418"/>
                  </a:lnTo>
                  <a:lnTo>
                    <a:pt x="666" y="416"/>
                  </a:lnTo>
                  <a:lnTo>
                    <a:pt x="660" y="410"/>
                  </a:lnTo>
                  <a:lnTo>
                    <a:pt x="654" y="402"/>
                  </a:lnTo>
                  <a:lnTo>
                    <a:pt x="650" y="388"/>
                  </a:lnTo>
                  <a:lnTo>
                    <a:pt x="648" y="362"/>
                  </a:lnTo>
                  <a:lnTo>
                    <a:pt x="650" y="352"/>
                  </a:lnTo>
                  <a:lnTo>
                    <a:pt x="654" y="346"/>
                  </a:lnTo>
                  <a:lnTo>
                    <a:pt x="658" y="340"/>
                  </a:lnTo>
                  <a:lnTo>
                    <a:pt x="660" y="330"/>
                  </a:lnTo>
                  <a:lnTo>
                    <a:pt x="660" y="322"/>
                  </a:lnTo>
                  <a:lnTo>
                    <a:pt x="656" y="312"/>
                  </a:lnTo>
                  <a:lnTo>
                    <a:pt x="646" y="300"/>
                  </a:lnTo>
                  <a:lnTo>
                    <a:pt x="632" y="288"/>
                  </a:lnTo>
                  <a:lnTo>
                    <a:pt x="620" y="274"/>
                  </a:lnTo>
                  <a:lnTo>
                    <a:pt x="610" y="264"/>
                  </a:lnTo>
                  <a:lnTo>
                    <a:pt x="604" y="256"/>
                  </a:lnTo>
                  <a:lnTo>
                    <a:pt x="594" y="248"/>
                  </a:lnTo>
                  <a:lnTo>
                    <a:pt x="584" y="240"/>
                  </a:lnTo>
                  <a:lnTo>
                    <a:pt x="572" y="236"/>
                  </a:lnTo>
                  <a:lnTo>
                    <a:pt x="560" y="232"/>
                  </a:lnTo>
                  <a:lnTo>
                    <a:pt x="552" y="226"/>
                  </a:lnTo>
                  <a:lnTo>
                    <a:pt x="550" y="220"/>
                  </a:lnTo>
                  <a:lnTo>
                    <a:pt x="548" y="216"/>
                  </a:lnTo>
                  <a:lnTo>
                    <a:pt x="546" y="210"/>
                  </a:lnTo>
                  <a:lnTo>
                    <a:pt x="546" y="204"/>
                  </a:lnTo>
                  <a:lnTo>
                    <a:pt x="550" y="178"/>
                  </a:lnTo>
                  <a:lnTo>
                    <a:pt x="552" y="168"/>
                  </a:lnTo>
                  <a:lnTo>
                    <a:pt x="554" y="164"/>
                  </a:lnTo>
                  <a:lnTo>
                    <a:pt x="558" y="162"/>
                  </a:lnTo>
                  <a:lnTo>
                    <a:pt x="568" y="154"/>
                  </a:lnTo>
                  <a:lnTo>
                    <a:pt x="574" y="148"/>
                  </a:lnTo>
                  <a:lnTo>
                    <a:pt x="576" y="144"/>
                  </a:lnTo>
                  <a:lnTo>
                    <a:pt x="580" y="136"/>
                  </a:lnTo>
                  <a:lnTo>
                    <a:pt x="582" y="132"/>
                  </a:lnTo>
                  <a:lnTo>
                    <a:pt x="586" y="128"/>
                  </a:lnTo>
                  <a:lnTo>
                    <a:pt x="592" y="126"/>
                  </a:lnTo>
                  <a:lnTo>
                    <a:pt x="596" y="122"/>
                  </a:lnTo>
                  <a:lnTo>
                    <a:pt x="598" y="114"/>
                  </a:lnTo>
                  <a:lnTo>
                    <a:pt x="600" y="108"/>
                  </a:lnTo>
                  <a:lnTo>
                    <a:pt x="598" y="98"/>
                  </a:lnTo>
                  <a:lnTo>
                    <a:pt x="596" y="90"/>
                  </a:lnTo>
                  <a:lnTo>
                    <a:pt x="594" y="78"/>
                  </a:lnTo>
                  <a:lnTo>
                    <a:pt x="594" y="66"/>
                  </a:lnTo>
                  <a:lnTo>
                    <a:pt x="600" y="42"/>
                  </a:lnTo>
                  <a:lnTo>
                    <a:pt x="602" y="32"/>
                  </a:lnTo>
                  <a:lnTo>
                    <a:pt x="590" y="32"/>
                  </a:lnTo>
                  <a:lnTo>
                    <a:pt x="574" y="62"/>
                  </a:lnTo>
                  <a:lnTo>
                    <a:pt x="558" y="62"/>
                  </a:lnTo>
                  <a:lnTo>
                    <a:pt x="560" y="36"/>
                  </a:lnTo>
                  <a:lnTo>
                    <a:pt x="526" y="0"/>
                  </a:lnTo>
                  <a:lnTo>
                    <a:pt x="508" y="0"/>
                  </a:lnTo>
                  <a:lnTo>
                    <a:pt x="494" y="22"/>
                  </a:lnTo>
                  <a:lnTo>
                    <a:pt x="434" y="20"/>
                  </a:lnTo>
                  <a:lnTo>
                    <a:pt x="418" y="62"/>
                  </a:lnTo>
                  <a:lnTo>
                    <a:pt x="408" y="64"/>
                  </a:lnTo>
                  <a:lnTo>
                    <a:pt x="398" y="78"/>
                  </a:lnTo>
                  <a:lnTo>
                    <a:pt x="388" y="72"/>
                  </a:lnTo>
                  <a:lnTo>
                    <a:pt x="370" y="76"/>
                  </a:lnTo>
                  <a:lnTo>
                    <a:pt x="364" y="88"/>
                  </a:lnTo>
                  <a:lnTo>
                    <a:pt x="354" y="86"/>
                  </a:lnTo>
                  <a:lnTo>
                    <a:pt x="350" y="80"/>
                  </a:lnTo>
                  <a:lnTo>
                    <a:pt x="334" y="86"/>
                  </a:lnTo>
                  <a:lnTo>
                    <a:pt x="332" y="104"/>
                  </a:lnTo>
                  <a:lnTo>
                    <a:pt x="306" y="114"/>
                  </a:lnTo>
                  <a:lnTo>
                    <a:pt x="302" y="102"/>
                  </a:lnTo>
                  <a:lnTo>
                    <a:pt x="278" y="106"/>
                  </a:lnTo>
                  <a:lnTo>
                    <a:pt x="236" y="84"/>
                  </a:lnTo>
                  <a:lnTo>
                    <a:pt x="190" y="80"/>
                  </a:lnTo>
                  <a:lnTo>
                    <a:pt x="148" y="50"/>
                  </a:lnTo>
                  <a:lnTo>
                    <a:pt x="124" y="48"/>
                  </a:lnTo>
                  <a:lnTo>
                    <a:pt x="116" y="42"/>
                  </a:lnTo>
                  <a:lnTo>
                    <a:pt x="102" y="52"/>
                  </a:lnTo>
                  <a:lnTo>
                    <a:pt x="102" y="64"/>
                  </a:lnTo>
                  <a:lnTo>
                    <a:pt x="58" y="80"/>
                  </a:lnTo>
                  <a:lnTo>
                    <a:pt x="56" y="72"/>
                  </a:lnTo>
                  <a:lnTo>
                    <a:pt x="46" y="70"/>
                  </a:lnTo>
                  <a:lnTo>
                    <a:pt x="34" y="90"/>
                  </a:lnTo>
                  <a:lnTo>
                    <a:pt x="28" y="86"/>
                  </a:lnTo>
                  <a:lnTo>
                    <a:pt x="4" y="98"/>
                  </a:lnTo>
                  <a:lnTo>
                    <a:pt x="0" y="110"/>
                  </a:lnTo>
                  <a:lnTo>
                    <a:pt x="6" y="128"/>
                  </a:lnTo>
                  <a:lnTo>
                    <a:pt x="18" y="134"/>
                  </a:lnTo>
                  <a:lnTo>
                    <a:pt x="30" y="152"/>
                  </a:lnTo>
                  <a:lnTo>
                    <a:pt x="16" y="162"/>
                  </a:lnTo>
                  <a:lnTo>
                    <a:pt x="20" y="166"/>
                  </a:lnTo>
                  <a:lnTo>
                    <a:pt x="22" y="170"/>
                  </a:lnTo>
                  <a:lnTo>
                    <a:pt x="28" y="174"/>
                  </a:lnTo>
                  <a:lnTo>
                    <a:pt x="38" y="178"/>
                  </a:lnTo>
                  <a:lnTo>
                    <a:pt x="54" y="184"/>
                  </a:lnTo>
                  <a:lnTo>
                    <a:pt x="60" y="188"/>
                  </a:lnTo>
                  <a:lnTo>
                    <a:pt x="62" y="192"/>
                  </a:lnTo>
                  <a:lnTo>
                    <a:pt x="70" y="200"/>
                  </a:lnTo>
                  <a:lnTo>
                    <a:pt x="74" y="204"/>
                  </a:lnTo>
                  <a:lnTo>
                    <a:pt x="80" y="208"/>
                  </a:lnTo>
                  <a:lnTo>
                    <a:pt x="94" y="212"/>
                  </a:lnTo>
                  <a:lnTo>
                    <a:pt x="104" y="204"/>
                  </a:lnTo>
                  <a:lnTo>
                    <a:pt x="124" y="210"/>
                  </a:lnTo>
                  <a:lnTo>
                    <a:pt x="132" y="218"/>
                  </a:lnTo>
                  <a:lnTo>
                    <a:pt x="148" y="220"/>
                  </a:lnTo>
                  <a:lnTo>
                    <a:pt x="160" y="248"/>
                  </a:lnTo>
                  <a:lnTo>
                    <a:pt x="142" y="262"/>
                  </a:lnTo>
                  <a:lnTo>
                    <a:pt x="154" y="286"/>
                  </a:lnTo>
                  <a:lnTo>
                    <a:pt x="148" y="304"/>
                  </a:lnTo>
                  <a:lnTo>
                    <a:pt x="138" y="306"/>
                  </a:lnTo>
                  <a:lnTo>
                    <a:pt x="130" y="318"/>
                  </a:lnTo>
                  <a:lnTo>
                    <a:pt x="134" y="336"/>
                  </a:lnTo>
                  <a:lnTo>
                    <a:pt x="142" y="342"/>
                  </a:lnTo>
                  <a:lnTo>
                    <a:pt x="150" y="338"/>
                  </a:lnTo>
                  <a:lnTo>
                    <a:pt x="170" y="352"/>
                  </a:lnTo>
                  <a:lnTo>
                    <a:pt x="172" y="364"/>
                  </a:lnTo>
                  <a:lnTo>
                    <a:pt x="166" y="378"/>
                  </a:lnTo>
                  <a:lnTo>
                    <a:pt x="166" y="400"/>
                  </a:lnTo>
                  <a:lnTo>
                    <a:pt x="170" y="414"/>
                  </a:lnTo>
                  <a:lnTo>
                    <a:pt x="162" y="434"/>
                  </a:lnTo>
                  <a:lnTo>
                    <a:pt x="172" y="446"/>
                  </a:lnTo>
                  <a:lnTo>
                    <a:pt x="154" y="466"/>
                  </a:lnTo>
                  <a:lnTo>
                    <a:pt x="194" y="514"/>
                  </a:lnTo>
                  <a:lnTo>
                    <a:pt x="208" y="508"/>
                  </a:lnTo>
                  <a:lnTo>
                    <a:pt x="232" y="528"/>
                  </a:lnTo>
                  <a:lnTo>
                    <a:pt x="254" y="518"/>
                  </a:lnTo>
                  <a:lnTo>
                    <a:pt x="304" y="546"/>
                  </a:lnTo>
                  <a:lnTo>
                    <a:pt x="320" y="546"/>
                  </a:lnTo>
                  <a:lnTo>
                    <a:pt x="360" y="572"/>
                  </a:lnTo>
                  <a:lnTo>
                    <a:pt x="372" y="618"/>
                  </a:lnTo>
                  <a:lnTo>
                    <a:pt x="354" y="648"/>
                  </a:lnTo>
                  <a:lnTo>
                    <a:pt x="360" y="664"/>
                  </a:lnTo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5113331" y="1762125"/>
              <a:ext cx="66675" cy="44450"/>
            </a:xfrm>
            <a:custGeom>
              <a:avLst/>
              <a:gdLst>
                <a:gd name="T0" fmla="*/ 41275 w 42"/>
                <a:gd name="T1" fmla="*/ 44450 h 28"/>
                <a:gd name="T2" fmla="*/ 41275 w 42"/>
                <a:gd name="T3" fmla="*/ 44450 h 28"/>
                <a:gd name="T4" fmla="*/ 53975 w 42"/>
                <a:gd name="T5" fmla="*/ 41275 h 28"/>
                <a:gd name="T6" fmla="*/ 60325 w 42"/>
                <a:gd name="T7" fmla="*/ 38100 h 28"/>
                <a:gd name="T8" fmla="*/ 63500 w 42"/>
                <a:gd name="T9" fmla="*/ 34925 h 28"/>
                <a:gd name="T10" fmla="*/ 63500 w 42"/>
                <a:gd name="T11" fmla="*/ 34925 h 28"/>
                <a:gd name="T12" fmla="*/ 63500 w 42"/>
                <a:gd name="T13" fmla="*/ 25400 h 28"/>
                <a:gd name="T14" fmla="*/ 66675 w 42"/>
                <a:gd name="T15" fmla="*/ 15875 h 28"/>
                <a:gd name="T16" fmla="*/ 63500 w 42"/>
                <a:gd name="T17" fmla="*/ 6350 h 28"/>
                <a:gd name="T18" fmla="*/ 60325 w 42"/>
                <a:gd name="T19" fmla="*/ 3175 h 28"/>
                <a:gd name="T20" fmla="*/ 57150 w 42"/>
                <a:gd name="T21" fmla="*/ 3175 h 28"/>
                <a:gd name="T22" fmla="*/ 57150 w 42"/>
                <a:gd name="T23" fmla="*/ 3175 h 28"/>
                <a:gd name="T24" fmla="*/ 25400 w 42"/>
                <a:gd name="T25" fmla="*/ 0 h 28"/>
                <a:gd name="T26" fmla="*/ 12700 w 42"/>
                <a:gd name="T27" fmla="*/ 3175 h 28"/>
                <a:gd name="T28" fmla="*/ 6350 w 42"/>
                <a:gd name="T29" fmla="*/ 6350 h 28"/>
                <a:gd name="T30" fmla="*/ 3175 w 42"/>
                <a:gd name="T31" fmla="*/ 9525 h 28"/>
                <a:gd name="T32" fmla="*/ 3175 w 42"/>
                <a:gd name="T33" fmla="*/ 9525 h 28"/>
                <a:gd name="T34" fmla="*/ 0 w 42"/>
                <a:gd name="T35" fmla="*/ 19050 h 28"/>
                <a:gd name="T36" fmla="*/ 0 w 42"/>
                <a:gd name="T37" fmla="*/ 25400 h 28"/>
                <a:gd name="T38" fmla="*/ 3175 w 42"/>
                <a:gd name="T39" fmla="*/ 28575 h 28"/>
                <a:gd name="T40" fmla="*/ 9525 w 42"/>
                <a:gd name="T41" fmla="*/ 28575 h 28"/>
                <a:gd name="T42" fmla="*/ 9525 w 42"/>
                <a:gd name="T43" fmla="*/ 28575 h 28"/>
                <a:gd name="T44" fmla="*/ 19050 w 42"/>
                <a:gd name="T45" fmla="*/ 34925 h 28"/>
                <a:gd name="T46" fmla="*/ 22225 w 42"/>
                <a:gd name="T47" fmla="*/ 38100 h 28"/>
                <a:gd name="T48" fmla="*/ 22225 w 42"/>
                <a:gd name="T49" fmla="*/ 38100 h 28"/>
                <a:gd name="T50" fmla="*/ 31750 w 42"/>
                <a:gd name="T51" fmla="*/ 41275 h 28"/>
                <a:gd name="T52" fmla="*/ 41275 w 42"/>
                <a:gd name="T53" fmla="*/ 44450 h 2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2"/>
                <a:gd name="T82" fmla="*/ 0 h 28"/>
                <a:gd name="T83" fmla="*/ 42 w 42"/>
                <a:gd name="T84" fmla="*/ 28 h 2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2" h="28">
                  <a:moveTo>
                    <a:pt x="26" y="28"/>
                  </a:moveTo>
                  <a:lnTo>
                    <a:pt x="26" y="28"/>
                  </a:lnTo>
                  <a:lnTo>
                    <a:pt x="34" y="26"/>
                  </a:lnTo>
                  <a:lnTo>
                    <a:pt x="38" y="24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12" y="22"/>
                  </a:lnTo>
                  <a:lnTo>
                    <a:pt x="14" y="24"/>
                  </a:lnTo>
                  <a:lnTo>
                    <a:pt x="20" y="26"/>
                  </a:lnTo>
                  <a:lnTo>
                    <a:pt x="26" y="28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5113331" y="1762125"/>
              <a:ext cx="66675" cy="44450"/>
            </a:xfrm>
            <a:custGeom>
              <a:avLst/>
              <a:gdLst>
                <a:gd name="T0" fmla="*/ 41275 w 42"/>
                <a:gd name="T1" fmla="*/ 44450 h 28"/>
                <a:gd name="T2" fmla="*/ 41275 w 42"/>
                <a:gd name="T3" fmla="*/ 44450 h 28"/>
                <a:gd name="T4" fmla="*/ 53975 w 42"/>
                <a:gd name="T5" fmla="*/ 41275 h 28"/>
                <a:gd name="T6" fmla="*/ 60325 w 42"/>
                <a:gd name="T7" fmla="*/ 38100 h 28"/>
                <a:gd name="T8" fmla="*/ 63500 w 42"/>
                <a:gd name="T9" fmla="*/ 34925 h 28"/>
                <a:gd name="T10" fmla="*/ 63500 w 42"/>
                <a:gd name="T11" fmla="*/ 34925 h 28"/>
                <a:gd name="T12" fmla="*/ 63500 w 42"/>
                <a:gd name="T13" fmla="*/ 25400 h 28"/>
                <a:gd name="T14" fmla="*/ 66675 w 42"/>
                <a:gd name="T15" fmla="*/ 15875 h 28"/>
                <a:gd name="T16" fmla="*/ 63500 w 42"/>
                <a:gd name="T17" fmla="*/ 6350 h 28"/>
                <a:gd name="T18" fmla="*/ 60325 w 42"/>
                <a:gd name="T19" fmla="*/ 3175 h 28"/>
                <a:gd name="T20" fmla="*/ 57150 w 42"/>
                <a:gd name="T21" fmla="*/ 3175 h 28"/>
                <a:gd name="T22" fmla="*/ 57150 w 42"/>
                <a:gd name="T23" fmla="*/ 3175 h 28"/>
                <a:gd name="T24" fmla="*/ 25400 w 42"/>
                <a:gd name="T25" fmla="*/ 0 h 28"/>
                <a:gd name="T26" fmla="*/ 12700 w 42"/>
                <a:gd name="T27" fmla="*/ 3175 h 28"/>
                <a:gd name="T28" fmla="*/ 6350 w 42"/>
                <a:gd name="T29" fmla="*/ 6350 h 28"/>
                <a:gd name="T30" fmla="*/ 3175 w 42"/>
                <a:gd name="T31" fmla="*/ 9525 h 28"/>
                <a:gd name="T32" fmla="*/ 3175 w 42"/>
                <a:gd name="T33" fmla="*/ 9525 h 28"/>
                <a:gd name="T34" fmla="*/ 0 w 42"/>
                <a:gd name="T35" fmla="*/ 19050 h 28"/>
                <a:gd name="T36" fmla="*/ 0 w 42"/>
                <a:gd name="T37" fmla="*/ 25400 h 28"/>
                <a:gd name="T38" fmla="*/ 3175 w 42"/>
                <a:gd name="T39" fmla="*/ 28575 h 28"/>
                <a:gd name="T40" fmla="*/ 9525 w 42"/>
                <a:gd name="T41" fmla="*/ 28575 h 28"/>
                <a:gd name="T42" fmla="*/ 9525 w 42"/>
                <a:gd name="T43" fmla="*/ 28575 h 28"/>
                <a:gd name="T44" fmla="*/ 19050 w 42"/>
                <a:gd name="T45" fmla="*/ 34925 h 28"/>
                <a:gd name="T46" fmla="*/ 22225 w 42"/>
                <a:gd name="T47" fmla="*/ 38100 h 28"/>
                <a:gd name="T48" fmla="*/ 22225 w 42"/>
                <a:gd name="T49" fmla="*/ 38100 h 28"/>
                <a:gd name="T50" fmla="*/ 31750 w 42"/>
                <a:gd name="T51" fmla="*/ 41275 h 28"/>
                <a:gd name="T52" fmla="*/ 41275 w 42"/>
                <a:gd name="T53" fmla="*/ 44450 h 2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2"/>
                <a:gd name="T82" fmla="*/ 0 h 28"/>
                <a:gd name="T83" fmla="*/ 42 w 42"/>
                <a:gd name="T84" fmla="*/ 28 h 2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2" h="28">
                  <a:moveTo>
                    <a:pt x="26" y="28"/>
                  </a:moveTo>
                  <a:lnTo>
                    <a:pt x="26" y="28"/>
                  </a:lnTo>
                  <a:lnTo>
                    <a:pt x="34" y="26"/>
                  </a:lnTo>
                  <a:lnTo>
                    <a:pt x="38" y="24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12" y="22"/>
                  </a:lnTo>
                  <a:lnTo>
                    <a:pt x="14" y="24"/>
                  </a:lnTo>
                  <a:lnTo>
                    <a:pt x="20" y="26"/>
                  </a:lnTo>
                  <a:lnTo>
                    <a:pt x="26" y="2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48" name="Freeform 10"/>
            <p:cNvSpPr>
              <a:spLocks/>
            </p:cNvSpPr>
            <p:nvPr/>
          </p:nvSpPr>
          <p:spPr bwMode="auto">
            <a:xfrm>
              <a:off x="5072056" y="1778000"/>
              <a:ext cx="38100" cy="57150"/>
            </a:xfrm>
            <a:custGeom>
              <a:avLst/>
              <a:gdLst>
                <a:gd name="T0" fmla="*/ 6350 w 24"/>
                <a:gd name="T1" fmla="*/ 12700 h 36"/>
                <a:gd name="T2" fmla="*/ 6350 w 24"/>
                <a:gd name="T3" fmla="*/ 12700 h 36"/>
                <a:gd name="T4" fmla="*/ 0 w 24"/>
                <a:gd name="T5" fmla="*/ 25400 h 36"/>
                <a:gd name="T6" fmla="*/ 0 w 24"/>
                <a:gd name="T7" fmla="*/ 31750 h 36"/>
                <a:gd name="T8" fmla="*/ 3175 w 24"/>
                <a:gd name="T9" fmla="*/ 41275 h 36"/>
                <a:gd name="T10" fmla="*/ 3175 w 24"/>
                <a:gd name="T11" fmla="*/ 41275 h 36"/>
                <a:gd name="T12" fmla="*/ 9525 w 24"/>
                <a:gd name="T13" fmla="*/ 53975 h 36"/>
                <a:gd name="T14" fmla="*/ 12700 w 24"/>
                <a:gd name="T15" fmla="*/ 57150 h 36"/>
                <a:gd name="T16" fmla="*/ 19050 w 24"/>
                <a:gd name="T17" fmla="*/ 57150 h 36"/>
                <a:gd name="T18" fmla="*/ 19050 w 24"/>
                <a:gd name="T19" fmla="*/ 57150 h 36"/>
                <a:gd name="T20" fmla="*/ 31750 w 24"/>
                <a:gd name="T21" fmla="*/ 53975 h 36"/>
                <a:gd name="T22" fmla="*/ 38100 w 24"/>
                <a:gd name="T23" fmla="*/ 50800 h 36"/>
                <a:gd name="T24" fmla="*/ 34925 w 24"/>
                <a:gd name="T25" fmla="*/ 44450 h 36"/>
                <a:gd name="T26" fmla="*/ 34925 w 24"/>
                <a:gd name="T27" fmla="*/ 44450 h 36"/>
                <a:gd name="T28" fmla="*/ 25400 w 24"/>
                <a:gd name="T29" fmla="*/ 31750 h 36"/>
                <a:gd name="T30" fmla="*/ 19050 w 24"/>
                <a:gd name="T31" fmla="*/ 22225 h 36"/>
                <a:gd name="T32" fmla="*/ 19050 w 24"/>
                <a:gd name="T33" fmla="*/ 15875 h 36"/>
                <a:gd name="T34" fmla="*/ 19050 w 24"/>
                <a:gd name="T35" fmla="*/ 15875 h 36"/>
                <a:gd name="T36" fmla="*/ 25400 w 24"/>
                <a:gd name="T37" fmla="*/ 6350 h 36"/>
                <a:gd name="T38" fmla="*/ 28575 w 24"/>
                <a:gd name="T39" fmla="*/ 6350 h 36"/>
                <a:gd name="T40" fmla="*/ 28575 w 24"/>
                <a:gd name="T41" fmla="*/ 3175 h 36"/>
                <a:gd name="T42" fmla="*/ 28575 w 24"/>
                <a:gd name="T43" fmla="*/ 3175 h 36"/>
                <a:gd name="T44" fmla="*/ 25400 w 24"/>
                <a:gd name="T45" fmla="*/ 0 h 36"/>
                <a:gd name="T46" fmla="*/ 19050 w 24"/>
                <a:gd name="T47" fmla="*/ 3175 h 36"/>
                <a:gd name="T48" fmla="*/ 6350 w 24"/>
                <a:gd name="T49" fmla="*/ 12700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6"/>
                <a:gd name="T77" fmla="*/ 24 w 24"/>
                <a:gd name="T78" fmla="*/ 36 h 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6">
                  <a:moveTo>
                    <a:pt x="4" y="8"/>
                  </a:moveTo>
                  <a:lnTo>
                    <a:pt x="4" y="8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16" y="20"/>
                  </a:lnTo>
                  <a:lnTo>
                    <a:pt x="12" y="14"/>
                  </a:lnTo>
                  <a:lnTo>
                    <a:pt x="12" y="10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2" y="2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5072056" y="1778000"/>
              <a:ext cx="38100" cy="57150"/>
            </a:xfrm>
            <a:custGeom>
              <a:avLst/>
              <a:gdLst>
                <a:gd name="T0" fmla="*/ 6350 w 24"/>
                <a:gd name="T1" fmla="*/ 12700 h 36"/>
                <a:gd name="T2" fmla="*/ 6350 w 24"/>
                <a:gd name="T3" fmla="*/ 12700 h 36"/>
                <a:gd name="T4" fmla="*/ 0 w 24"/>
                <a:gd name="T5" fmla="*/ 25400 h 36"/>
                <a:gd name="T6" fmla="*/ 0 w 24"/>
                <a:gd name="T7" fmla="*/ 31750 h 36"/>
                <a:gd name="T8" fmla="*/ 3175 w 24"/>
                <a:gd name="T9" fmla="*/ 41275 h 36"/>
                <a:gd name="T10" fmla="*/ 3175 w 24"/>
                <a:gd name="T11" fmla="*/ 41275 h 36"/>
                <a:gd name="T12" fmla="*/ 9525 w 24"/>
                <a:gd name="T13" fmla="*/ 53975 h 36"/>
                <a:gd name="T14" fmla="*/ 12700 w 24"/>
                <a:gd name="T15" fmla="*/ 57150 h 36"/>
                <a:gd name="T16" fmla="*/ 19050 w 24"/>
                <a:gd name="T17" fmla="*/ 57150 h 36"/>
                <a:gd name="T18" fmla="*/ 19050 w 24"/>
                <a:gd name="T19" fmla="*/ 57150 h 36"/>
                <a:gd name="T20" fmla="*/ 31750 w 24"/>
                <a:gd name="T21" fmla="*/ 53975 h 36"/>
                <a:gd name="T22" fmla="*/ 38100 w 24"/>
                <a:gd name="T23" fmla="*/ 50800 h 36"/>
                <a:gd name="T24" fmla="*/ 34925 w 24"/>
                <a:gd name="T25" fmla="*/ 44450 h 36"/>
                <a:gd name="T26" fmla="*/ 34925 w 24"/>
                <a:gd name="T27" fmla="*/ 44450 h 36"/>
                <a:gd name="T28" fmla="*/ 25400 w 24"/>
                <a:gd name="T29" fmla="*/ 31750 h 36"/>
                <a:gd name="T30" fmla="*/ 19050 w 24"/>
                <a:gd name="T31" fmla="*/ 22225 h 36"/>
                <a:gd name="T32" fmla="*/ 19050 w 24"/>
                <a:gd name="T33" fmla="*/ 15875 h 36"/>
                <a:gd name="T34" fmla="*/ 19050 w 24"/>
                <a:gd name="T35" fmla="*/ 15875 h 36"/>
                <a:gd name="T36" fmla="*/ 25400 w 24"/>
                <a:gd name="T37" fmla="*/ 6350 h 36"/>
                <a:gd name="T38" fmla="*/ 28575 w 24"/>
                <a:gd name="T39" fmla="*/ 6350 h 36"/>
                <a:gd name="T40" fmla="*/ 28575 w 24"/>
                <a:gd name="T41" fmla="*/ 3175 h 36"/>
                <a:gd name="T42" fmla="*/ 28575 w 24"/>
                <a:gd name="T43" fmla="*/ 3175 h 36"/>
                <a:gd name="T44" fmla="*/ 25400 w 24"/>
                <a:gd name="T45" fmla="*/ 0 h 36"/>
                <a:gd name="T46" fmla="*/ 19050 w 24"/>
                <a:gd name="T47" fmla="*/ 3175 h 36"/>
                <a:gd name="T48" fmla="*/ 6350 w 24"/>
                <a:gd name="T49" fmla="*/ 12700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6"/>
                <a:gd name="T77" fmla="*/ 24 w 24"/>
                <a:gd name="T78" fmla="*/ 36 h 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6">
                  <a:moveTo>
                    <a:pt x="4" y="8"/>
                  </a:moveTo>
                  <a:lnTo>
                    <a:pt x="4" y="8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16" y="20"/>
                  </a:lnTo>
                  <a:lnTo>
                    <a:pt x="12" y="14"/>
                  </a:lnTo>
                  <a:lnTo>
                    <a:pt x="12" y="10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2" y="2"/>
                  </a:lnTo>
                  <a:lnTo>
                    <a:pt x="4" y="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67" name="Freeform 12"/>
            <p:cNvSpPr>
              <a:spLocks/>
            </p:cNvSpPr>
            <p:nvPr/>
          </p:nvSpPr>
          <p:spPr bwMode="auto">
            <a:xfrm>
              <a:off x="5154606" y="1816100"/>
              <a:ext cx="44450" cy="28575"/>
            </a:xfrm>
            <a:custGeom>
              <a:avLst/>
              <a:gdLst>
                <a:gd name="T0" fmla="*/ 3175 w 28"/>
                <a:gd name="T1" fmla="*/ 25400 h 18"/>
                <a:gd name="T2" fmla="*/ 3175 w 28"/>
                <a:gd name="T3" fmla="*/ 25400 h 18"/>
                <a:gd name="T4" fmla="*/ 0 w 28"/>
                <a:gd name="T5" fmla="*/ 22225 h 18"/>
                <a:gd name="T6" fmla="*/ 0 w 28"/>
                <a:gd name="T7" fmla="*/ 19050 h 18"/>
                <a:gd name="T8" fmla="*/ 9525 w 28"/>
                <a:gd name="T9" fmla="*/ 12700 h 18"/>
                <a:gd name="T10" fmla="*/ 9525 w 28"/>
                <a:gd name="T11" fmla="*/ 12700 h 18"/>
                <a:gd name="T12" fmla="*/ 28575 w 28"/>
                <a:gd name="T13" fmla="*/ 3175 h 18"/>
                <a:gd name="T14" fmla="*/ 38100 w 28"/>
                <a:gd name="T15" fmla="*/ 0 h 18"/>
                <a:gd name="T16" fmla="*/ 41275 w 28"/>
                <a:gd name="T17" fmla="*/ 3175 h 18"/>
                <a:gd name="T18" fmla="*/ 44450 w 28"/>
                <a:gd name="T19" fmla="*/ 3175 h 18"/>
                <a:gd name="T20" fmla="*/ 44450 w 28"/>
                <a:gd name="T21" fmla="*/ 3175 h 18"/>
                <a:gd name="T22" fmla="*/ 44450 w 28"/>
                <a:gd name="T23" fmla="*/ 9525 h 18"/>
                <a:gd name="T24" fmla="*/ 38100 w 28"/>
                <a:gd name="T25" fmla="*/ 12700 h 18"/>
                <a:gd name="T26" fmla="*/ 28575 w 28"/>
                <a:gd name="T27" fmla="*/ 15875 h 18"/>
                <a:gd name="T28" fmla="*/ 28575 w 28"/>
                <a:gd name="T29" fmla="*/ 15875 h 18"/>
                <a:gd name="T30" fmla="*/ 19050 w 28"/>
                <a:gd name="T31" fmla="*/ 22225 h 18"/>
                <a:gd name="T32" fmla="*/ 12700 w 28"/>
                <a:gd name="T33" fmla="*/ 28575 h 18"/>
                <a:gd name="T34" fmla="*/ 12700 w 28"/>
                <a:gd name="T35" fmla="*/ 28575 h 18"/>
                <a:gd name="T36" fmla="*/ 6350 w 28"/>
                <a:gd name="T37" fmla="*/ 28575 h 18"/>
                <a:gd name="T38" fmla="*/ 3175 w 28"/>
                <a:gd name="T39" fmla="*/ 2540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8"/>
                <a:gd name="T61" fmla="*/ 0 h 18"/>
                <a:gd name="T62" fmla="*/ 28 w 28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8" h="18">
                  <a:moveTo>
                    <a:pt x="2" y="16"/>
                  </a:moveTo>
                  <a:lnTo>
                    <a:pt x="2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6" y="8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6"/>
                  </a:lnTo>
                  <a:lnTo>
                    <a:pt x="24" y="8"/>
                  </a:lnTo>
                  <a:lnTo>
                    <a:pt x="18" y="10"/>
                  </a:lnTo>
                  <a:lnTo>
                    <a:pt x="12" y="14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5154606" y="1816100"/>
              <a:ext cx="44450" cy="28575"/>
            </a:xfrm>
            <a:custGeom>
              <a:avLst/>
              <a:gdLst>
                <a:gd name="T0" fmla="*/ 3175 w 28"/>
                <a:gd name="T1" fmla="*/ 25400 h 18"/>
                <a:gd name="T2" fmla="*/ 3175 w 28"/>
                <a:gd name="T3" fmla="*/ 25400 h 18"/>
                <a:gd name="T4" fmla="*/ 0 w 28"/>
                <a:gd name="T5" fmla="*/ 22225 h 18"/>
                <a:gd name="T6" fmla="*/ 0 w 28"/>
                <a:gd name="T7" fmla="*/ 19050 h 18"/>
                <a:gd name="T8" fmla="*/ 9525 w 28"/>
                <a:gd name="T9" fmla="*/ 12700 h 18"/>
                <a:gd name="T10" fmla="*/ 9525 w 28"/>
                <a:gd name="T11" fmla="*/ 12700 h 18"/>
                <a:gd name="T12" fmla="*/ 28575 w 28"/>
                <a:gd name="T13" fmla="*/ 3175 h 18"/>
                <a:gd name="T14" fmla="*/ 38100 w 28"/>
                <a:gd name="T15" fmla="*/ 0 h 18"/>
                <a:gd name="T16" fmla="*/ 41275 w 28"/>
                <a:gd name="T17" fmla="*/ 3175 h 18"/>
                <a:gd name="T18" fmla="*/ 44450 w 28"/>
                <a:gd name="T19" fmla="*/ 3175 h 18"/>
                <a:gd name="T20" fmla="*/ 44450 w 28"/>
                <a:gd name="T21" fmla="*/ 3175 h 18"/>
                <a:gd name="T22" fmla="*/ 44450 w 28"/>
                <a:gd name="T23" fmla="*/ 9525 h 18"/>
                <a:gd name="T24" fmla="*/ 38100 w 28"/>
                <a:gd name="T25" fmla="*/ 12700 h 18"/>
                <a:gd name="T26" fmla="*/ 28575 w 28"/>
                <a:gd name="T27" fmla="*/ 15875 h 18"/>
                <a:gd name="T28" fmla="*/ 28575 w 28"/>
                <a:gd name="T29" fmla="*/ 15875 h 18"/>
                <a:gd name="T30" fmla="*/ 19050 w 28"/>
                <a:gd name="T31" fmla="*/ 22225 h 18"/>
                <a:gd name="T32" fmla="*/ 12700 w 28"/>
                <a:gd name="T33" fmla="*/ 28575 h 18"/>
                <a:gd name="T34" fmla="*/ 12700 w 28"/>
                <a:gd name="T35" fmla="*/ 28575 h 18"/>
                <a:gd name="T36" fmla="*/ 6350 w 28"/>
                <a:gd name="T37" fmla="*/ 28575 h 18"/>
                <a:gd name="T38" fmla="*/ 3175 w 28"/>
                <a:gd name="T39" fmla="*/ 2540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8"/>
                <a:gd name="T61" fmla="*/ 0 h 18"/>
                <a:gd name="T62" fmla="*/ 28 w 28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8" h="18">
                  <a:moveTo>
                    <a:pt x="2" y="16"/>
                  </a:moveTo>
                  <a:lnTo>
                    <a:pt x="2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6" y="8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6"/>
                  </a:lnTo>
                  <a:lnTo>
                    <a:pt x="24" y="8"/>
                  </a:lnTo>
                  <a:lnTo>
                    <a:pt x="18" y="10"/>
                  </a:lnTo>
                  <a:lnTo>
                    <a:pt x="12" y="14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6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69" name="Freeform 14"/>
            <p:cNvSpPr>
              <a:spLocks/>
            </p:cNvSpPr>
            <p:nvPr/>
          </p:nvSpPr>
          <p:spPr bwMode="auto">
            <a:xfrm>
              <a:off x="5176831" y="1876425"/>
              <a:ext cx="38100" cy="41275"/>
            </a:xfrm>
            <a:custGeom>
              <a:avLst/>
              <a:gdLst>
                <a:gd name="T0" fmla="*/ 12700 w 24"/>
                <a:gd name="T1" fmla="*/ 12700 h 26"/>
                <a:gd name="T2" fmla="*/ 12700 w 24"/>
                <a:gd name="T3" fmla="*/ 12700 h 26"/>
                <a:gd name="T4" fmla="*/ 25400 w 24"/>
                <a:gd name="T5" fmla="*/ 3175 h 26"/>
                <a:gd name="T6" fmla="*/ 28575 w 24"/>
                <a:gd name="T7" fmla="*/ 0 h 26"/>
                <a:gd name="T8" fmla="*/ 34925 w 24"/>
                <a:gd name="T9" fmla="*/ 6350 h 26"/>
                <a:gd name="T10" fmla="*/ 34925 w 24"/>
                <a:gd name="T11" fmla="*/ 6350 h 26"/>
                <a:gd name="T12" fmla="*/ 38100 w 24"/>
                <a:gd name="T13" fmla="*/ 15875 h 26"/>
                <a:gd name="T14" fmla="*/ 34925 w 24"/>
                <a:gd name="T15" fmla="*/ 25400 h 26"/>
                <a:gd name="T16" fmla="*/ 34925 w 24"/>
                <a:gd name="T17" fmla="*/ 25400 h 26"/>
                <a:gd name="T18" fmla="*/ 22225 w 24"/>
                <a:gd name="T19" fmla="*/ 38100 h 26"/>
                <a:gd name="T20" fmla="*/ 15875 w 24"/>
                <a:gd name="T21" fmla="*/ 41275 h 26"/>
                <a:gd name="T22" fmla="*/ 12700 w 24"/>
                <a:gd name="T23" fmla="*/ 41275 h 26"/>
                <a:gd name="T24" fmla="*/ 12700 w 24"/>
                <a:gd name="T25" fmla="*/ 41275 h 26"/>
                <a:gd name="T26" fmla="*/ 3175 w 24"/>
                <a:gd name="T27" fmla="*/ 34925 h 26"/>
                <a:gd name="T28" fmla="*/ 0 w 24"/>
                <a:gd name="T29" fmla="*/ 25400 h 26"/>
                <a:gd name="T30" fmla="*/ 3175 w 24"/>
                <a:gd name="T31" fmla="*/ 19050 h 26"/>
                <a:gd name="T32" fmla="*/ 12700 w 24"/>
                <a:gd name="T33" fmla="*/ 1270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6"/>
                <a:gd name="T53" fmla="*/ 24 w 24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6">
                  <a:moveTo>
                    <a:pt x="8" y="8"/>
                  </a:moveTo>
                  <a:lnTo>
                    <a:pt x="8" y="8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10"/>
                  </a:lnTo>
                  <a:lnTo>
                    <a:pt x="22" y="16"/>
                  </a:lnTo>
                  <a:lnTo>
                    <a:pt x="14" y="24"/>
                  </a:lnTo>
                  <a:lnTo>
                    <a:pt x="10" y="26"/>
                  </a:lnTo>
                  <a:lnTo>
                    <a:pt x="8" y="26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0" name="Freeform 15"/>
            <p:cNvSpPr>
              <a:spLocks/>
            </p:cNvSpPr>
            <p:nvPr/>
          </p:nvSpPr>
          <p:spPr bwMode="auto">
            <a:xfrm>
              <a:off x="5176831" y="1876425"/>
              <a:ext cx="38100" cy="41275"/>
            </a:xfrm>
            <a:custGeom>
              <a:avLst/>
              <a:gdLst>
                <a:gd name="T0" fmla="*/ 12700 w 24"/>
                <a:gd name="T1" fmla="*/ 12700 h 26"/>
                <a:gd name="T2" fmla="*/ 12700 w 24"/>
                <a:gd name="T3" fmla="*/ 12700 h 26"/>
                <a:gd name="T4" fmla="*/ 25400 w 24"/>
                <a:gd name="T5" fmla="*/ 3175 h 26"/>
                <a:gd name="T6" fmla="*/ 28575 w 24"/>
                <a:gd name="T7" fmla="*/ 0 h 26"/>
                <a:gd name="T8" fmla="*/ 34925 w 24"/>
                <a:gd name="T9" fmla="*/ 6350 h 26"/>
                <a:gd name="T10" fmla="*/ 34925 w 24"/>
                <a:gd name="T11" fmla="*/ 6350 h 26"/>
                <a:gd name="T12" fmla="*/ 38100 w 24"/>
                <a:gd name="T13" fmla="*/ 15875 h 26"/>
                <a:gd name="T14" fmla="*/ 34925 w 24"/>
                <a:gd name="T15" fmla="*/ 25400 h 26"/>
                <a:gd name="T16" fmla="*/ 34925 w 24"/>
                <a:gd name="T17" fmla="*/ 25400 h 26"/>
                <a:gd name="T18" fmla="*/ 22225 w 24"/>
                <a:gd name="T19" fmla="*/ 38100 h 26"/>
                <a:gd name="T20" fmla="*/ 15875 w 24"/>
                <a:gd name="T21" fmla="*/ 41275 h 26"/>
                <a:gd name="T22" fmla="*/ 12700 w 24"/>
                <a:gd name="T23" fmla="*/ 41275 h 26"/>
                <a:gd name="T24" fmla="*/ 12700 w 24"/>
                <a:gd name="T25" fmla="*/ 41275 h 26"/>
                <a:gd name="T26" fmla="*/ 3175 w 24"/>
                <a:gd name="T27" fmla="*/ 34925 h 26"/>
                <a:gd name="T28" fmla="*/ 0 w 24"/>
                <a:gd name="T29" fmla="*/ 25400 h 26"/>
                <a:gd name="T30" fmla="*/ 3175 w 24"/>
                <a:gd name="T31" fmla="*/ 19050 h 26"/>
                <a:gd name="T32" fmla="*/ 12700 w 24"/>
                <a:gd name="T33" fmla="*/ 1270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26"/>
                <a:gd name="T53" fmla="*/ 24 w 24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26">
                  <a:moveTo>
                    <a:pt x="8" y="8"/>
                  </a:moveTo>
                  <a:lnTo>
                    <a:pt x="8" y="8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10"/>
                  </a:lnTo>
                  <a:lnTo>
                    <a:pt x="22" y="16"/>
                  </a:lnTo>
                  <a:lnTo>
                    <a:pt x="14" y="24"/>
                  </a:lnTo>
                  <a:lnTo>
                    <a:pt x="10" y="26"/>
                  </a:lnTo>
                  <a:lnTo>
                    <a:pt x="8" y="26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8" y="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1" name="Freeform 16"/>
            <p:cNvSpPr>
              <a:spLocks/>
            </p:cNvSpPr>
            <p:nvPr/>
          </p:nvSpPr>
          <p:spPr bwMode="auto">
            <a:xfrm>
              <a:off x="6008681" y="1892300"/>
              <a:ext cx="117475" cy="76200"/>
            </a:xfrm>
            <a:custGeom>
              <a:avLst/>
              <a:gdLst>
                <a:gd name="T0" fmla="*/ 3175 w 74"/>
                <a:gd name="T1" fmla="*/ 31750 h 48"/>
                <a:gd name="T2" fmla="*/ 3175 w 74"/>
                <a:gd name="T3" fmla="*/ 31750 h 48"/>
                <a:gd name="T4" fmla="*/ 3175 w 74"/>
                <a:gd name="T5" fmla="*/ 22225 h 48"/>
                <a:gd name="T6" fmla="*/ 6350 w 74"/>
                <a:gd name="T7" fmla="*/ 9525 h 48"/>
                <a:gd name="T8" fmla="*/ 12700 w 74"/>
                <a:gd name="T9" fmla="*/ 3175 h 48"/>
                <a:gd name="T10" fmla="*/ 15875 w 74"/>
                <a:gd name="T11" fmla="*/ 0 h 48"/>
                <a:gd name="T12" fmla="*/ 19050 w 74"/>
                <a:gd name="T13" fmla="*/ 0 h 48"/>
                <a:gd name="T14" fmla="*/ 19050 w 74"/>
                <a:gd name="T15" fmla="*/ 0 h 48"/>
                <a:gd name="T16" fmla="*/ 60325 w 74"/>
                <a:gd name="T17" fmla="*/ 9525 h 48"/>
                <a:gd name="T18" fmla="*/ 60325 w 74"/>
                <a:gd name="T19" fmla="*/ 9525 h 48"/>
                <a:gd name="T20" fmla="*/ 69850 w 74"/>
                <a:gd name="T21" fmla="*/ 12700 h 48"/>
                <a:gd name="T22" fmla="*/ 82550 w 74"/>
                <a:gd name="T23" fmla="*/ 15875 h 48"/>
                <a:gd name="T24" fmla="*/ 92075 w 74"/>
                <a:gd name="T25" fmla="*/ 25400 h 48"/>
                <a:gd name="T26" fmla="*/ 101600 w 74"/>
                <a:gd name="T27" fmla="*/ 38100 h 48"/>
                <a:gd name="T28" fmla="*/ 101600 w 74"/>
                <a:gd name="T29" fmla="*/ 38100 h 48"/>
                <a:gd name="T30" fmla="*/ 114300 w 74"/>
                <a:gd name="T31" fmla="*/ 60325 h 48"/>
                <a:gd name="T32" fmla="*/ 117475 w 74"/>
                <a:gd name="T33" fmla="*/ 66675 h 48"/>
                <a:gd name="T34" fmla="*/ 114300 w 74"/>
                <a:gd name="T35" fmla="*/ 69850 h 48"/>
                <a:gd name="T36" fmla="*/ 114300 w 74"/>
                <a:gd name="T37" fmla="*/ 69850 h 48"/>
                <a:gd name="T38" fmla="*/ 111125 w 74"/>
                <a:gd name="T39" fmla="*/ 73025 h 48"/>
                <a:gd name="T40" fmla="*/ 101600 w 74"/>
                <a:gd name="T41" fmla="*/ 73025 h 48"/>
                <a:gd name="T42" fmla="*/ 76200 w 74"/>
                <a:gd name="T43" fmla="*/ 73025 h 48"/>
                <a:gd name="T44" fmla="*/ 76200 w 74"/>
                <a:gd name="T45" fmla="*/ 73025 h 48"/>
                <a:gd name="T46" fmla="*/ 66675 w 74"/>
                <a:gd name="T47" fmla="*/ 73025 h 48"/>
                <a:gd name="T48" fmla="*/ 60325 w 74"/>
                <a:gd name="T49" fmla="*/ 76200 h 48"/>
                <a:gd name="T50" fmla="*/ 53975 w 74"/>
                <a:gd name="T51" fmla="*/ 76200 h 48"/>
                <a:gd name="T52" fmla="*/ 44450 w 74"/>
                <a:gd name="T53" fmla="*/ 76200 h 48"/>
                <a:gd name="T54" fmla="*/ 44450 w 74"/>
                <a:gd name="T55" fmla="*/ 76200 h 48"/>
                <a:gd name="T56" fmla="*/ 31750 w 74"/>
                <a:gd name="T57" fmla="*/ 66675 h 48"/>
                <a:gd name="T58" fmla="*/ 28575 w 74"/>
                <a:gd name="T59" fmla="*/ 63500 h 48"/>
                <a:gd name="T60" fmla="*/ 28575 w 74"/>
                <a:gd name="T61" fmla="*/ 57150 h 48"/>
                <a:gd name="T62" fmla="*/ 28575 w 74"/>
                <a:gd name="T63" fmla="*/ 57150 h 48"/>
                <a:gd name="T64" fmla="*/ 28575 w 74"/>
                <a:gd name="T65" fmla="*/ 50800 h 48"/>
                <a:gd name="T66" fmla="*/ 25400 w 74"/>
                <a:gd name="T67" fmla="*/ 47625 h 48"/>
                <a:gd name="T68" fmla="*/ 22225 w 74"/>
                <a:gd name="T69" fmla="*/ 44450 h 48"/>
                <a:gd name="T70" fmla="*/ 19050 w 74"/>
                <a:gd name="T71" fmla="*/ 44450 h 48"/>
                <a:gd name="T72" fmla="*/ 19050 w 74"/>
                <a:gd name="T73" fmla="*/ 44450 h 48"/>
                <a:gd name="T74" fmla="*/ 12700 w 74"/>
                <a:gd name="T75" fmla="*/ 50800 h 48"/>
                <a:gd name="T76" fmla="*/ 9525 w 74"/>
                <a:gd name="T77" fmla="*/ 53975 h 48"/>
                <a:gd name="T78" fmla="*/ 3175 w 74"/>
                <a:gd name="T79" fmla="*/ 53975 h 48"/>
                <a:gd name="T80" fmla="*/ 3175 w 74"/>
                <a:gd name="T81" fmla="*/ 53975 h 48"/>
                <a:gd name="T82" fmla="*/ 0 w 74"/>
                <a:gd name="T83" fmla="*/ 50800 h 48"/>
                <a:gd name="T84" fmla="*/ 0 w 74"/>
                <a:gd name="T85" fmla="*/ 47625 h 48"/>
                <a:gd name="T86" fmla="*/ 3175 w 74"/>
                <a:gd name="T87" fmla="*/ 31750 h 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4"/>
                <a:gd name="T133" fmla="*/ 0 h 48"/>
                <a:gd name="T134" fmla="*/ 74 w 74"/>
                <a:gd name="T135" fmla="*/ 48 h 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4" h="48">
                  <a:moveTo>
                    <a:pt x="2" y="20"/>
                  </a:moveTo>
                  <a:lnTo>
                    <a:pt x="2" y="20"/>
                  </a:lnTo>
                  <a:lnTo>
                    <a:pt x="2" y="14"/>
                  </a:lnTo>
                  <a:lnTo>
                    <a:pt x="4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38" y="6"/>
                  </a:lnTo>
                  <a:lnTo>
                    <a:pt x="44" y="8"/>
                  </a:lnTo>
                  <a:lnTo>
                    <a:pt x="52" y="10"/>
                  </a:lnTo>
                  <a:lnTo>
                    <a:pt x="58" y="16"/>
                  </a:lnTo>
                  <a:lnTo>
                    <a:pt x="64" y="24"/>
                  </a:lnTo>
                  <a:lnTo>
                    <a:pt x="72" y="38"/>
                  </a:lnTo>
                  <a:lnTo>
                    <a:pt x="74" y="42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4" y="46"/>
                  </a:lnTo>
                  <a:lnTo>
                    <a:pt x="48" y="46"/>
                  </a:lnTo>
                  <a:lnTo>
                    <a:pt x="42" y="46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28" y="48"/>
                  </a:lnTo>
                  <a:lnTo>
                    <a:pt x="20" y="42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16" y="30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E3E8EC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2" name="Freeform 17"/>
            <p:cNvSpPr>
              <a:spLocks/>
            </p:cNvSpPr>
            <p:nvPr/>
          </p:nvSpPr>
          <p:spPr bwMode="auto">
            <a:xfrm>
              <a:off x="6008681" y="1892300"/>
              <a:ext cx="117475" cy="76200"/>
            </a:xfrm>
            <a:custGeom>
              <a:avLst/>
              <a:gdLst>
                <a:gd name="T0" fmla="*/ 3175 w 74"/>
                <a:gd name="T1" fmla="*/ 31750 h 48"/>
                <a:gd name="T2" fmla="*/ 3175 w 74"/>
                <a:gd name="T3" fmla="*/ 31750 h 48"/>
                <a:gd name="T4" fmla="*/ 3175 w 74"/>
                <a:gd name="T5" fmla="*/ 22225 h 48"/>
                <a:gd name="T6" fmla="*/ 6350 w 74"/>
                <a:gd name="T7" fmla="*/ 9525 h 48"/>
                <a:gd name="T8" fmla="*/ 12700 w 74"/>
                <a:gd name="T9" fmla="*/ 3175 h 48"/>
                <a:gd name="T10" fmla="*/ 15875 w 74"/>
                <a:gd name="T11" fmla="*/ 0 h 48"/>
                <a:gd name="T12" fmla="*/ 19050 w 74"/>
                <a:gd name="T13" fmla="*/ 0 h 48"/>
                <a:gd name="T14" fmla="*/ 19050 w 74"/>
                <a:gd name="T15" fmla="*/ 0 h 48"/>
                <a:gd name="T16" fmla="*/ 60325 w 74"/>
                <a:gd name="T17" fmla="*/ 9525 h 48"/>
                <a:gd name="T18" fmla="*/ 60325 w 74"/>
                <a:gd name="T19" fmla="*/ 9525 h 48"/>
                <a:gd name="T20" fmla="*/ 69850 w 74"/>
                <a:gd name="T21" fmla="*/ 12700 h 48"/>
                <a:gd name="T22" fmla="*/ 82550 w 74"/>
                <a:gd name="T23" fmla="*/ 15875 h 48"/>
                <a:gd name="T24" fmla="*/ 92075 w 74"/>
                <a:gd name="T25" fmla="*/ 25400 h 48"/>
                <a:gd name="T26" fmla="*/ 101600 w 74"/>
                <a:gd name="T27" fmla="*/ 38100 h 48"/>
                <a:gd name="T28" fmla="*/ 101600 w 74"/>
                <a:gd name="T29" fmla="*/ 38100 h 48"/>
                <a:gd name="T30" fmla="*/ 114300 w 74"/>
                <a:gd name="T31" fmla="*/ 60325 h 48"/>
                <a:gd name="T32" fmla="*/ 117475 w 74"/>
                <a:gd name="T33" fmla="*/ 66675 h 48"/>
                <a:gd name="T34" fmla="*/ 114300 w 74"/>
                <a:gd name="T35" fmla="*/ 69850 h 48"/>
                <a:gd name="T36" fmla="*/ 114300 w 74"/>
                <a:gd name="T37" fmla="*/ 69850 h 48"/>
                <a:gd name="T38" fmla="*/ 111125 w 74"/>
                <a:gd name="T39" fmla="*/ 73025 h 48"/>
                <a:gd name="T40" fmla="*/ 101600 w 74"/>
                <a:gd name="T41" fmla="*/ 73025 h 48"/>
                <a:gd name="T42" fmla="*/ 76200 w 74"/>
                <a:gd name="T43" fmla="*/ 73025 h 48"/>
                <a:gd name="T44" fmla="*/ 76200 w 74"/>
                <a:gd name="T45" fmla="*/ 73025 h 48"/>
                <a:gd name="T46" fmla="*/ 66675 w 74"/>
                <a:gd name="T47" fmla="*/ 73025 h 48"/>
                <a:gd name="T48" fmla="*/ 60325 w 74"/>
                <a:gd name="T49" fmla="*/ 76200 h 48"/>
                <a:gd name="T50" fmla="*/ 53975 w 74"/>
                <a:gd name="T51" fmla="*/ 76200 h 48"/>
                <a:gd name="T52" fmla="*/ 44450 w 74"/>
                <a:gd name="T53" fmla="*/ 76200 h 48"/>
                <a:gd name="T54" fmla="*/ 44450 w 74"/>
                <a:gd name="T55" fmla="*/ 76200 h 48"/>
                <a:gd name="T56" fmla="*/ 31750 w 74"/>
                <a:gd name="T57" fmla="*/ 66675 h 48"/>
                <a:gd name="T58" fmla="*/ 28575 w 74"/>
                <a:gd name="T59" fmla="*/ 63500 h 48"/>
                <a:gd name="T60" fmla="*/ 28575 w 74"/>
                <a:gd name="T61" fmla="*/ 57150 h 48"/>
                <a:gd name="T62" fmla="*/ 28575 w 74"/>
                <a:gd name="T63" fmla="*/ 57150 h 48"/>
                <a:gd name="T64" fmla="*/ 28575 w 74"/>
                <a:gd name="T65" fmla="*/ 50800 h 48"/>
                <a:gd name="T66" fmla="*/ 25400 w 74"/>
                <a:gd name="T67" fmla="*/ 47625 h 48"/>
                <a:gd name="T68" fmla="*/ 22225 w 74"/>
                <a:gd name="T69" fmla="*/ 44450 h 48"/>
                <a:gd name="T70" fmla="*/ 19050 w 74"/>
                <a:gd name="T71" fmla="*/ 44450 h 48"/>
                <a:gd name="T72" fmla="*/ 19050 w 74"/>
                <a:gd name="T73" fmla="*/ 44450 h 48"/>
                <a:gd name="T74" fmla="*/ 12700 w 74"/>
                <a:gd name="T75" fmla="*/ 50800 h 48"/>
                <a:gd name="T76" fmla="*/ 9525 w 74"/>
                <a:gd name="T77" fmla="*/ 53975 h 48"/>
                <a:gd name="T78" fmla="*/ 3175 w 74"/>
                <a:gd name="T79" fmla="*/ 53975 h 48"/>
                <a:gd name="T80" fmla="*/ 3175 w 74"/>
                <a:gd name="T81" fmla="*/ 53975 h 48"/>
                <a:gd name="T82" fmla="*/ 0 w 74"/>
                <a:gd name="T83" fmla="*/ 50800 h 48"/>
                <a:gd name="T84" fmla="*/ 0 w 74"/>
                <a:gd name="T85" fmla="*/ 47625 h 48"/>
                <a:gd name="T86" fmla="*/ 3175 w 74"/>
                <a:gd name="T87" fmla="*/ 31750 h 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4"/>
                <a:gd name="T133" fmla="*/ 0 h 48"/>
                <a:gd name="T134" fmla="*/ 74 w 74"/>
                <a:gd name="T135" fmla="*/ 48 h 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4" h="48">
                  <a:moveTo>
                    <a:pt x="2" y="20"/>
                  </a:moveTo>
                  <a:lnTo>
                    <a:pt x="2" y="20"/>
                  </a:lnTo>
                  <a:lnTo>
                    <a:pt x="2" y="14"/>
                  </a:lnTo>
                  <a:lnTo>
                    <a:pt x="4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38" y="6"/>
                  </a:lnTo>
                  <a:lnTo>
                    <a:pt x="44" y="8"/>
                  </a:lnTo>
                  <a:lnTo>
                    <a:pt x="52" y="10"/>
                  </a:lnTo>
                  <a:lnTo>
                    <a:pt x="58" y="16"/>
                  </a:lnTo>
                  <a:lnTo>
                    <a:pt x="64" y="24"/>
                  </a:lnTo>
                  <a:lnTo>
                    <a:pt x="72" y="38"/>
                  </a:lnTo>
                  <a:lnTo>
                    <a:pt x="74" y="42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4" y="46"/>
                  </a:lnTo>
                  <a:lnTo>
                    <a:pt x="48" y="46"/>
                  </a:lnTo>
                  <a:lnTo>
                    <a:pt x="42" y="46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28" y="48"/>
                  </a:lnTo>
                  <a:lnTo>
                    <a:pt x="20" y="42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16" y="30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3" name="Freeform 18"/>
            <p:cNvSpPr>
              <a:spLocks/>
            </p:cNvSpPr>
            <p:nvPr/>
          </p:nvSpPr>
          <p:spPr bwMode="auto">
            <a:xfrm>
              <a:off x="6694481" y="1771650"/>
              <a:ext cx="227013" cy="266700"/>
            </a:xfrm>
            <a:custGeom>
              <a:avLst/>
              <a:gdLst>
                <a:gd name="T0" fmla="*/ 22382 w 142"/>
                <a:gd name="T1" fmla="*/ 57150 h 168"/>
                <a:gd name="T2" fmla="*/ 31974 w 142"/>
                <a:gd name="T3" fmla="*/ 34925 h 168"/>
                <a:gd name="T4" fmla="*/ 47960 w 142"/>
                <a:gd name="T5" fmla="*/ 9525 h 168"/>
                <a:gd name="T6" fmla="*/ 111908 w 142"/>
                <a:gd name="T7" fmla="*/ 3175 h 168"/>
                <a:gd name="T8" fmla="*/ 99118 w 142"/>
                <a:gd name="T9" fmla="*/ 22225 h 168"/>
                <a:gd name="T10" fmla="*/ 95921 w 142"/>
                <a:gd name="T11" fmla="*/ 53975 h 168"/>
                <a:gd name="T12" fmla="*/ 134289 w 142"/>
                <a:gd name="T13" fmla="*/ 60325 h 168"/>
                <a:gd name="T14" fmla="*/ 175855 w 142"/>
                <a:gd name="T15" fmla="*/ 60325 h 168"/>
                <a:gd name="T16" fmla="*/ 185447 w 142"/>
                <a:gd name="T17" fmla="*/ 95250 h 168"/>
                <a:gd name="T18" fmla="*/ 159868 w 142"/>
                <a:gd name="T19" fmla="*/ 117475 h 168"/>
                <a:gd name="T20" fmla="*/ 166263 w 142"/>
                <a:gd name="T21" fmla="*/ 155575 h 168"/>
                <a:gd name="T22" fmla="*/ 198237 w 142"/>
                <a:gd name="T23" fmla="*/ 158750 h 168"/>
                <a:gd name="T24" fmla="*/ 227013 w 142"/>
                <a:gd name="T25" fmla="*/ 196850 h 168"/>
                <a:gd name="T26" fmla="*/ 217421 w 142"/>
                <a:gd name="T27" fmla="*/ 228600 h 168"/>
                <a:gd name="T28" fmla="*/ 207829 w 142"/>
                <a:gd name="T29" fmla="*/ 238125 h 168"/>
                <a:gd name="T30" fmla="*/ 185447 w 142"/>
                <a:gd name="T31" fmla="*/ 222250 h 168"/>
                <a:gd name="T32" fmla="*/ 198237 w 142"/>
                <a:gd name="T33" fmla="*/ 203200 h 168"/>
                <a:gd name="T34" fmla="*/ 179052 w 142"/>
                <a:gd name="T35" fmla="*/ 196850 h 168"/>
                <a:gd name="T36" fmla="*/ 163066 w 142"/>
                <a:gd name="T37" fmla="*/ 203200 h 168"/>
                <a:gd name="T38" fmla="*/ 124697 w 142"/>
                <a:gd name="T39" fmla="*/ 203200 h 168"/>
                <a:gd name="T40" fmla="*/ 105513 w 142"/>
                <a:gd name="T41" fmla="*/ 231775 h 168"/>
                <a:gd name="T42" fmla="*/ 92724 w 142"/>
                <a:gd name="T43" fmla="*/ 241300 h 168"/>
                <a:gd name="T44" fmla="*/ 102316 w 142"/>
                <a:gd name="T45" fmla="*/ 244475 h 168"/>
                <a:gd name="T46" fmla="*/ 115105 w 142"/>
                <a:gd name="T47" fmla="*/ 244475 h 168"/>
                <a:gd name="T48" fmla="*/ 102316 w 142"/>
                <a:gd name="T49" fmla="*/ 263525 h 168"/>
                <a:gd name="T50" fmla="*/ 76737 w 142"/>
                <a:gd name="T51" fmla="*/ 254000 h 168"/>
                <a:gd name="T52" fmla="*/ 79934 w 142"/>
                <a:gd name="T53" fmla="*/ 238125 h 168"/>
                <a:gd name="T54" fmla="*/ 67145 w 142"/>
                <a:gd name="T55" fmla="*/ 241300 h 168"/>
                <a:gd name="T56" fmla="*/ 35171 w 142"/>
                <a:gd name="T57" fmla="*/ 231775 h 168"/>
                <a:gd name="T58" fmla="*/ 19184 w 142"/>
                <a:gd name="T59" fmla="*/ 234950 h 168"/>
                <a:gd name="T60" fmla="*/ 15987 w 142"/>
                <a:gd name="T61" fmla="*/ 222250 h 168"/>
                <a:gd name="T62" fmla="*/ 31974 w 142"/>
                <a:gd name="T63" fmla="*/ 222250 h 168"/>
                <a:gd name="T64" fmla="*/ 9592 w 142"/>
                <a:gd name="T65" fmla="*/ 209550 h 168"/>
                <a:gd name="T66" fmla="*/ 6395 w 142"/>
                <a:gd name="T67" fmla="*/ 184150 h 168"/>
                <a:gd name="T68" fmla="*/ 31974 w 142"/>
                <a:gd name="T69" fmla="*/ 180975 h 168"/>
                <a:gd name="T70" fmla="*/ 41566 w 142"/>
                <a:gd name="T71" fmla="*/ 161925 h 168"/>
                <a:gd name="T72" fmla="*/ 12789 w 142"/>
                <a:gd name="T73" fmla="*/ 158750 h 168"/>
                <a:gd name="T74" fmla="*/ 19184 w 142"/>
                <a:gd name="T75" fmla="*/ 146050 h 168"/>
                <a:gd name="T76" fmla="*/ 41566 w 142"/>
                <a:gd name="T77" fmla="*/ 111125 h 168"/>
                <a:gd name="T78" fmla="*/ 9592 w 142"/>
                <a:gd name="T79" fmla="*/ 107950 h 168"/>
                <a:gd name="T80" fmla="*/ 19184 w 142"/>
                <a:gd name="T81" fmla="*/ 88900 h 168"/>
                <a:gd name="T82" fmla="*/ 51158 w 142"/>
                <a:gd name="T83" fmla="*/ 88900 h 168"/>
                <a:gd name="T84" fmla="*/ 67145 w 142"/>
                <a:gd name="T85" fmla="*/ 104775 h 168"/>
                <a:gd name="T86" fmla="*/ 63947 w 142"/>
                <a:gd name="T87" fmla="*/ 79375 h 168"/>
                <a:gd name="T88" fmla="*/ 79934 w 142"/>
                <a:gd name="T89" fmla="*/ 69850 h 168"/>
                <a:gd name="T90" fmla="*/ 105513 w 142"/>
                <a:gd name="T91" fmla="*/ 111125 h 168"/>
                <a:gd name="T92" fmla="*/ 134289 w 142"/>
                <a:gd name="T93" fmla="*/ 104775 h 168"/>
                <a:gd name="T94" fmla="*/ 127895 w 142"/>
                <a:gd name="T95" fmla="*/ 79375 h 168"/>
                <a:gd name="T96" fmla="*/ 105513 w 142"/>
                <a:gd name="T97" fmla="*/ 76200 h 168"/>
                <a:gd name="T98" fmla="*/ 79934 w 142"/>
                <a:gd name="T99" fmla="*/ 53975 h 168"/>
                <a:gd name="T100" fmla="*/ 51158 w 142"/>
                <a:gd name="T101" fmla="*/ 76200 h 168"/>
                <a:gd name="T102" fmla="*/ 38368 w 142"/>
                <a:gd name="T103" fmla="*/ 76200 h 168"/>
                <a:gd name="T104" fmla="*/ 57553 w 142"/>
                <a:gd name="T105" fmla="*/ 41275 h 168"/>
                <a:gd name="T106" fmla="*/ 51158 w 142"/>
                <a:gd name="T107" fmla="*/ 25400 h 168"/>
                <a:gd name="T108" fmla="*/ 41566 w 142"/>
                <a:gd name="T109" fmla="*/ 50800 h 168"/>
                <a:gd name="T110" fmla="*/ 9592 w 142"/>
                <a:gd name="T111" fmla="*/ 79375 h 1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2"/>
                <a:gd name="T169" fmla="*/ 0 h 168"/>
                <a:gd name="T170" fmla="*/ 142 w 142"/>
                <a:gd name="T171" fmla="*/ 168 h 1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2" h="168">
                  <a:moveTo>
                    <a:pt x="6" y="50"/>
                  </a:moveTo>
                  <a:lnTo>
                    <a:pt x="6" y="50"/>
                  </a:lnTo>
                  <a:lnTo>
                    <a:pt x="6" y="48"/>
                  </a:lnTo>
                  <a:lnTo>
                    <a:pt x="8" y="44"/>
                  </a:lnTo>
                  <a:lnTo>
                    <a:pt x="14" y="36"/>
                  </a:lnTo>
                  <a:lnTo>
                    <a:pt x="18" y="32"/>
                  </a:lnTo>
                  <a:lnTo>
                    <a:pt x="20" y="28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22" y="12"/>
                  </a:lnTo>
                  <a:lnTo>
                    <a:pt x="24" y="8"/>
                  </a:lnTo>
                  <a:lnTo>
                    <a:pt x="30" y="6"/>
                  </a:lnTo>
                  <a:lnTo>
                    <a:pt x="44" y="4"/>
                  </a:lnTo>
                  <a:lnTo>
                    <a:pt x="56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2" y="14"/>
                  </a:lnTo>
                  <a:lnTo>
                    <a:pt x="58" y="16"/>
                  </a:lnTo>
                  <a:lnTo>
                    <a:pt x="54" y="22"/>
                  </a:lnTo>
                  <a:lnTo>
                    <a:pt x="54" y="26"/>
                  </a:lnTo>
                  <a:lnTo>
                    <a:pt x="60" y="34"/>
                  </a:lnTo>
                  <a:lnTo>
                    <a:pt x="64" y="38"/>
                  </a:lnTo>
                  <a:lnTo>
                    <a:pt x="70" y="40"/>
                  </a:lnTo>
                  <a:lnTo>
                    <a:pt x="76" y="40"/>
                  </a:lnTo>
                  <a:lnTo>
                    <a:pt x="84" y="38"/>
                  </a:lnTo>
                  <a:lnTo>
                    <a:pt x="92" y="36"/>
                  </a:lnTo>
                  <a:lnTo>
                    <a:pt x="100" y="34"/>
                  </a:lnTo>
                  <a:lnTo>
                    <a:pt x="106" y="36"/>
                  </a:lnTo>
                  <a:lnTo>
                    <a:pt x="110" y="38"/>
                  </a:lnTo>
                  <a:lnTo>
                    <a:pt x="112" y="40"/>
                  </a:lnTo>
                  <a:lnTo>
                    <a:pt x="116" y="46"/>
                  </a:lnTo>
                  <a:lnTo>
                    <a:pt x="118" y="54"/>
                  </a:lnTo>
                  <a:lnTo>
                    <a:pt x="116" y="60"/>
                  </a:lnTo>
                  <a:lnTo>
                    <a:pt x="114" y="64"/>
                  </a:lnTo>
                  <a:lnTo>
                    <a:pt x="110" y="66"/>
                  </a:lnTo>
                  <a:lnTo>
                    <a:pt x="104" y="70"/>
                  </a:lnTo>
                  <a:lnTo>
                    <a:pt x="100" y="74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02" y="96"/>
                  </a:lnTo>
                  <a:lnTo>
                    <a:pt x="104" y="98"/>
                  </a:lnTo>
                  <a:lnTo>
                    <a:pt x="110" y="98"/>
                  </a:lnTo>
                  <a:lnTo>
                    <a:pt x="116" y="96"/>
                  </a:lnTo>
                  <a:lnTo>
                    <a:pt x="120" y="96"/>
                  </a:lnTo>
                  <a:lnTo>
                    <a:pt x="124" y="100"/>
                  </a:lnTo>
                  <a:lnTo>
                    <a:pt x="126" y="104"/>
                  </a:lnTo>
                  <a:lnTo>
                    <a:pt x="138" y="116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2" y="126"/>
                  </a:lnTo>
                  <a:lnTo>
                    <a:pt x="136" y="134"/>
                  </a:lnTo>
                  <a:lnTo>
                    <a:pt x="134" y="138"/>
                  </a:lnTo>
                  <a:lnTo>
                    <a:pt x="136" y="144"/>
                  </a:lnTo>
                  <a:lnTo>
                    <a:pt x="136" y="148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0" y="150"/>
                  </a:lnTo>
                  <a:lnTo>
                    <a:pt x="118" y="144"/>
                  </a:lnTo>
                  <a:lnTo>
                    <a:pt x="116" y="142"/>
                  </a:lnTo>
                  <a:lnTo>
                    <a:pt x="116" y="140"/>
                  </a:lnTo>
                  <a:lnTo>
                    <a:pt x="116" y="138"/>
                  </a:lnTo>
                  <a:lnTo>
                    <a:pt x="120" y="136"/>
                  </a:lnTo>
                  <a:lnTo>
                    <a:pt x="124" y="132"/>
                  </a:lnTo>
                  <a:lnTo>
                    <a:pt x="124" y="128"/>
                  </a:lnTo>
                  <a:lnTo>
                    <a:pt x="122" y="126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06" y="130"/>
                  </a:lnTo>
                  <a:lnTo>
                    <a:pt x="102" y="128"/>
                  </a:lnTo>
                  <a:lnTo>
                    <a:pt x="96" y="126"/>
                  </a:lnTo>
                  <a:lnTo>
                    <a:pt x="88" y="128"/>
                  </a:lnTo>
                  <a:lnTo>
                    <a:pt x="78" y="128"/>
                  </a:lnTo>
                  <a:lnTo>
                    <a:pt x="74" y="130"/>
                  </a:lnTo>
                  <a:lnTo>
                    <a:pt x="72" y="136"/>
                  </a:lnTo>
                  <a:lnTo>
                    <a:pt x="68" y="144"/>
                  </a:lnTo>
                  <a:lnTo>
                    <a:pt x="66" y="146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60" y="148"/>
                  </a:lnTo>
                  <a:lnTo>
                    <a:pt x="58" y="152"/>
                  </a:lnTo>
                  <a:lnTo>
                    <a:pt x="60" y="156"/>
                  </a:lnTo>
                  <a:lnTo>
                    <a:pt x="62" y="156"/>
                  </a:lnTo>
                  <a:lnTo>
                    <a:pt x="64" y="154"/>
                  </a:lnTo>
                  <a:lnTo>
                    <a:pt x="66" y="152"/>
                  </a:lnTo>
                  <a:lnTo>
                    <a:pt x="68" y="150"/>
                  </a:lnTo>
                  <a:lnTo>
                    <a:pt x="72" y="152"/>
                  </a:lnTo>
                  <a:lnTo>
                    <a:pt x="72" y="154"/>
                  </a:lnTo>
                  <a:lnTo>
                    <a:pt x="74" y="164"/>
                  </a:lnTo>
                  <a:lnTo>
                    <a:pt x="74" y="168"/>
                  </a:lnTo>
                  <a:lnTo>
                    <a:pt x="68" y="168"/>
                  </a:lnTo>
                  <a:lnTo>
                    <a:pt x="64" y="166"/>
                  </a:lnTo>
                  <a:lnTo>
                    <a:pt x="60" y="164"/>
                  </a:lnTo>
                  <a:lnTo>
                    <a:pt x="56" y="162"/>
                  </a:lnTo>
                  <a:lnTo>
                    <a:pt x="54" y="162"/>
                  </a:lnTo>
                  <a:lnTo>
                    <a:pt x="48" y="160"/>
                  </a:lnTo>
                  <a:lnTo>
                    <a:pt x="46" y="158"/>
                  </a:lnTo>
                  <a:lnTo>
                    <a:pt x="46" y="156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6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38" y="154"/>
                  </a:lnTo>
                  <a:lnTo>
                    <a:pt x="26" y="150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18" y="146"/>
                  </a:lnTo>
                  <a:lnTo>
                    <a:pt x="14" y="150"/>
                  </a:lnTo>
                  <a:lnTo>
                    <a:pt x="12" y="148"/>
                  </a:lnTo>
                  <a:lnTo>
                    <a:pt x="10" y="146"/>
                  </a:lnTo>
                  <a:lnTo>
                    <a:pt x="8" y="144"/>
                  </a:lnTo>
                  <a:lnTo>
                    <a:pt x="10" y="142"/>
                  </a:lnTo>
                  <a:lnTo>
                    <a:pt x="10" y="140"/>
                  </a:lnTo>
                  <a:lnTo>
                    <a:pt x="14" y="140"/>
                  </a:lnTo>
                  <a:lnTo>
                    <a:pt x="18" y="142"/>
                  </a:lnTo>
                  <a:lnTo>
                    <a:pt x="20" y="140"/>
                  </a:lnTo>
                  <a:lnTo>
                    <a:pt x="20" y="136"/>
                  </a:lnTo>
                  <a:lnTo>
                    <a:pt x="16" y="134"/>
                  </a:lnTo>
                  <a:lnTo>
                    <a:pt x="10" y="134"/>
                  </a:lnTo>
                  <a:lnTo>
                    <a:pt x="6" y="132"/>
                  </a:lnTo>
                  <a:lnTo>
                    <a:pt x="4" y="130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4" y="116"/>
                  </a:lnTo>
                  <a:lnTo>
                    <a:pt x="8" y="114"/>
                  </a:lnTo>
                  <a:lnTo>
                    <a:pt x="12" y="114"/>
                  </a:lnTo>
                  <a:lnTo>
                    <a:pt x="20" y="114"/>
                  </a:lnTo>
                  <a:lnTo>
                    <a:pt x="26" y="114"/>
                  </a:lnTo>
                  <a:lnTo>
                    <a:pt x="28" y="112"/>
                  </a:lnTo>
                  <a:lnTo>
                    <a:pt x="30" y="108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8" y="96"/>
                  </a:lnTo>
                  <a:lnTo>
                    <a:pt x="12" y="92"/>
                  </a:lnTo>
                  <a:lnTo>
                    <a:pt x="24" y="86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6" y="70"/>
                  </a:lnTo>
                  <a:lnTo>
                    <a:pt x="24" y="70"/>
                  </a:lnTo>
                  <a:lnTo>
                    <a:pt x="20" y="70"/>
                  </a:lnTo>
                  <a:lnTo>
                    <a:pt x="10" y="70"/>
                  </a:lnTo>
                  <a:lnTo>
                    <a:pt x="6" y="68"/>
                  </a:lnTo>
                  <a:lnTo>
                    <a:pt x="4" y="66"/>
                  </a:lnTo>
                  <a:lnTo>
                    <a:pt x="4" y="62"/>
                  </a:lnTo>
                  <a:lnTo>
                    <a:pt x="6" y="60"/>
                  </a:lnTo>
                  <a:lnTo>
                    <a:pt x="12" y="56"/>
                  </a:lnTo>
                  <a:lnTo>
                    <a:pt x="22" y="56"/>
                  </a:lnTo>
                  <a:lnTo>
                    <a:pt x="28" y="56"/>
                  </a:lnTo>
                  <a:lnTo>
                    <a:pt x="32" y="56"/>
                  </a:lnTo>
                  <a:lnTo>
                    <a:pt x="36" y="62"/>
                  </a:lnTo>
                  <a:lnTo>
                    <a:pt x="38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42" y="64"/>
                  </a:lnTo>
                  <a:lnTo>
                    <a:pt x="40" y="58"/>
                  </a:lnTo>
                  <a:lnTo>
                    <a:pt x="38" y="54"/>
                  </a:lnTo>
                  <a:lnTo>
                    <a:pt x="40" y="50"/>
                  </a:lnTo>
                  <a:lnTo>
                    <a:pt x="46" y="44"/>
                  </a:lnTo>
                  <a:lnTo>
                    <a:pt x="48" y="42"/>
                  </a:lnTo>
                  <a:lnTo>
                    <a:pt x="50" y="44"/>
                  </a:lnTo>
                  <a:lnTo>
                    <a:pt x="56" y="50"/>
                  </a:lnTo>
                  <a:lnTo>
                    <a:pt x="60" y="58"/>
                  </a:lnTo>
                  <a:lnTo>
                    <a:pt x="64" y="68"/>
                  </a:lnTo>
                  <a:lnTo>
                    <a:pt x="66" y="70"/>
                  </a:lnTo>
                  <a:lnTo>
                    <a:pt x="70" y="72"/>
                  </a:lnTo>
                  <a:lnTo>
                    <a:pt x="74" y="72"/>
                  </a:lnTo>
                  <a:lnTo>
                    <a:pt x="76" y="72"/>
                  </a:lnTo>
                  <a:lnTo>
                    <a:pt x="84" y="66"/>
                  </a:lnTo>
                  <a:lnTo>
                    <a:pt x="84" y="62"/>
                  </a:lnTo>
                  <a:lnTo>
                    <a:pt x="82" y="56"/>
                  </a:lnTo>
                  <a:lnTo>
                    <a:pt x="80" y="50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60" y="44"/>
                  </a:lnTo>
                  <a:lnTo>
                    <a:pt x="54" y="38"/>
                  </a:lnTo>
                  <a:lnTo>
                    <a:pt x="50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32" y="48"/>
                  </a:lnTo>
                  <a:lnTo>
                    <a:pt x="28" y="50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6" y="42"/>
                  </a:lnTo>
                  <a:lnTo>
                    <a:pt x="34" y="32"/>
                  </a:lnTo>
                  <a:lnTo>
                    <a:pt x="36" y="26"/>
                  </a:lnTo>
                  <a:lnTo>
                    <a:pt x="38" y="22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28" y="18"/>
                  </a:lnTo>
                  <a:lnTo>
                    <a:pt x="26" y="24"/>
                  </a:lnTo>
                  <a:lnTo>
                    <a:pt x="26" y="32"/>
                  </a:lnTo>
                  <a:lnTo>
                    <a:pt x="22" y="38"/>
                  </a:lnTo>
                  <a:lnTo>
                    <a:pt x="14" y="46"/>
                  </a:lnTo>
                  <a:lnTo>
                    <a:pt x="10" y="50"/>
                  </a:lnTo>
                  <a:lnTo>
                    <a:pt x="6" y="5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4" name="Freeform 19"/>
            <p:cNvSpPr>
              <a:spLocks/>
            </p:cNvSpPr>
            <p:nvPr/>
          </p:nvSpPr>
          <p:spPr bwMode="auto">
            <a:xfrm>
              <a:off x="6665906" y="1822450"/>
              <a:ext cx="31750" cy="92075"/>
            </a:xfrm>
            <a:custGeom>
              <a:avLst/>
              <a:gdLst>
                <a:gd name="T0" fmla="*/ 9525 w 20"/>
                <a:gd name="T1" fmla="*/ 92075 h 58"/>
                <a:gd name="T2" fmla="*/ 9525 w 20"/>
                <a:gd name="T3" fmla="*/ 92075 h 58"/>
                <a:gd name="T4" fmla="*/ 3175 w 20"/>
                <a:gd name="T5" fmla="*/ 92075 h 58"/>
                <a:gd name="T6" fmla="*/ 0 w 20"/>
                <a:gd name="T7" fmla="*/ 88900 h 58"/>
                <a:gd name="T8" fmla="*/ 0 w 20"/>
                <a:gd name="T9" fmla="*/ 79375 h 58"/>
                <a:gd name="T10" fmla="*/ 0 w 20"/>
                <a:gd name="T11" fmla="*/ 79375 h 58"/>
                <a:gd name="T12" fmla="*/ 9525 w 20"/>
                <a:gd name="T13" fmla="*/ 19050 h 58"/>
                <a:gd name="T14" fmla="*/ 9525 w 20"/>
                <a:gd name="T15" fmla="*/ 19050 h 58"/>
                <a:gd name="T16" fmla="*/ 15875 w 20"/>
                <a:gd name="T17" fmla="*/ 3175 h 58"/>
                <a:gd name="T18" fmla="*/ 19050 w 20"/>
                <a:gd name="T19" fmla="*/ 0 h 58"/>
                <a:gd name="T20" fmla="*/ 25400 w 20"/>
                <a:gd name="T21" fmla="*/ 0 h 58"/>
                <a:gd name="T22" fmla="*/ 25400 w 20"/>
                <a:gd name="T23" fmla="*/ 0 h 58"/>
                <a:gd name="T24" fmla="*/ 31750 w 20"/>
                <a:gd name="T25" fmla="*/ 3175 h 58"/>
                <a:gd name="T26" fmla="*/ 31750 w 20"/>
                <a:gd name="T27" fmla="*/ 6350 h 58"/>
                <a:gd name="T28" fmla="*/ 31750 w 20"/>
                <a:gd name="T29" fmla="*/ 9525 h 58"/>
                <a:gd name="T30" fmla="*/ 31750 w 20"/>
                <a:gd name="T31" fmla="*/ 9525 h 58"/>
                <a:gd name="T32" fmla="*/ 28575 w 20"/>
                <a:gd name="T33" fmla="*/ 15875 h 58"/>
                <a:gd name="T34" fmla="*/ 25400 w 20"/>
                <a:gd name="T35" fmla="*/ 15875 h 58"/>
                <a:gd name="T36" fmla="*/ 25400 w 20"/>
                <a:gd name="T37" fmla="*/ 19050 h 58"/>
                <a:gd name="T38" fmla="*/ 22225 w 20"/>
                <a:gd name="T39" fmla="*/ 22225 h 58"/>
                <a:gd name="T40" fmla="*/ 22225 w 20"/>
                <a:gd name="T41" fmla="*/ 22225 h 58"/>
                <a:gd name="T42" fmla="*/ 15875 w 20"/>
                <a:gd name="T43" fmla="*/ 50800 h 58"/>
                <a:gd name="T44" fmla="*/ 12700 w 20"/>
                <a:gd name="T45" fmla="*/ 79375 h 58"/>
                <a:gd name="T46" fmla="*/ 12700 w 20"/>
                <a:gd name="T47" fmla="*/ 79375 h 58"/>
                <a:gd name="T48" fmla="*/ 12700 w 20"/>
                <a:gd name="T49" fmla="*/ 88900 h 58"/>
                <a:gd name="T50" fmla="*/ 9525 w 20"/>
                <a:gd name="T51" fmla="*/ 92075 h 58"/>
                <a:gd name="T52" fmla="*/ 9525 w 20"/>
                <a:gd name="T53" fmla="*/ 92075 h 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58"/>
                <a:gd name="T83" fmla="*/ 20 w 20"/>
                <a:gd name="T84" fmla="*/ 58 h 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58">
                  <a:moveTo>
                    <a:pt x="6" y="58"/>
                  </a:moveTo>
                  <a:lnTo>
                    <a:pt x="6" y="58"/>
                  </a:lnTo>
                  <a:lnTo>
                    <a:pt x="2" y="58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6" y="1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0" y="32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6" y="5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5" name="Freeform 20"/>
            <p:cNvSpPr>
              <a:spLocks/>
            </p:cNvSpPr>
            <p:nvPr/>
          </p:nvSpPr>
          <p:spPr bwMode="auto">
            <a:xfrm>
              <a:off x="6934194" y="2052638"/>
              <a:ext cx="160337" cy="196850"/>
            </a:xfrm>
            <a:custGeom>
              <a:avLst/>
              <a:gdLst>
                <a:gd name="T0" fmla="*/ 41688 w 100"/>
                <a:gd name="T1" fmla="*/ 34925 h 124"/>
                <a:gd name="T2" fmla="*/ 22447 w 100"/>
                <a:gd name="T3" fmla="*/ 0 h 124"/>
                <a:gd name="T4" fmla="*/ 9620 w 100"/>
                <a:gd name="T5" fmla="*/ 0 h 124"/>
                <a:gd name="T6" fmla="*/ 3207 w 100"/>
                <a:gd name="T7" fmla="*/ 6350 h 124"/>
                <a:gd name="T8" fmla="*/ 0 w 100"/>
                <a:gd name="T9" fmla="*/ 19050 h 124"/>
                <a:gd name="T10" fmla="*/ 3207 w 100"/>
                <a:gd name="T11" fmla="*/ 22225 h 124"/>
                <a:gd name="T12" fmla="*/ 22447 w 100"/>
                <a:gd name="T13" fmla="*/ 38100 h 124"/>
                <a:gd name="T14" fmla="*/ 22447 w 100"/>
                <a:gd name="T15" fmla="*/ 63500 h 124"/>
                <a:gd name="T16" fmla="*/ 16034 w 100"/>
                <a:gd name="T17" fmla="*/ 85725 h 124"/>
                <a:gd name="T18" fmla="*/ 19240 w 100"/>
                <a:gd name="T19" fmla="*/ 98425 h 124"/>
                <a:gd name="T20" fmla="*/ 22447 w 100"/>
                <a:gd name="T21" fmla="*/ 98425 h 124"/>
                <a:gd name="T22" fmla="*/ 35274 w 100"/>
                <a:gd name="T23" fmla="*/ 88900 h 124"/>
                <a:gd name="T24" fmla="*/ 44894 w 100"/>
                <a:gd name="T25" fmla="*/ 79375 h 124"/>
                <a:gd name="T26" fmla="*/ 51308 w 100"/>
                <a:gd name="T27" fmla="*/ 79375 h 124"/>
                <a:gd name="T28" fmla="*/ 54515 w 100"/>
                <a:gd name="T29" fmla="*/ 82550 h 124"/>
                <a:gd name="T30" fmla="*/ 48101 w 100"/>
                <a:gd name="T31" fmla="*/ 95250 h 124"/>
                <a:gd name="T32" fmla="*/ 41688 w 100"/>
                <a:gd name="T33" fmla="*/ 107950 h 124"/>
                <a:gd name="T34" fmla="*/ 41688 w 100"/>
                <a:gd name="T35" fmla="*/ 114300 h 124"/>
                <a:gd name="T36" fmla="*/ 48101 w 100"/>
                <a:gd name="T37" fmla="*/ 114300 h 124"/>
                <a:gd name="T38" fmla="*/ 57721 w 100"/>
                <a:gd name="T39" fmla="*/ 101600 h 124"/>
                <a:gd name="T40" fmla="*/ 64135 w 100"/>
                <a:gd name="T41" fmla="*/ 98425 h 124"/>
                <a:gd name="T42" fmla="*/ 64135 w 100"/>
                <a:gd name="T43" fmla="*/ 92075 h 124"/>
                <a:gd name="T44" fmla="*/ 64135 w 100"/>
                <a:gd name="T45" fmla="*/ 88900 h 124"/>
                <a:gd name="T46" fmla="*/ 70548 w 100"/>
                <a:gd name="T47" fmla="*/ 82550 h 124"/>
                <a:gd name="T48" fmla="*/ 76962 w 100"/>
                <a:gd name="T49" fmla="*/ 82550 h 124"/>
                <a:gd name="T50" fmla="*/ 86582 w 100"/>
                <a:gd name="T51" fmla="*/ 98425 h 124"/>
                <a:gd name="T52" fmla="*/ 92995 w 100"/>
                <a:gd name="T53" fmla="*/ 107950 h 124"/>
                <a:gd name="T54" fmla="*/ 102616 w 100"/>
                <a:gd name="T55" fmla="*/ 114300 h 124"/>
                <a:gd name="T56" fmla="*/ 112236 w 100"/>
                <a:gd name="T57" fmla="*/ 133350 h 124"/>
                <a:gd name="T58" fmla="*/ 109029 w 100"/>
                <a:gd name="T59" fmla="*/ 139700 h 124"/>
                <a:gd name="T60" fmla="*/ 99409 w 100"/>
                <a:gd name="T61" fmla="*/ 142875 h 124"/>
                <a:gd name="T62" fmla="*/ 83375 w 100"/>
                <a:gd name="T63" fmla="*/ 136525 h 124"/>
                <a:gd name="T64" fmla="*/ 80169 w 100"/>
                <a:gd name="T65" fmla="*/ 136525 h 124"/>
                <a:gd name="T66" fmla="*/ 80169 w 100"/>
                <a:gd name="T67" fmla="*/ 130175 h 124"/>
                <a:gd name="T68" fmla="*/ 83375 w 100"/>
                <a:gd name="T69" fmla="*/ 127000 h 124"/>
                <a:gd name="T70" fmla="*/ 80169 w 100"/>
                <a:gd name="T71" fmla="*/ 114300 h 124"/>
                <a:gd name="T72" fmla="*/ 76962 w 100"/>
                <a:gd name="T73" fmla="*/ 111125 h 124"/>
                <a:gd name="T74" fmla="*/ 64135 w 100"/>
                <a:gd name="T75" fmla="*/ 114300 h 124"/>
                <a:gd name="T76" fmla="*/ 57721 w 100"/>
                <a:gd name="T77" fmla="*/ 117475 h 124"/>
                <a:gd name="T78" fmla="*/ 57721 w 100"/>
                <a:gd name="T79" fmla="*/ 127000 h 124"/>
                <a:gd name="T80" fmla="*/ 60928 w 100"/>
                <a:gd name="T81" fmla="*/ 133350 h 124"/>
                <a:gd name="T82" fmla="*/ 67342 w 100"/>
                <a:gd name="T83" fmla="*/ 142875 h 124"/>
                <a:gd name="T84" fmla="*/ 67342 w 100"/>
                <a:gd name="T85" fmla="*/ 161925 h 124"/>
                <a:gd name="T86" fmla="*/ 64135 w 100"/>
                <a:gd name="T87" fmla="*/ 165100 h 124"/>
                <a:gd name="T88" fmla="*/ 38481 w 100"/>
                <a:gd name="T89" fmla="*/ 177800 h 124"/>
                <a:gd name="T90" fmla="*/ 38481 w 100"/>
                <a:gd name="T91" fmla="*/ 187325 h 124"/>
                <a:gd name="T92" fmla="*/ 44894 w 100"/>
                <a:gd name="T93" fmla="*/ 196850 h 124"/>
                <a:gd name="T94" fmla="*/ 60928 w 100"/>
                <a:gd name="T95" fmla="*/ 193675 h 124"/>
                <a:gd name="T96" fmla="*/ 86582 w 100"/>
                <a:gd name="T97" fmla="*/ 184150 h 124"/>
                <a:gd name="T98" fmla="*/ 121856 w 100"/>
                <a:gd name="T99" fmla="*/ 174625 h 124"/>
                <a:gd name="T100" fmla="*/ 137890 w 100"/>
                <a:gd name="T101" fmla="*/ 177800 h 124"/>
                <a:gd name="T102" fmla="*/ 150717 w 100"/>
                <a:gd name="T103" fmla="*/ 180975 h 124"/>
                <a:gd name="T104" fmla="*/ 153924 w 100"/>
                <a:gd name="T105" fmla="*/ 168275 h 124"/>
                <a:gd name="T106" fmla="*/ 160337 w 100"/>
                <a:gd name="T107" fmla="*/ 139700 h 124"/>
                <a:gd name="T108" fmla="*/ 147510 w 100"/>
                <a:gd name="T109" fmla="*/ 130175 h 124"/>
                <a:gd name="T110" fmla="*/ 128270 w 100"/>
                <a:gd name="T111" fmla="*/ 111125 h 124"/>
                <a:gd name="T112" fmla="*/ 92995 w 100"/>
                <a:gd name="T113" fmla="*/ 76200 h 124"/>
                <a:gd name="T114" fmla="*/ 80169 w 100"/>
                <a:gd name="T115" fmla="*/ 73025 h 124"/>
                <a:gd name="T116" fmla="*/ 57721 w 100"/>
                <a:gd name="T117" fmla="*/ 57150 h 1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0"/>
                <a:gd name="T178" fmla="*/ 0 h 124"/>
                <a:gd name="T179" fmla="*/ 100 w 100"/>
                <a:gd name="T180" fmla="*/ 124 h 1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0" h="124">
                  <a:moveTo>
                    <a:pt x="26" y="22"/>
                  </a:moveTo>
                  <a:lnTo>
                    <a:pt x="26" y="22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10" y="20"/>
                  </a:lnTo>
                  <a:lnTo>
                    <a:pt x="14" y="24"/>
                  </a:lnTo>
                  <a:lnTo>
                    <a:pt x="16" y="32"/>
                  </a:lnTo>
                  <a:lnTo>
                    <a:pt x="14" y="40"/>
                  </a:lnTo>
                  <a:lnTo>
                    <a:pt x="10" y="54"/>
                  </a:lnTo>
                  <a:lnTo>
                    <a:pt x="10" y="60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6" y="62"/>
                  </a:lnTo>
                  <a:lnTo>
                    <a:pt x="22" y="56"/>
                  </a:lnTo>
                  <a:lnTo>
                    <a:pt x="28" y="50"/>
                  </a:lnTo>
                  <a:lnTo>
                    <a:pt x="30" y="48"/>
                  </a:lnTo>
                  <a:lnTo>
                    <a:pt x="32" y="50"/>
                  </a:lnTo>
                  <a:lnTo>
                    <a:pt x="34" y="52"/>
                  </a:lnTo>
                  <a:lnTo>
                    <a:pt x="34" y="54"/>
                  </a:lnTo>
                  <a:lnTo>
                    <a:pt x="30" y="60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2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6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0" y="54"/>
                  </a:lnTo>
                  <a:lnTo>
                    <a:pt x="54" y="62"/>
                  </a:lnTo>
                  <a:lnTo>
                    <a:pt x="58" y="68"/>
                  </a:lnTo>
                  <a:lnTo>
                    <a:pt x="64" y="72"/>
                  </a:lnTo>
                  <a:lnTo>
                    <a:pt x="68" y="76"/>
                  </a:lnTo>
                  <a:lnTo>
                    <a:pt x="70" y="84"/>
                  </a:lnTo>
                  <a:lnTo>
                    <a:pt x="68" y="88"/>
                  </a:lnTo>
                  <a:lnTo>
                    <a:pt x="66" y="90"/>
                  </a:lnTo>
                  <a:lnTo>
                    <a:pt x="62" y="90"/>
                  </a:lnTo>
                  <a:lnTo>
                    <a:pt x="52" y="86"/>
                  </a:lnTo>
                  <a:lnTo>
                    <a:pt x="50" y="86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0" y="72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8" y="84"/>
                  </a:lnTo>
                  <a:lnTo>
                    <a:pt x="42" y="90"/>
                  </a:lnTo>
                  <a:lnTo>
                    <a:pt x="44" y="98"/>
                  </a:lnTo>
                  <a:lnTo>
                    <a:pt x="42" y="102"/>
                  </a:lnTo>
                  <a:lnTo>
                    <a:pt x="40" y="104"/>
                  </a:lnTo>
                  <a:lnTo>
                    <a:pt x="26" y="110"/>
                  </a:lnTo>
                  <a:lnTo>
                    <a:pt x="24" y="112"/>
                  </a:lnTo>
                  <a:lnTo>
                    <a:pt x="24" y="118"/>
                  </a:lnTo>
                  <a:lnTo>
                    <a:pt x="24" y="122"/>
                  </a:lnTo>
                  <a:lnTo>
                    <a:pt x="28" y="124"/>
                  </a:lnTo>
                  <a:lnTo>
                    <a:pt x="32" y="124"/>
                  </a:lnTo>
                  <a:lnTo>
                    <a:pt x="38" y="122"/>
                  </a:lnTo>
                  <a:lnTo>
                    <a:pt x="54" y="116"/>
                  </a:lnTo>
                  <a:lnTo>
                    <a:pt x="66" y="112"/>
                  </a:lnTo>
                  <a:lnTo>
                    <a:pt x="76" y="110"/>
                  </a:lnTo>
                  <a:lnTo>
                    <a:pt x="86" y="112"/>
                  </a:lnTo>
                  <a:lnTo>
                    <a:pt x="94" y="114"/>
                  </a:lnTo>
                  <a:lnTo>
                    <a:pt x="98" y="114"/>
                  </a:lnTo>
                  <a:lnTo>
                    <a:pt x="96" y="106"/>
                  </a:lnTo>
                  <a:lnTo>
                    <a:pt x="92" y="102"/>
                  </a:lnTo>
                  <a:lnTo>
                    <a:pt x="100" y="88"/>
                  </a:lnTo>
                  <a:lnTo>
                    <a:pt x="92" y="82"/>
                  </a:lnTo>
                  <a:lnTo>
                    <a:pt x="80" y="70"/>
                  </a:lnTo>
                  <a:lnTo>
                    <a:pt x="64" y="56"/>
                  </a:lnTo>
                  <a:lnTo>
                    <a:pt x="58" y="48"/>
                  </a:lnTo>
                  <a:lnTo>
                    <a:pt x="50" y="46"/>
                  </a:lnTo>
                  <a:lnTo>
                    <a:pt x="42" y="40"/>
                  </a:lnTo>
                  <a:lnTo>
                    <a:pt x="36" y="36"/>
                  </a:lnTo>
                  <a:lnTo>
                    <a:pt x="26" y="22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6" name="Freeform 21"/>
            <p:cNvSpPr>
              <a:spLocks/>
            </p:cNvSpPr>
            <p:nvPr/>
          </p:nvSpPr>
          <p:spPr bwMode="auto">
            <a:xfrm>
              <a:off x="6737344" y="2898775"/>
              <a:ext cx="258762" cy="190500"/>
            </a:xfrm>
            <a:custGeom>
              <a:avLst/>
              <a:gdLst>
                <a:gd name="T0" fmla="*/ 3195 w 162"/>
                <a:gd name="T1" fmla="*/ 47625 h 120"/>
                <a:gd name="T2" fmla="*/ 38335 w 162"/>
                <a:gd name="T3" fmla="*/ 41275 h 120"/>
                <a:gd name="T4" fmla="*/ 70281 w 162"/>
                <a:gd name="T5" fmla="*/ 9525 h 120"/>
                <a:gd name="T6" fmla="*/ 92643 w 162"/>
                <a:gd name="T7" fmla="*/ 12700 h 120"/>
                <a:gd name="T8" fmla="*/ 102227 w 162"/>
                <a:gd name="T9" fmla="*/ 28575 h 120"/>
                <a:gd name="T10" fmla="*/ 130978 w 162"/>
                <a:gd name="T11" fmla="*/ 31750 h 120"/>
                <a:gd name="T12" fmla="*/ 130978 w 162"/>
                <a:gd name="T13" fmla="*/ 9525 h 120"/>
                <a:gd name="T14" fmla="*/ 146951 w 162"/>
                <a:gd name="T15" fmla="*/ 0 h 120"/>
                <a:gd name="T16" fmla="*/ 166119 w 162"/>
                <a:gd name="T17" fmla="*/ 28575 h 120"/>
                <a:gd name="T18" fmla="*/ 178897 w 162"/>
                <a:gd name="T19" fmla="*/ 34925 h 120"/>
                <a:gd name="T20" fmla="*/ 194870 w 162"/>
                <a:gd name="T21" fmla="*/ 69850 h 120"/>
                <a:gd name="T22" fmla="*/ 226816 w 162"/>
                <a:gd name="T23" fmla="*/ 69850 h 120"/>
                <a:gd name="T24" fmla="*/ 226816 w 162"/>
                <a:gd name="T25" fmla="*/ 85725 h 120"/>
                <a:gd name="T26" fmla="*/ 214038 w 162"/>
                <a:gd name="T27" fmla="*/ 101600 h 120"/>
                <a:gd name="T28" fmla="*/ 220427 w 162"/>
                <a:gd name="T29" fmla="*/ 120650 h 120"/>
                <a:gd name="T30" fmla="*/ 252373 w 162"/>
                <a:gd name="T31" fmla="*/ 120650 h 120"/>
                <a:gd name="T32" fmla="*/ 258762 w 162"/>
                <a:gd name="T33" fmla="*/ 133350 h 120"/>
                <a:gd name="T34" fmla="*/ 249178 w 162"/>
                <a:gd name="T35" fmla="*/ 152400 h 120"/>
                <a:gd name="T36" fmla="*/ 214038 w 162"/>
                <a:gd name="T37" fmla="*/ 190500 h 120"/>
                <a:gd name="T38" fmla="*/ 185286 w 162"/>
                <a:gd name="T39" fmla="*/ 171450 h 120"/>
                <a:gd name="T40" fmla="*/ 146951 w 162"/>
                <a:gd name="T41" fmla="*/ 168275 h 120"/>
                <a:gd name="T42" fmla="*/ 134173 w 162"/>
                <a:gd name="T43" fmla="*/ 187325 h 120"/>
                <a:gd name="T44" fmla="*/ 111811 w 162"/>
                <a:gd name="T45" fmla="*/ 184150 h 120"/>
                <a:gd name="T46" fmla="*/ 89449 w 162"/>
                <a:gd name="T47" fmla="*/ 171450 h 120"/>
                <a:gd name="T48" fmla="*/ 60697 w 162"/>
                <a:gd name="T49" fmla="*/ 174625 h 120"/>
                <a:gd name="T50" fmla="*/ 51113 w 162"/>
                <a:gd name="T51" fmla="*/ 184150 h 120"/>
                <a:gd name="T52" fmla="*/ 0 w 162"/>
                <a:gd name="T53" fmla="*/ 149225 h 120"/>
                <a:gd name="T54" fmla="*/ 3195 w 162"/>
                <a:gd name="T55" fmla="*/ 120650 h 120"/>
                <a:gd name="T56" fmla="*/ 12778 w 162"/>
                <a:gd name="T57" fmla="*/ 98425 h 120"/>
                <a:gd name="T58" fmla="*/ 3195 w 162"/>
                <a:gd name="T59" fmla="*/ 85725 h 120"/>
                <a:gd name="T60" fmla="*/ 3195 w 162"/>
                <a:gd name="T61" fmla="*/ 47625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2"/>
                <a:gd name="T94" fmla="*/ 0 h 120"/>
                <a:gd name="T95" fmla="*/ 162 w 162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2" h="120">
                  <a:moveTo>
                    <a:pt x="2" y="30"/>
                  </a:moveTo>
                  <a:lnTo>
                    <a:pt x="24" y="26"/>
                  </a:lnTo>
                  <a:lnTo>
                    <a:pt x="44" y="6"/>
                  </a:lnTo>
                  <a:lnTo>
                    <a:pt x="58" y="8"/>
                  </a:lnTo>
                  <a:lnTo>
                    <a:pt x="64" y="18"/>
                  </a:lnTo>
                  <a:lnTo>
                    <a:pt x="82" y="20"/>
                  </a:lnTo>
                  <a:lnTo>
                    <a:pt x="82" y="6"/>
                  </a:lnTo>
                  <a:lnTo>
                    <a:pt x="92" y="0"/>
                  </a:lnTo>
                  <a:lnTo>
                    <a:pt x="104" y="18"/>
                  </a:lnTo>
                  <a:lnTo>
                    <a:pt x="112" y="22"/>
                  </a:lnTo>
                  <a:lnTo>
                    <a:pt x="122" y="44"/>
                  </a:lnTo>
                  <a:lnTo>
                    <a:pt x="142" y="44"/>
                  </a:lnTo>
                  <a:lnTo>
                    <a:pt x="142" y="54"/>
                  </a:lnTo>
                  <a:lnTo>
                    <a:pt x="134" y="64"/>
                  </a:lnTo>
                  <a:lnTo>
                    <a:pt x="138" y="76"/>
                  </a:lnTo>
                  <a:lnTo>
                    <a:pt x="158" y="76"/>
                  </a:lnTo>
                  <a:lnTo>
                    <a:pt x="162" y="84"/>
                  </a:lnTo>
                  <a:lnTo>
                    <a:pt x="156" y="96"/>
                  </a:lnTo>
                  <a:lnTo>
                    <a:pt x="134" y="120"/>
                  </a:lnTo>
                  <a:lnTo>
                    <a:pt x="116" y="108"/>
                  </a:lnTo>
                  <a:lnTo>
                    <a:pt x="92" y="106"/>
                  </a:lnTo>
                  <a:lnTo>
                    <a:pt x="84" y="118"/>
                  </a:lnTo>
                  <a:lnTo>
                    <a:pt x="70" y="116"/>
                  </a:lnTo>
                  <a:lnTo>
                    <a:pt x="56" y="108"/>
                  </a:lnTo>
                  <a:lnTo>
                    <a:pt x="38" y="110"/>
                  </a:lnTo>
                  <a:lnTo>
                    <a:pt x="32" y="116"/>
                  </a:lnTo>
                  <a:lnTo>
                    <a:pt x="0" y="94"/>
                  </a:lnTo>
                  <a:lnTo>
                    <a:pt x="2" y="76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7" name="Freeform 22"/>
            <p:cNvSpPr>
              <a:spLocks/>
            </p:cNvSpPr>
            <p:nvPr/>
          </p:nvSpPr>
          <p:spPr bwMode="auto">
            <a:xfrm>
              <a:off x="6737344" y="2898775"/>
              <a:ext cx="258762" cy="190500"/>
            </a:xfrm>
            <a:custGeom>
              <a:avLst/>
              <a:gdLst>
                <a:gd name="T0" fmla="*/ 3195 w 162"/>
                <a:gd name="T1" fmla="*/ 47625 h 120"/>
                <a:gd name="T2" fmla="*/ 38335 w 162"/>
                <a:gd name="T3" fmla="*/ 41275 h 120"/>
                <a:gd name="T4" fmla="*/ 70281 w 162"/>
                <a:gd name="T5" fmla="*/ 9525 h 120"/>
                <a:gd name="T6" fmla="*/ 92643 w 162"/>
                <a:gd name="T7" fmla="*/ 12700 h 120"/>
                <a:gd name="T8" fmla="*/ 102227 w 162"/>
                <a:gd name="T9" fmla="*/ 28575 h 120"/>
                <a:gd name="T10" fmla="*/ 130978 w 162"/>
                <a:gd name="T11" fmla="*/ 31750 h 120"/>
                <a:gd name="T12" fmla="*/ 130978 w 162"/>
                <a:gd name="T13" fmla="*/ 9525 h 120"/>
                <a:gd name="T14" fmla="*/ 146951 w 162"/>
                <a:gd name="T15" fmla="*/ 0 h 120"/>
                <a:gd name="T16" fmla="*/ 166119 w 162"/>
                <a:gd name="T17" fmla="*/ 28575 h 120"/>
                <a:gd name="T18" fmla="*/ 178897 w 162"/>
                <a:gd name="T19" fmla="*/ 34925 h 120"/>
                <a:gd name="T20" fmla="*/ 194870 w 162"/>
                <a:gd name="T21" fmla="*/ 69850 h 120"/>
                <a:gd name="T22" fmla="*/ 226816 w 162"/>
                <a:gd name="T23" fmla="*/ 69850 h 120"/>
                <a:gd name="T24" fmla="*/ 226816 w 162"/>
                <a:gd name="T25" fmla="*/ 85725 h 120"/>
                <a:gd name="T26" fmla="*/ 214038 w 162"/>
                <a:gd name="T27" fmla="*/ 101600 h 120"/>
                <a:gd name="T28" fmla="*/ 220427 w 162"/>
                <a:gd name="T29" fmla="*/ 120650 h 120"/>
                <a:gd name="T30" fmla="*/ 252373 w 162"/>
                <a:gd name="T31" fmla="*/ 120650 h 120"/>
                <a:gd name="T32" fmla="*/ 258762 w 162"/>
                <a:gd name="T33" fmla="*/ 133350 h 120"/>
                <a:gd name="T34" fmla="*/ 249178 w 162"/>
                <a:gd name="T35" fmla="*/ 152400 h 120"/>
                <a:gd name="T36" fmla="*/ 214038 w 162"/>
                <a:gd name="T37" fmla="*/ 190500 h 120"/>
                <a:gd name="T38" fmla="*/ 185286 w 162"/>
                <a:gd name="T39" fmla="*/ 171450 h 120"/>
                <a:gd name="T40" fmla="*/ 146951 w 162"/>
                <a:gd name="T41" fmla="*/ 168275 h 120"/>
                <a:gd name="T42" fmla="*/ 134173 w 162"/>
                <a:gd name="T43" fmla="*/ 187325 h 120"/>
                <a:gd name="T44" fmla="*/ 111811 w 162"/>
                <a:gd name="T45" fmla="*/ 184150 h 120"/>
                <a:gd name="T46" fmla="*/ 89449 w 162"/>
                <a:gd name="T47" fmla="*/ 171450 h 120"/>
                <a:gd name="T48" fmla="*/ 60697 w 162"/>
                <a:gd name="T49" fmla="*/ 174625 h 120"/>
                <a:gd name="T50" fmla="*/ 51113 w 162"/>
                <a:gd name="T51" fmla="*/ 184150 h 120"/>
                <a:gd name="T52" fmla="*/ 0 w 162"/>
                <a:gd name="T53" fmla="*/ 149225 h 120"/>
                <a:gd name="T54" fmla="*/ 3195 w 162"/>
                <a:gd name="T55" fmla="*/ 120650 h 120"/>
                <a:gd name="T56" fmla="*/ 12778 w 162"/>
                <a:gd name="T57" fmla="*/ 98425 h 120"/>
                <a:gd name="T58" fmla="*/ 3195 w 162"/>
                <a:gd name="T59" fmla="*/ 85725 h 120"/>
                <a:gd name="T60" fmla="*/ 3195 w 162"/>
                <a:gd name="T61" fmla="*/ 47625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2"/>
                <a:gd name="T94" fmla="*/ 0 h 120"/>
                <a:gd name="T95" fmla="*/ 162 w 162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2" h="120">
                  <a:moveTo>
                    <a:pt x="2" y="30"/>
                  </a:moveTo>
                  <a:lnTo>
                    <a:pt x="24" y="26"/>
                  </a:lnTo>
                  <a:lnTo>
                    <a:pt x="44" y="6"/>
                  </a:lnTo>
                  <a:lnTo>
                    <a:pt x="58" y="8"/>
                  </a:lnTo>
                  <a:lnTo>
                    <a:pt x="64" y="18"/>
                  </a:lnTo>
                  <a:lnTo>
                    <a:pt x="82" y="20"/>
                  </a:lnTo>
                  <a:lnTo>
                    <a:pt x="82" y="6"/>
                  </a:lnTo>
                  <a:lnTo>
                    <a:pt x="92" y="0"/>
                  </a:lnTo>
                  <a:lnTo>
                    <a:pt x="104" y="18"/>
                  </a:lnTo>
                  <a:lnTo>
                    <a:pt x="112" y="22"/>
                  </a:lnTo>
                  <a:lnTo>
                    <a:pt x="122" y="44"/>
                  </a:lnTo>
                  <a:lnTo>
                    <a:pt x="142" y="44"/>
                  </a:lnTo>
                  <a:lnTo>
                    <a:pt x="142" y="54"/>
                  </a:lnTo>
                  <a:lnTo>
                    <a:pt x="134" y="64"/>
                  </a:lnTo>
                  <a:lnTo>
                    <a:pt x="138" y="76"/>
                  </a:lnTo>
                  <a:lnTo>
                    <a:pt x="158" y="76"/>
                  </a:lnTo>
                  <a:lnTo>
                    <a:pt x="162" y="84"/>
                  </a:lnTo>
                  <a:lnTo>
                    <a:pt x="156" y="96"/>
                  </a:lnTo>
                  <a:lnTo>
                    <a:pt x="134" y="120"/>
                  </a:lnTo>
                  <a:lnTo>
                    <a:pt x="116" y="108"/>
                  </a:lnTo>
                  <a:lnTo>
                    <a:pt x="92" y="106"/>
                  </a:lnTo>
                  <a:lnTo>
                    <a:pt x="84" y="118"/>
                  </a:lnTo>
                  <a:lnTo>
                    <a:pt x="70" y="116"/>
                  </a:lnTo>
                  <a:lnTo>
                    <a:pt x="56" y="108"/>
                  </a:lnTo>
                  <a:lnTo>
                    <a:pt x="38" y="110"/>
                  </a:lnTo>
                  <a:lnTo>
                    <a:pt x="32" y="116"/>
                  </a:lnTo>
                  <a:lnTo>
                    <a:pt x="0" y="94"/>
                  </a:lnTo>
                  <a:lnTo>
                    <a:pt x="2" y="76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2" y="3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8" name="Freeform 23"/>
            <p:cNvSpPr>
              <a:spLocks/>
            </p:cNvSpPr>
            <p:nvPr/>
          </p:nvSpPr>
          <p:spPr bwMode="auto">
            <a:xfrm>
              <a:off x="5848344" y="2717800"/>
              <a:ext cx="942975" cy="1168400"/>
            </a:xfrm>
            <a:custGeom>
              <a:avLst/>
              <a:gdLst>
                <a:gd name="T0" fmla="*/ 377190 w 590"/>
                <a:gd name="T1" fmla="*/ 12666 h 738"/>
                <a:gd name="T2" fmla="*/ 386780 w 590"/>
                <a:gd name="T3" fmla="*/ 22165 h 738"/>
                <a:gd name="T4" fmla="*/ 409155 w 590"/>
                <a:gd name="T5" fmla="*/ 34830 h 738"/>
                <a:gd name="T6" fmla="*/ 434727 w 590"/>
                <a:gd name="T7" fmla="*/ 44330 h 738"/>
                <a:gd name="T8" fmla="*/ 447514 w 590"/>
                <a:gd name="T9" fmla="*/ 56995 h 738"/>
                <a:gd name="T10" fmla="*/ 460300 w 590"/>
                <a:gd name="T11" fmla="*/ 69661 h 738"/>
                <a:gd name="T12" fmla="*/ 469889 w 590"/>
                <a:gd name="T13" fmla="*/ 79160 h 738"/>
                <a:gd name="T14" fmla="*/ 514641 w 590"/>
                <a:gd name="T15" fmla="*/ 75993 h 738"/>
                <a:gd name="T16" fmla="*/ 559392 w 590"/>
                <a:gd name="T17" fmla="*/ 98158 h 738"/>
                <a:gd name="T18" fmla="*/ 604143 w 590"/>
                <a:gd name="T19" fmla="*/ 145654 h 738"/>
                <a:gd name="T20" fmla="*/ 594554 w 590"/>
                <a:gd name="T21" fmla="*/ 205816 h 738"/>
                <a:gd name="T22" fmla="*/ 568981 w 590"/>
                <a:gd name="T23" fmla="*/ 237480 h 738"/>
                <a:gd name="T24" fmla="*/ 562588 w 590"/>
                <a:gd name="T25" fmla="*/ 284976 h 738"/>
                <a:gd name="T26" fmla="*/ 588161 w 590"/>
                <a:gd name="T27" fmla="*/ 288142 h 738"/>
                <a:gd name="T28" fmla="*/ 623322 w 590"/>
                <a:gd name="T29" fmla="*/ 329305 h 738"/>
                <a:gd name="T30" fmla="*/ 613733 w 590"/>
                <a:gd name="T31" fmla="*/ 386300 h 738"/>
                <a:gd name="T32" fmla="*/ 607340 w 590"/>
                <a:gd name="T33" fmla="*/ 440129 h 738"/>
                <a:gd name="T34" fmla="*/ 594554 w 590"/>
                <a:gd name="T35" fmla="*/ 490791 h 738"/>
                <a:gd name="T36" fmla="*/ 680860 w 590"/>
                <a:gd name="T37" fmla="*/ 557286 h 738"/>
                <a:gd name="T38" fmla="*/ 754380 w 590"/>
                <a:gd name="T39" fmla="*/ 573118 h 738"/>
                <a:gd name="T40" fmla="*/ 859865 w 590"/>
                <a:gd name="T41" fmla="*/ 617447 h 738"/>
                <a:gd name="T42" fmla="*/ 942975 w 590"/>
                <a:gd name="T43" fmla="*/ 731437 h 738"/>
                <a:gd name="T44" fmla="*/ 879045 w 590"/>
                <a:gd name="T45" fmla="*/ 766268 h 738"/>
                <a:gd name="T46" fmla="*/ 824704 w 590"/>
                <a:gd name="T47" fmla="*/ 753602 h 738"/>
                <a:gd name="T48" fmla="*/ 776756 w 590"/>
                <a:gd name="T49" fmla="*/ 769434 h 738"/>
                <a:gd name="T50" fmla="*/ 751183 w 590"/>
                <a:gd name="T51" fmla="*/ 791599 h 738"/>
                <a:gd name="T52" fmla="*/ 728808 w 590"/>
                <a:gd name="T53" fmla="*/ 788432 h 738"/>
                <a:gd name="T54" fmla="*/ 648895 w 590"/>
                <a:gd name="T55" fmla="*/ 823263 h 738"/>
                <a:gd name="T56" fmla="*/ 575375 w 590"/>
                <a:gd name="T57" fmla="*/ 873925 h 738"/>
                <a:gd name="T58" fmla="*/ 600947 w 590"/>
                <a:gd name="T59" fmla="*/ 956252 h 738"/>
                <a:gd name="T60" fmla="*/ 588161 w 590"/>
                <a:gd name="T61" fmla="*/ 1019579 h 738"/>
                <a:gd name="T62" fmla="*/ 600947 w 590"/>
                <a:gd name="T63" fmla="*/ 1063909 h 738"/>
                <a:gd name="T64" fmla="*/ 636108 w 590"/>
                <a:gd name="T65" fmla="*/ 1133570 h 738"/>
                <a:gd name="T66" fmla="*/ 626519 w 590"/>
                <a:gd name="T67" fmla="*/ 1168400 h 738"/>
                <a:gd name="T68" fmla="*/ 594554 w 590"/>
                <a:gd name="T69" fmla="*/ 1149402 h 738"/>
                <a:gd name="T70" fmla="*/ 514641 w 590"/>
                <a:gd name="T71" fmla="*/ 1133570 h 738"/>
                <a:gd name="T72" fmla="*/ 412352 w 590"/>
                <a:gd name="T73" fmla="*/ 1105072 h 738"/>
                <a:gd name="T74" fmla="*/ 358011 w 590"/>
                <a:gd name="T75" fmla="*/ 1092407 h 738"/>
                <a:gd name="T76" fmla="*/ 313259 w 590"/>
                <a:gd name="T77" fmla="*/ 1038578 h 738"/>
                <a:gd name="T78" fmla="*/ 329242 w 590"/>
                <a:gd name="T79" fmla="*/ 994248 h 738"/>
                <a:gd name="T80" fmla="*/ 198185 w 590"/>
                <a:gd name="T81" fmla="*/ 918255 h 738"/>
                <a:gd name="T82" fmla="*/ 150237 w 590"/>
                <a:gd name="T83" fmla="*/ 899256 h 738"/>
                <a:gd name="T84" fmla="*/ 140647 w 590"/>
                <a:gd name="T85" fmla="*/ 851761 h 738"/>
                <a:gd name="T86" fmla="*/ 118271 w 590"/>
                <a:gd name="T87" fmla="*/ 826429 h 738"/>
                <a:gd name="T88" fmla="*/ 124664 w 590"/>
                <a:gd name="T89" fmla="*/ 804264 h 738"/>
                <a:gd name="T90" fmla="*/ 57537 w 590"/>
                <a:gd name="T91" fmla="*/ 788432 h 738"/>
                <a:gd name="T92" fmla="*/ 3197 w 590"/>
                <a:gd name="T93" fmla="*/ 740937 h 738"/>
                <a:gd name="T94" fmla="*/ 35162 w 590"/>
                <a:gd name="T95" fmla="*/ 664943 h 738"/>
                <a:gd name="T96" fmla="*/ 41555 w 590"/>
                <a:gd name="T97" fmla="*/ 557286 h 738"/>
                <a:gd name="T98" fmla="*/ 163023 w 590"/>
                <a:gd name="T99" fmla="*/ 478126 h 738"/>
                <a:gd name="T100" fmla="*/ 143844 w 590"/>
                <a:gd name="T101" fmla="*/ 364135 h 738"/>
                <a:gd name="T102" fmla="*/ 159826 w 590"/>
                <a:gd name="T103" fmla="*/ 326139 h 738"/>
                <a:gd name="T104" fmla="*/ 131058 w 590"/>
                <a:gd name="T105" fmla="*/ 221648 h 738"/>
                <a:gd name="T106" fmla="*/ 89503 w 590"/>
                <a:gd name="T107" fmla="*/ 183651 h 738"/>
                <a:gd name="T108" fmla="*/ 76717 w 590"/>
                <a:gd name="T109" fmla="*/ 123489 h 738"/>
                <a:gd name="T110" fmla="*/ 140647 w 590"/>
                <a:gd name="T111" fmla="*/ 123489 h 738"/>
                <a:gd name="T112" fmla="*/ 210971 w 590"/>
                <a:gd name="T113" fmla="*/ 88659 h 738"/>
                <a:gd name="T114" fmla="*/ 313259 w 590"/>
                <a:gd name="T115" fmla="*/ 79160 h 738"/>
                <a:gd name="T116" fmla="*/ 361207 w 590"/>
                <a:gd name="T117" fmla="*/ 18998 h 738"/>
                <a:gd name="T118" fmla="*/ 364404 w 590"/>
                <a:gd name="T119" fmla="*/ 0 h 738"/>
                <a:gd name="T120" fmla="*/ 373993 w 590"/>
                <a:gd name="T121" fmla="*/ 6333 h 7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90"/>
                <a:gd name="T184" fmla="*/ 0 h 738"/>
                <a:gd name="T185" fmla="*/ 590 w 590"/>
                <a:gd name="T186" fmla="*/ 738 h 7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90" h="738">
                  <a:moveTo>
                    <a:pt x="236" y="8"/>
                  </a:moveTo>
                  <a:lnTo>
                    <a:pt x="236" y="8"/>
                  </a:lnTo>
                  <a:lnTo>
                    <a:pt x="238" y="10"/>
                  </a:lnTo>
                  <a:lnTo>
                    <a:pt x="242" y="14"/>
                  </a:lnTo>
                  <a:lnTo>
                    <a:pt x="246" y="18"/>
                  </a:lnTo>
                  <a:lnTo>
                    <a:pt x="256" y="22"/>
                  </a:lnTo>
                  <a:lnTo>
                    <a:pt x="272" y="28"/>
                  </a:lnTo>
                  <a:lnTo>
                    <a:pt x="278" y="32"/>
                  </a:lnTo>
                  <a:lnTo>
                    <a:pt x="280" y="36"/>
                  </a:lnTo>
                  <a:lnTo>
                    <a:pt x="288" y="44"/>
                  </a:lnTo>
                  <a:lnTo>
                    <a:pt x="294" y="50"/>
                  </a:lnTo>
                  <a:lnTo>
                    <a:pt x="312" y="56"/>
                  </a:lnTo>
                  <a:lnTo>
                    <a:pt x="322" y="48"/>
                  </a:lnTo>
                  <a:lnTo>
                    <a:pt x="342" y="54"/>
                  </a:lnTo>
                  <a:lnTo>
                    <a:pt x="350" y="62"/>
                  </a:lnTo>
                  <a:lnTo>
                    <a:pt x="366" y="64"/>
                  </a:lnTo>
                  <a:lnTo>
                    <a:pt x="378" y="92"/>
                  </a:lnTo>
                  <a:lnTo>
                    <a:pt x="360" y="106"/>
                  </a:lnTo>
                  <a:lnTo>
                    <a:pt x="372" y="130"/>
                  </a:lnTo>
                  <a:lnTo>
                    <a:pt x="366" y="148"/>
                  </a:lnTo>
                  <a:lnTo>
                    <a:pt x="356" y="150"/>
                  </a:lnTo>
                  <a:lnTo>
                    <a:pt x="348" y="162"/>
                  </a:lnTo>
                  <a:lnTo>
                    <a:pt x="352" y="180"/>
                  </a:lnTo>
                  <a:lnTo>
                    <a:pt x="360" y="186"/>
                  </a:lnTo>
                  <a:lnTo>
                    <a:pt x="368" y="182"/>
                  </a:lnTo>
                  <a:lnTo>
                    <a:pt x="388" y="196"/>
                  </a:lnTo>
                  <a:lnTo>
                    <a:pt x="390" y="208"/>
                  </a:lnTo>
                  <a:lnTo>
                    <a:pt x="384" y="222"/>
                  </a:lnTo>
                  <a:lnTo>
                    <a:pt x="384" y="244"/>
                  </a:lnTo>
                  <a:lnTo>
                    <a:pt x="388" y="258"/>
                  </a:lnTo>
                  <a:lnTo>
                    <a:pt x="380" y="278"/>
                  </a:lnTo>
                  <a:lnTo>
                    <a:pt x="390" y="290"/>
                  </a:lnTo>
                  <a:lnTo>
                    <a:pt x="372" y="310"/>
                  </a:lnTo>
                  <a:lnTo>
                    <a:pt x="412" y="358"/>
                  </a:lnTo>
                  <a:lnTo>
                    <a:pt x="426" y="352"/>
                  </a:lnTo>
                  <a:lnTo>
                    <a:pt x="450" y="372"/>
                  </a:lnTo>
                  <a:lnTo>
                    <a:pt x="472" y="362"/>
                  </a:lnTo>
                  <a:lnTo>
                    <a:pt x="522" y="390"/>
                  </a:lnTo>
                  <a:lnTo>
                    <a:pt x="538" y="390"/>
                  </a:lnTo>
                  <a:lnTo>
                    <a:pt x="578" y="416"/>
                  </a:lnTo>
                  <a:lnTo>
                    <a:pt x="590" y="462"/>
                  </a:lnTo>
                  <a:lnTo>
                    <a:pt x="572" y="492"/>
                  </a:lnTo>
                  <a:lnTo>
                    <a:pt x="550" y="484"/>
                  </a:lnTo>
                  <a:lnTo>
                    <a:pt x="540" y="490"/>
                  </a:lnTo>
                  <a:lnTo>
                    <a:pt x="516" y="476"/>
                  </a:lnTo>
                  <a:lnTo>
                    <a:pt x="496" y="488"/>
                  </a:lnTo>
                  <a:lnTo>
                    <a:pt x="486" y="486"/>
                  </a:lnTo>
                  <a:lnTo>
                    <a:pt x="474" y="488"/>
                  </a:lnTo>
                  <a:lnTo>
                    <a:pt x="470" y="500"/>
                  </a:lnTo>
                  <a:lnTo>
                    <a:pt x="464" y="502"/>
                  </a:lnTo>
                  <a:lnTo>
                    <a:pt x="456" y="498"/>
                  </a:lnTo>
                  <a:lnTo>
                    <a:pt x="424" y="506"/>
                  </a:lnTo>
                  <a:lnTo>
                    <a:pt x="406" y="520"/>
                  </a:lnTo>
                  <a:lnTo>
                    <a:pt x="378" y="526"/>
                  </a:lnTo>
                  <a:lnTo>
                    <a:pt x="360" y="552"/>
                  </a:lnTo>
                  <a:lnTo>
                    <a:pt x="372" y="570"/>
                  </a:lnTo>
                  <a:lnTo>
                    <a:pt x="376" y="604"/>
                  </a:lnTo>
                  <a:lnTo>
                    <a:pt x="366" y="610"/>
                  </a:lnTo>
                  <a:lnTo>
                    <a:pt x="368" y="644"/>
                  </a:lnTo>
                  <a:lnTo>
                    <a:pt x="376" y="652"/>
                  </a:lnTo>
                  <a:lnTo>
                    <a:pt x="376" y="672"/>
                  </a:lnTo>
                  <a:lnTo>
                    <a:pt x="398" y="692"/>
                  </a:lnTo>
                  <a:lnTo>
                    <a:pt x="398" y="716"/>
                  </a:lnTo>
                  <a:lnTo>
                    <a:pt x="404" y="724"/>
                  </a:lnTo>
                  <a:lnTo>
                    <a:pt x="392" y="738"/>
                  </a:lnTo>
                  <a:lnTo>
                    <a:pt x="380" y="738"/>
                  </a:lnTo>
                  <a:lnTo>
                    <a:pt x="372" y="726"/>
                  </a:lnTo>
                  <a:lnTo>
                    <a:pt x="336" y="728"/>
                  </a:lnTo>
                  <a:lnTo>
                    <a:pt x="322" y="716"/>
                  </a:lnTo>
                  <a:lnTo>
                    <a:pt x="270" y="708"/>
                  </a:lnTo>
                  <a:lnTo>
                    <a:pt x="258" y="698"/>
                  </a:lnTo>
                  <a:lnTo>
                    <a:pt x="242" y="692"/>
                  </a:lnTo>
                  <a:lnTo>
                    <a:pt x="224" y="690"/>
                  </a:lnTo>
                  <a:lnTo>
                    <a:pt x="216" y="664"/>
                  </a:lnTo>
                  <a:lnTo>
                    <a:pt x="196" y="656"/>
                  </a:lnTo>
                  <a:lnTo>
                    <a:pt x="190" y="644"/>
                  </a:lnTo>
                  <a:lnTo>
                    <a:pt x="206" y="628"/>
                  </a:lnTo>
                  <a:lnTo>
                    <a:pt x="190" y="596"/>
                  </a:lnTo>
                  <a:lnTo>
                    <a:pt x="124" y="580"/>
                  </a:lnTo>
                  <a:lnTo>
                    <a:pt x="106" y="580"/>
                  </a:lnTo>
                  <a:lnTo>
                    <a:pt x="94" y="568"/>
                  </a:lnTo>
                  <a:lnTo>
                    <a:pt x="96" y="556"/>
                  </a:lnTo>
                  <a:lnTo>
                    <a:pt x="88" y="538"/>
                  </a:lnTo>
                  <a:lnTo>
                    <a:pt x="78" y="536"/>
                  </a:lnTo>
                  <a:lnTo>
                    <a:pt x="74" y="522"/>
                  </a:lnTo>
                  <a:lnTo>
                    <a:pt x="80" y="516"/>
                  </a:lnTo>
                  <a:lnTo>
                    <a:pt x="78" y="508"/>
                  </a:lnTo>
                  <a:lnTo>
                    <a:pt x="64" y="510"/>
                  </a:lnTo>
                  <a:lnTo>
                    <a:pt x="36" y="498"/>
                  </a:lnTo>
                  <a:lnTo>
                    <a:pt x="16" y="498"/>
                  </a:lnTo>
                  <a:lnTo>
                    <a:pt x="2" y="468"/>
                  </a:lnTo>
                  <a:lnTo>
                    <a:pt x="0" y="454"/>
                  </a:lnTo>
                  <a:lnTo>
                    <a:pt x="22" y="420"/>
                  </a:lnTo>
                  <a:lnTo>
                    <a:pt x="8" y="384"/>
                  </a:lnTo>
                  <a:lnTo>
                    <a:pt x="26" y="352"/>
                  </a:lnTo>
                  <a:lnTo>
                    <a:pt x="86" y="342"/>
                  </a:lnTo>
                  <a:lnTo>
                    <a:pt x="102" y="302"/>
                  </a:lnTo>
                  <a:lnTo>
                    <a:pt x="92" y="290"/>
                  </a:lnTo>
                  <a:lnTo>
                    <a:pt x="90" y="230"/>
                  </a:lnTo>
                  <a:lnTo>
                    <a:pt x="86" y="218"/>
                  </a:lnTo>
                  <a:lnTo>
                    <a:pt x="100" y="206"/>
                  </a:lnTo>
                  <a:lnTo>
                    <a:pt x="84" y="186"/>
                  </a:lnTo>
                  <a:lnTo>
                    <a:pt x="82" y="140"/>
                  </a:lnTo>
                  <a:lnTo>
                    <a:pt x="62" y="134"/>
                  </a:lnTo>
                  <a:lnTo>
                    <a:pt x="56" y="116"/>
                  </a:lnTo>
                  <a:lnTo>
                    <a:pt x="42" y="106"/>
                  </a:lnTo>
                  <a:lnTo>
                    <a:pt x="48" y="78"/>
                  </a:lnTo>
                  <a:lnTo>
                    <a:pt x="66" y="74"/>
                  </a:lnTo>
                  <a:lnTo>
                    <a:pt x="88" y="78"/>
                  </a:lnTo>
                  <a:lnTo>
                    <a:pt x="88" y="66"/>
                  </a:lnTo>
                  <a:lnTo>
                    <a:pt x="132" y="56"/>
                  </a:lnTo>
                  <a:lnTo>
                    <a:pt x="150" y="64"/>
                  </a:lnTo>
                  <a:lnTo>
                    <a:pt x="196" y="50"/>
                  </a:lnTo>
                  <a:lnTo>
                    <a:pt x="194" y="38"/>
                  </a:lnTo>
                  <a:lnTo>
                    <a:pt x="226" y="12"/>
                  </a:lnTo>
                  <a:lnTo>
                    <a:pt x="228" y="0"/>
                  </a:lnTo>
                  <a:lnTo>
                    <a:pt x="232" y="2"/>
                  </a:lnTo>
                  <a:lnTo>
                    <a:pt x="234" y="4"/>
                  </a:lnTo>
                  <a:lnTo>
                    <a:pt x="236" y="8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>
              <a:off x="5848344" y="2717800"/>
              <a:ext cx="942975" cy="1168400"/>
            </a:xfrm>
            <a:custGeom>
              <a:avLst/>
              <a:gdLst>
                <a:gd name="T0" fmla="*/ 377190 w 590"/>
                <a:gd name="T1" fmla="*/ 12666 h 738"/>
                <a:gd name="T2" fmla="*/ 386780 w 590"/>
                <a:gd name="T3" fmla="*/ 22165 h 738"/>
                <a:gd name="T4" fmla="*/ 409155 w 590"/>
                <a:gd name="T5" fmla="*/ 34830 h 738"/>
                <a:gd name="T6" fmla="*/ 434727 w 590"/>
                <a:gd name="T7" fmla="*/ 44330 h 738"/>
                <a:gd name="T8" fmla="*/ 447514 w 590"/>
                <a:gd name="T9" fmla="*/ 56995 h 738"/>
                <a:gd name="T10" fmla="*/ 460300 w 590"/>
                <a:gd name="T11" fmla="*/ 69661 h 738"/>
                <a:gd name="T12" fmla="*/ 469889 w 590"/>
                <a:gd name="T13" fmla="*/ 79160 h 738"/>
                <a:gd name="T14" fmla="*/ 514641 w 590"/>
                <a:gd name="T15" fmla="*/ 75993 h 738"/>
                <a:gd name="T16" fmla="*/ 559392 w 590"/>
                <a:gd name="T17" fmla="*/ 98158 h 738"/>
                <a:gd name="T18" fmla="*/ 604143 w 590"/>
                <a:gd name="T19" fmla="*/ 145654 h 738"/>
                <a:gd name="T20" fmla="*/ 594554 w 590"/>
                <a:gd name="T21" fmla="*/ 205816 h 738"/>
                <a:gd name="T22" fmla="*/ 568981 w 590"/>
                <a:gd name="T23" fmla="*/ 237480 h 738"/>
                <a:gd name="T24" fmla="*/ 562588 w 590"/>
                <a:gd name="T25" fmla="*/ 284976 h 738"/>
                <a:gd name="T26" fmla="*/ 588161 w 590"/>
                <a:gd name="T27" fmla="*/ 288142 h 738"/>
                <a:gd name="T28" fmla="*/ 623322 w 590"/>
                <a:gd name="T29" fmla="*/ 329305 h 738"/>
                <a:gd name="T30" fmla="*/ 613733 w 590"/>
                <a:gd name="T31" fmla="*/ 386300 h 738"/>
                <a:gd name="T32" fmla="*/ 607340 w 590"/>
                <a:gd name="T33" fmla="*/ 440129 h 738"/>
                <a:gd name="T34" fmla="*/ 594554 w 590"/>
                <a:gd name="T35" fmla="*/ 490791 h 738"/>
                <a:gd name="T36" fmla="*/ 680860 w 590"/>
                <a:gd name="T37" fmla="*/ 557286 h 738"/>
                <a:gd name="T38" fmla="*/ 754380 w 590"/>
                <a:gd name="T39" fmla="*/ 573118 h 738"/>
                <a:gd name="T40" fmla="*/ 859865 w 590"/>
                <a:gd name="T41" fmla="*/ 617447 h 738"/>
                <a:gd name="T42" fmla="*/ 942975 w 590"/>
                <a:gd name="T43" fmla="*/ 731437 h 738"/>
                <a:gd name="T44" fmla="*/ 879045 w 590"/>
                <a:gd name="T45" fmla="*/ 766268 h 738"/>
                <a:gd name="T46" fmla="*/ 824704 w 590"/>
                <a:gd name="T47" fmla="*/ 753602 h 738"/>
                <a:gd name="T48" fmla="*/ 776756 w 590"/>
                <a:gd name="T49" fmla="*/ 769434 h 738"/>
                <a:gd name="T50" fmla="*/ 751183 w 590"/>
                <a:gd name="T51" fmla="*/ 791599 h 738"/>
                <a:gd name="T52" fmla="*/ 728808 w 590"/>
                <a:gd name="T53" fmla="*/ 788432 h 738"/>
                <a:gd name="T54" fmla="*/ 648895 w 590"/>
                <a:gd name="T55" fmla="*/ 823263 h 738"/>
                <a:gd name="T56" fmla="*/ 575375 w 590"/>
                <a:gd name="T57" fmla="*/ 873925 h 738"/>
                <a:gd name="T58" fmla="*/ 600947 w 590"/>
                <a:gd name="T59" fmla="*/ 956252 h 738"/>
                <a:gd name="T60" fmla="*/ 588161 w 590"/>
                <a:gd name="T61" fmla="*/ 1019579 h 738"/>
                <a:gd name="T62" fmla="*/ 600947 w 590"/>
                <a:gd name="T63" fmla="*/ 1063909 h 738"/>
                <a:gd name="T64" fmla="*/ 636108 w 590"/>
                <a:gd name="T65" fmla="*/ 1133570 h 738"/>
                <a:gd name="T66" fmla="*/ 626519 w 590"/>
                <a:gd name="T67" fmla="*/ 1168400 h 738"/>
                <a:gd name="T68" fmla="*/ 594554 w 590"/>
                <a:gd name="T69" fmla="*/ 1149402 h 738"/>
                <a:gd name="T70" fmla="*/ 514641 w 590"/>
                <a:gd name="T71" fmla="*/ 1133570 h 738"/>
                <a:gd name="T72" fmla="*/ 412352 w 590"/>
                <a:gd name="T73" fmla="*/ 1105072 h 738"/>
                <a:gd name="T74" fmla="*/ 358011 w 590"/>
                <a:gd name="T75" fmla="*/ 1092407 h 738"/>
                <a:gd name="T76" fmla="*/ 313259 w 590"/>
                <a:gd name="T77" fmla="*/ 1038578 h 738"/>
                <a:gd name="T78" fmla="*/ 329242 w 590"/>
                <a:gd name="T79" fmla="*/ 994248 h 738"/>
                <a:gd name="T80" fmla="*/ 198185 w 590"/>
                <a:gd name="T81" fmla="*/ 918255 h 738"/>
                <a:gd name="T82" fmla="*/ 150237 w 590"/>
                <a:gd name="T83" fmla="*/ 899256 h 738"/>
                <a:gd name="T84" fmla="*/ 140647 w 590"/>
                <a:gd name="T85" fmla="*/ 851761 h 738"/>
                <a:gd name="T86" fmla="*/ 118271 w 590"/>
                <a:gd name="T87" fmla="*/ 826429 h 738"/>
                <a:gd name="T88" fmla="*/ 124664 w 590"/>
                <a:gd name="T89" fmla="*/ 804264 h 738"/>
                <a:gd name="T90" fmla="*/ 57537 w 590"/>
                <a:gd name="T91" fmla="*/ 788432 h 738"/>
                <a:gd name="T92" fmla="*/ 3197 w 590"/>
                <a:gd name="T93" fmla="*/ 740937 h 738"/>
                <a:gd name="T94" fmla="*/ 35162 w 590"/>
                <a:gd name="T95" fmla="*/ 664943 h 738"/>
                <a:gd name="T96" fmla="*/ 41555 w 590"/>
                <a:gd name="T97" fmla="*/ 557286 h 738"/>
                <a:gd name="T98" fmla="*/ 163023 w 590"/>
                <a:gd name="T99" fmla="*/ 478126 h 738"/>
                <a:gd name="T100" fmla="*/ 143844 w 590"/>
                <a:gd name="T101" fmla="*/ 364135 h 738"/>
                <a:gd name="T102" fmla="*/ 159826 w 590"/>
                <a:gd name="T103" fmla="*/ 326139 h 738"/>
                <a:gd name="T104" fmla="*/ 131058 w 590"/>
                <a:gd name="T105" fmla="*/ 221648 h 738"/>
                <a:gd name="T106" fmla="*/ 89503 w 590"/>
                <a:gd name="T107" fmla="*/ 183651 h 738"/>
                <a:gd name="T108" fmla="*/ 76717 w 590"/>
                <a:gd name="T109" fmla="*/ 123489 h 738"/>
                <a:gd name="T110" fmla="*/ 140647 w 590"/>
                <a:gd name="T111" fmla="*/ 123489 h 738"/>
                <a:gd name="T112" fmla="*/ 210971 w 590"/>
                <a:gd name="T113" fmla="*/ 88659 h 738"/>
                <a:gd name="T114" fmla="*/ 313259 w 590"/>
                <a:gd name="T115" fmla="*/ 79160 h 738"/>
                <a:gd name="T116" fmla="*/ 361207 w 590"/>
                <a:gd name="T117" fmla="*/ 18998 h 738"/>
                <a:gd name="T118" fmla="*/ 364404 w 590"/>
                <a:gd name="T119" fmla="*/ 0 h 738"/>
                <a:gd name="T120" fmla="*/ 373993 w 590"/>
                <a:gd name="T121" fmla="*/ 6333 h 7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90"/>
                <a:gd name="T184" fmla="*/ 0 h 738"/>
                <a:gd name="T185" fmla="*/ 590 w 590"/>
                <a:gd name="T186" fmla="*/ 738 h 7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90" h="738">
                  <a:moveTo>
                    <a:pt x="236" y="8"/>
                  </a:moveTo>
                  <a:lnTo>
                    <a:pt x="236" y="8"/>
                  </a:lnTo>
                  <a:lnTo>
                    <a:pt x="238" y="10"/>
                  </a:lnTo>
                  <a:lnTo>
                    <a:pt x="242" y="14"/>
                  </a:lnTo>
                  <a:lnTo>
                    <a:pt x="246" y="18"/>
                  </a:lnTo>
                  <a:lnTo>
                    <a:pt x="256" y="22"/>
                  </a:lnTo>
                  <a:lnTo>
                    <a:pt x="272" y="28"/>
                  </a:lnTo>
                  <a:lnTo>
                    <a:pt x="278" y="32"/>
                  </a:lnTo>
                  <a:lnTo>
                    <a:pt x="280" y="36"/>
                  </a:lnTo>
                  <a:lnTo>
                    <a:pt x="288" y="44"/>
                  </a:lnTo>
                  <a:lnTo>
                    <a:pt x="294" y="50"/>
                  </a:lnTo>
                  <a:lnTo>
                    <a:pt x="312" y="56"/>
                  </a:lnTo>
                  <a:lnTo>
                    <a:pt x="322" y="48"/>
                  </a:lnTo>
                  <a:lnTo>
                    <a:pt x="342" y="54"/>
                  </a:lnTo>
                  <a:lnTo>
                    <a:pt x="350" y="62"/>
                  </a:lnTo>
                  <a:lnTo>
                    <a:pt x="366" y="64"/>
                  </a:lnTo>
                  <a:lnTo>
                    <a:pt x="378" y="92"/>
                  </a:lnTo>
                  <a:lnTo>
                    <a:pt x="360" y="106"/>
                  </a:lnTo>
                  <a:lnTo>
                    <a:pt x="372" y="130"/>
                  </a:lnTo>
                  <a:lnTo>
                    <a:pt x="366" y="148"/>
                  </a:lnTo>
                  <a:lnTo>
                    <a:pt x="356" y="150"/>
                  </a:lnTo>
                  <a:lnTo>
                    <a:pt x="348" y="162"/>
                  </a:lnTo>
                  <a:lnTo>
                    <a:pt x="352" y="180"/>
                  </a:lnTo>
                  <a:lnTo>
                    <a:pt x="360" y="186"/>
                  </a:lnTo>
                  <a:lnTo>
                    <a:pt x="368" y="182"/>
                  </a:lnTo>
                  <a:lnTo>
                    <a:pt x="388" y="196"/>
                  </a:lnTo>
                  <a:lnTo>
                    <a:pt x="390" y="208"/>
                  </a:lnTo>
                  <a:lnTo>
                    <a:pt x="384" y="222"/>
                  </a:lnTo>
                  <a:lnTo>
                    <a:pt x="384" y="244"/>
                  </a:lnTo>
                  <a:lnTo>
                    <a:pt x="388" y="258"/>
                  </a:lnTo>
                  <a:lnTo>
                    <a:pt x="380" y="278"/>
                  </a:lnTo>
                  <a:lnTo>
                    <a:pt x="390" y="290"/>
                  </a:lnTo>
                  <a:lnTo>
                    <a:pt x="372" y="310"/>
                  </a:lnTo>
                  <a:lnTo>
                    <a:pt x="412" y="358"/>
                  </a:lnTo>
                  <a:lnTo>
                    <a:pt x="426" y="352"/>
                  </a:lnTo>
                  <a:lnTo>
                    <a:pt x="450" y="372"/>
                  </a:lnTo>
                  <a:lnTo>
                    <a:pt x="472" y="362"/>
                  </a:lnTo>
                  <a:lnTo>
                    <a:pt x="522" y="390"/>
                  </a:lnTo>
                  <a:lnTo>
                    <a:pt x="538" y="390"/>
                  </a:lnTo>
                  <a:lnTo>
                    <a:pt x="578" y="416"/>
                  </a:lnTo>
                  <a:lnTo>
                    <a:pt x="590" y="462"/>
                  </a:lnTo>
                  <a:lnTo>
                    <a:pt x="572" y="492"/>
                  </a:lnTo>
                  <a:lnTo>
                    <a:pt x="550" y="484"/>
                  </a:lnTo>
                  <a:lnTo>
                    <a:pt x="540" y="490"/>
                  </a:lnTo>
                  <a:lnTo>
                    <a:pt x="516" y="476"/>
                  </a:lnTo>
                  <a:lnTo>
                    <a:pt x="496" y="488"/>
                  </a:lnTo>
                  <a:lnTo>
                    <a:pt x="486" y="486"/>
                  </a:lnTo>
                  <a:lnTo>
                    <a:pt x="474" y="488"/>
                  </a:lnTo>
                  <a:lnTo>
                    <a:pt x="470" y="500"/>
                  </a:lnTo>
                  <a:lnTo>
                    <a:pt x="464" y="502"/>
                  </a:lnTo>
                  <a:lnTo>
                    <a:pt x="456" y="498"/>
                  </a:lnTo>
                  <a:lnTo>
                    <a:pt x="424" y="506"/>
                  </a:lnTo>
                  <a:lnTo>
                    <a:pt x="406" y="520"/>
                  </a:lnTo>
                  <a:lnTo>
                    <a:pt x="378" y="526"/>
                  </a:lnTo>
                  <a:lnTo>
                    <a:pt x="360" y="552"/>
                  </a:lnTo>
                  <a:lnTo>
                    <a:pt x="372" y="570"/>
                  </a:lnTo>
                  <a:lnTo>
                    <a:pt x="376" y="604"/>
                  </a:lnTo>
                  <a:lnTo>
                    <a:pt x="366" y="610"/>
                  </a:lnTo>
                  <a:lnTo>
                    <a:pt x="368" y="644"/>
                  </a:lnTo>
                  <a:lnTo>
                    <a:pt x="376" y="652"/>
                  </a:lnTo>
                  <a:lnTo>
                    <a:pt x="376" y="672"/>
                  </a:lnTo>
                  <a:lnTo>
                    <a:pt x="398" y="692"/>
                  </a:lnTo>
                  <a:lnTo>
                    <a:pt x="398" y="716"/>
                  </a:lnTo>
                  <a:lnTo>
                    <a:pt x="404" y="724"/>
                  </a:lnTo>
                  <a:lnTo>
                    <a:pt x="392" y="738"/>
                  </a:lnTo>
                  <a:lnTo>
                    <a:pt x="380" y="738"/>
                  </a:lnTo>
                  <a:lnTo>
                    <a:pt x="372" y="726"/>
                  </a:lnTo>
                  <a:lnTo>
                    <a:pt x="336" y="728"/>
                  </a:lnTo>
                  <a:lnTo>
                    <a:pt x="322" y="716"/>
                  </a:lnTo>
                  <a:lnTo>
                    <a:pt x="270" y="708"/>
                  </a:lnTo>
                  <a:lnTo>
                    <a:pt x="258" y="698"/>
                  </a:lnTo>
                  <a:lnTo>
                    <a:pt x="242" y="692"/>
                  </a:lnTo>
                  <a:lnTo>
                    <a:pt x="224" y="690"/>
                  </a:lnTo>
                  <a:lnTo>
                    <a:pt x="216" y="664"/>
                  </a:lnTo>
                  <a:lnTo>
                    <a:pt x="196" y="656"/>
                  </a:lnTo>
                  <a:lnTo>
                    <a:pt x="190" y="644"/>
                  </a:lnTo>
                  <a:lnTo>
                    <a:pt x="206" y="628"/>
                  </a:lnTo>
                  <a:lnTo>
                    <a:pt x="190" y="596"/>
                  </a:lnTo>
                  <a:lnTo>
                    <a:pt x="124" y="580"/>
                  </a:lnTo>
                  <a:lnTo>
                    <a:pt x="106" y="580"/>
                  </a:lnTo>
                  <a:lnTo>
                    <a:pt x="94" y="568"/>
                  </a:lnTo>
                  <a:lnTo>
                    <a:pt x="96" y="556"/>
                  </a:lnTo>
                  <a:lnTo>
                    <a:pt x="88" y="538"/>
                  </a:lnTo>
                  <a:lnTo>
                    <a:pt x="78" y="536"/>
                  </a:lnTo>
                  <a:lnTo>
                    <a:pt x="74" y="522"/>
                  </a:lnTo>
                  <a:lnTo>
                    <a:pt x="80" y="516"/>
                  </a:lnTo>
                  <a:lnTo>
                    <a:pt x="78" y="508"/>
                  </a:lnTo>
                  <a:lnTo>
                    <a:pt x="64" y="510"/>
                  </a:lnTo>
                  <a:lnTo>
                    <a:pt x="36" y="498"/>
                  </a:lnTo>
                  <a:lnTo>
                    <a:pt x="16" y="498"/>
                  </a:lnTo>
                  <a:lnTo>
                    <a:pt x="2" y="468"/>
                  </a:lnTo>
                  <a:lnTo>
                    <a:pt x="0" y="454"/>
                  </a:lnTo>
                  <a:lnTo>
                    <a:pt x="22" y="420"/>
                  </a:lnTo>
                  <a:lnTo>
                    <a:pt x="8" y="384"/>
                  </a:lnTo>
                  <a:lnTo>
                    <a:pt x="26" y="352"/>
                  </a:lnTo>
                  <a:lnTo>
                    <a:pt x="86" y="342"/>
                  </a:lnTo>
                  <a:lnTo>
                    <a:pt x="102" y="302"/>
                  </a:lnTo>
                  <a:lnTo>
                    <a:pt x="92" y="290"/>
                  </a:lnTo>
                  <a:lnTo>
                    <a:pt x="90" y="230"/>
                  </a:lnTo>
                  <a:lnTo>
                    <a:pt x="86" y="218"/>
                  </a:lnTo>
                  <a:lnTo>
                    <a:pt x="100" y="206"/>
                  </a:lnTo>
                  <a:lnTo>
                    <a:pt x="84" y="186"/>
                  </a:lnTo>
                  <a:lnTo>
                    <a:pt x="82" y="140"/>
                  </a:lnTo>
                  <a:lnTo>
                    <a:pt x="62" y="134"/>
                  </a:lnTo>
                  <a:lnTo>
                    <a:pt x="56" y="116"/>
                  </a:lnTo>
                  <a:lnTo>
                    <a:pt x="42" y="106"/>
                  </a:lnTo>
                  <a:lnTo>
                    <a:pt x="48" y="78"/>
                  </a:lnTo>
                  <a:lnTo>
                    <a:pt x="66" y="74"/>
                  </a:lnTo>
                  <a:lnTo>
                    <a:pt x="88" y="78"/>
                  </a:lnTo>
                  <a:lnTo>
                    <a:pt x="88" y="66"/>
                  </a:lnTo>
                  <a:lnTo>
                    <a:pt x="132" y="56"/>
                  </a:lnTo>
                  <a:lnTo>
                    <a:pt x="150" y="64"/>
                  </a:lnTo>
                  <a:lnTo>
                    <a:pt x="196" y="50"/>
                  </a:lnTo>
                  <a:lnTo>
                    <a:pt x="194" y="38"/>
                  </a:lnTo>
                  <a:lnTo>
                    <a:pt x="226" y="12"/>
                  </a:lnTo>
                  <a:lnTo>
                    <a:pt x="228" y="0"/>
                  </a:lnTo>
                  <a:lnTo>
                    <a:pt x="232" y="2"/>
                  </a:lnTo>
                  <a:lnTo>
                    <a:pt x="234" y="4"/>
                  </a:lnTo>
                  <a:lnTo>
                    <a:pt x="236" y="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0" name="Freeform 25"/>
            <p:cNvSpPr>
              <a:spLocks/>
            </p:cNvSpPr>
            <p:nvPr/>
          </p:nvSpPr>
          <p:spPr bwMode="auto">
            <a:xfrm>
              <a:off x="5608631" y="3500438"/>
              <a:ext cx="1009650" cy="836612"/>
            </a:xfrm>
            <a:custGeom>
              <a:avLst/>
              <a:gdLst>
                <a:gd name="T0" fmla="*/ 31951 w 632"/>
                <a:gd name="T1" fmla="*/ 152111 h 528"/>
                <a:gd name="T2" fmla="*/ 108633 w 632"/>
                <a:gd name="T3" fmla="*/ 256688 h 528"/>
                <a:gd name="T4" fmla="*/ 86268 w 632"/>
                <a:gd name="T5" fmla="*/ 275702 h 528"/>
                <a:gd name="T6" fmla="*/ 54317 w 632"/>
                <a:gd name="T7" fmla="*/ 288378 h 528"/>
                <a:gd name="T8" fmla="*/ 54317 w 632"/>
                <a:gd name="T9" fmla="*/ 345419 h 528"/>
                <a:gd name="T10" fmla="*/ 3195 w 632"/>
                <a:gd name="T11" fmla="*/ 396123 h 528"/>
                <a:gd name="T12" fmla="*/ 25561 w 632"/>
                <a:gd name="T13" fmla="*/ 430982 h 528"/>
                <a:gd name="T14" fmla="*/ 47926 w 632"/>
                <a:gd name="T15" fmla="*/ 456334 h 528"/>
                <a:gd name="T16" fmla="*/ 9585 w 632"/>
                <a:gd name="T17" fmla="*/ 538727 h 528"/>
                <a:gd name="T18" fmla="*/ 54317 w 632"/>
                <a:gd name="T19" fmla="*/ 554572 h 528"/>
                <a:gd name="T20" fmla="*/ 86268 w 632"/>
                <a:gd name="T21" fmla="*/ 583093 h 528"/>
                <a:gd name="T22" fmla="*/ 99048 w 632"/>
                <a:gd name="T23" fmla="*/ 659149 h 528"/>
                <a:gd name="T24" fmla="*/ 140584 w 632"/>
                <a:gd name="T25" fmla="*/ 662318 h 528"/>
                <a:gd name="T26" fmla="*/ 169340 w 632"/>
                <a:gd name="T27" fmla="*/ 678163 h 528"/>
                <a:gd name="T28" fmla="*/ 277973 w 632"/>
                <a:gd name="T29" fmla="*/ 760556 h 528"/>
                <a:gd name="T30" fmla="*/ 309924 w 632"/>
                <a:gd name="T31" fmla="*/ 830274 h 528"/>
                <a:gd name="T32" fmla="*/ 345070 w 632"/>
                <a:gd name="T33" fmla="*/ 811260 h 528"/>
                <a:gd name="T34" fmla="*/ 373826 w 632"/>
                <a:gd name="T35" fmla="*/ 789077 h 528"/>
                <a:gd name="T36" fmla="*/ 351460 w 632"/>
                <a:gd name="T37" fmla="*/ 754218 h 528"/>
                <a:gd name="T38" fmla="*/ 405777 w 632"/>
                <a:gd name="T39" fmla="*/ 728866 h 528"/>
                <a:gd name="T40" fmla="*/ 412167 w 632"/>
                <a:gd name="T41" fmla="*/ 757387 h 528"/>
                <a:gd name="T42" fmla="*/ 453704 w 632"/>
                <a:gd name="T43" fmla="*/ 801753 h 528"/>
                <a:gd name="T44" fmla="*/ 498435 w 632"/>
                <a:gd name="T45" fmla="*/ 671825 h 528"/>
                <a:gd name="T46" fmla="*/ 552751 w 632"/>
                <a:gd name="T47" fmla="*/ 668656 h 528"/>
                <a:gd name="T48" fmla="*/ 607068 w 632"/>
                <a:gd name="T49" fmla="*/ 725697 h 528"/>
                <a:gd name="T50" fmla="*/ 674165 w 632"/>
                <a:gd name="T51" fmla="*/ 703515 h 528"/>
                <a:gd name="T52" fmla="*/ 706116 w 632"/>
                <a:gd name="T53" fmla="*/ 697177 h 528"/>
                <a:gd name="T54" fmla="*/ 744457 w 632"/>
                <a:gd name="T55" fmla="*/ 706683 h 528"/>
                <a:gd name="T56" fmla="*/ 747652 w 632"/>
                <a:gd name="T57" fmla="*/ 678163 h 528"/>
                <a:gd name="T58" fmla="*/ 766823 w 632"/>
                <a:gd name="T59" fmla="*/ 659149 h 528"/>
                <a:gd name="T60" fmla="*/ 741262 w 632"/>
                <a:gd name="T61" fmla="*/ 621121 h 528"/>
                <a:gd name="T62" fmla="*/ 785993 w 632"/>
                <a:gd name="T63" fmla="*/ 567248 h 528"/>
                <a:gd name="T64" fmla="*/ 801969 w 632"/>
                <a:gd name="T65" fmla="*/ 598938 h 528"/>
                <a:gd name="T66" fmla="*/ 840310 w 632"/>
                <a:gd name="T67" fmla="*/ 583093 h 528"/>
                <a:gd name="T68" fmla="*/ 840310 w 632"/>
                <a:gd name="T69" fmla="*/ 557741 h 528"/>
                <a:gd name="T70" fmla="*/ 885041 w 632"/>
                <a:gd name="T71" fmla="*/ 545065 h 528"/>
                <a:gd name="T72" fmla="*/ 869066 w 632"/>
                <a:gd name="T73" fmla="*/ 465841 h 528"/>
                <a:gd name="T74" fmla="*/ 916992 w 632"/>
                <a:gd name="T75" fmla="*/ 443658 h 528"/>
                <a:gd name="T76" fmla="*/ 945748 w 632"/>
                <a:gd name="T77" fmla="*/ 427813 h 528"/>
                <a:gd name="T78" fmla="*/ 996870 w 632"/>
                <a:gd name="T79" fmla="*/ 415137 h 528"/>
                <a:gd name="T80" fmla="*/ 993675 w 632"/>
                <a:gd name="T81" fmla="*/ 361264 h 528"/>
                <a:gd name="T82" fmla="*/ 945748 w 632"/>
                <a:gd name="T83" fmla="*/ 323236 h 528"/>
                <a:gd name="T84" fmla="*/ 875456 w 632"/>
                <a:gd name="T85" fmla="*/ 313729 h 528"/>
                <a:gd name="T86" fmla="*/ 885041 w 632"/>
                <a:gd name="T87" fmla="*/ 364433 h 528"/>
                <a:gd name="T88" fmla="*/ 846700 w 632"/>
                <a:gd name="T89" fmla="*/ 386616 h 528"/>
                <a:gd name="T90" fmla="*/ 776408 w 632"/>
                <a:gd name="T91" fmla="*/ 370771 h 528"/>
                <a:gd name="T92" fmla="*/ 670970 w 632"/>
                <a:gd name="T93" fmla="*/ 339081 h 528"/>
                <a:gd name="T94" fmla="*/ 626239 w 632"/>
                <a:gd name="T95" fmla="*/ 313729 h 528"/>
                <a:gd name="T96" fmla="*/ 584702 w 632"/>
                <a:gd name="T97" fmla="*/ 269364 h 528"/>
                <a:gd name="T98" fmla="*/ 543166 w 632"/>
                <a:gd name="T99" fmla="*/ 237674 h 528"/>
                <a:gd name="T100" fmla="*/ 543166 w 632"/>
                <a:gd name="T101" fmla="*/ 161618 h 528"/>
                <a:gd name="T102" fmla="*/ 408972 w 632"/>
                <a:gd name="T103" fmla="*/ 136266 h 528"/>
                <a:gd name="T104" fmla="*/ 392997 w 632"/>
                <a:gd name="T105" fmla="*/ 98239 h 528"/>
                <a:gd name="T106" fmla="*/ 364241 w 632"/>
                <a:gd name="T107" fmla="*/ 66549 h 528"/>
                <a:gd name="T108" fmla="*/ 367436 w 632"/>
                <a:gd name="T109" fmla="*/ 34859 h 528"/>
                <a:gd name="T110" fmla="*/ 341875 w 632"/>
                <a:gd name="T111" fmla="*/ 25352 h 528"/>
                <a:gd name="T112" fmla="*/ 265193 w 632"/>
                <a:gd name="T113" fmla="*/ 6338 h 528"/>
                <a:gd name="T114" fmla="*/ 226852 w 632"/>
                <a:gd name="T115" fmla="*/ 34859 h 528"/>
                <a:gd name="T116" fmla="*/ 178925 w 632"/>
                <a:gd name="T117" fmla="*/ 0 h 528"/>
                <a:gd name="T118" fmla="*/ 172535 w 632"/>
                <a:gd name="T119" fmla="*/ 28521 h 528"/>
                <a:gd name="T120" fmla="*/ 156560 w 632"/>
                <a:gd name="T121" fmla="*/ 85563 h 5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32"/>
                <a:gd name="T184" fmla="*/ 0 h 528"/>
                <a:gd name="T185" fmla="*/ 632 w 632"/>
                <a:gd name="T186" fmla="*/ 528 h 5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32" h="528">
                  <a:moveTo>
                    <a:pt x="98" y="54"/>
                  </a:moveTo>
                  <a:lnTo>
                    <a:pt x="20" y="96"/>
                  </a:lnTo>
                  <a:lnTo>
                    <a:pt x="18" y="124"/>
                  </a:lnTo>
                  <a:lnTo>
                    <a:pt x="68" y="162"/>
                  </a:lnTo>
                  <a:lnTo>
                    <a:pt x="68" y="172"/>
                  </a:lnTo>
                  <a:lnTo>
                    <a:pt x="54" y="174"/>
                  </a:lnTo>
                  <a:lnTo>
                    <a:pt x="54" y="184"/>
                  </a:lnTo>
                  <a:lnTo>
                    <a:pt x="34" y="182"/>
                  </a:lnTo>
                  <a:lnTo>
                    <a:pt x="46" y="218"/>
                  </a:lnTo>
                  <a:lnTo>
                    <a:pt x="34" y="218"/>
                  </a:lnTo>
                  <a:lnTo>
                    <a:pt x="10" y="250"/>
                  </a:lnTo>
                  <a:lnTo>
                    <a:pt x="2" y="250"/>
                  </a:lnTo>
                  <a:lnTo>
                    <a:pt x="0" y="262"/>
                  </a:lnTo>
                  <a:lnTo>
                    <a:pt x="16" y="272"/>
                  </a:lnTo>
                  <a:lnTo>
                    <a:pt x="32" y="270"/>
                  </a:lnTo>
                  <a:lnTo>
                    <a:pt x="30" y="288"/>
                  </a:lnTo>
                  <a:lnTo>
                    <a:pt x="8" y="296"/>
                  </a:lnTo>
                  <a:lnTo>
                    <a:pt x="6" y="340"/>
                  </a:lnTo>
                  <a:lnTo>
                    <a:pt x="16" y="340"/>
                  </a:lnTo>
                  <a:lnTo>
                    <a:pt x="34" y="350"/>
                  </a:lnTo>
                  <a:lnTo>
                    <a:pt x="44" y="344"/>
                  </a:lnTo>
                  <a:lnTo>
                    <a:pt x="54" y="368"/>
                  </a:lnTo>
                  <a:lnTo>
                    <a:pt x="50" y="412"/>
                  </a:lnTo>
                  <a:lnTo>
                    <a:pt x="62" y="416"/>
                  </a:lnTo>
                  <a:lnTo>
                    <a:pt x="78" y="410"/>
                  </a:lnTo>
                  <a:lnTo>
                    <a:pt x="88" y="418"/>
                  </a:lnTo>
                  <a:lnTo>
                    <a:pt x="88" y="432"/>
                  </a:lnTo>
                  <a:lnTo>
                    <a:pt x="106" y="428"/>
                  </a:lnTo>
                  <a:lnTo>
                    <a:pt x="122" y="454"/>
                  </a:lnTo>
                  <a:lnTo>
                    <a:pt x="174" y="480"/>
                  </a:lnTo>
                  <a:lnTo>
                    <a:pt x="170" y="504"/>
                  </a:lnTo>
                  <a:lnTo>
                    <a:pt x="194" y="524"/>
                  </a:lnTo>
                  <a:lnTo>
                    <a:pt x="212" y="528"/>
                  </a:lnTo>
                  <a:lnTo>
                    <a:pt x="216" y="512"/>
                  </a:lnTo>
                  <a:lnTo>
                    <a:pt x="230" y="512"/>
                  </a:lnTo>
                  <a:lnTo>
                    <a:pt x="234" y="498"/>
                  </a:lnTo>
                  <a:lnTo>
                    <a:pt x="214" y="492"/>
                  </a:lnTo>
                  <a:lnTo>
                    <a:pt x="220" y="476"/>
                  </a:lnTo>
                  <a:lnTo>
                    <a:pt x="236" y="476"/>
                  </a:lnTo>
                  <a:lnTo>
                    <a:pt x="254" y="460"/>
                  </a:lnTo>
                  <a:lnTo>
                    <a:pt x="258" y="462"/>
                  </a:lnTo>
                  <a:lnTo>
                    <a:pt x="258" y="478"/>
                  </a:lnTo>
                  <a:lnTo>
                    <a:pt x="274" y="476"/>
                  </a:lnTo>
                  <a:lnTo>
                    <a:pt x="284" y="506"/>
                  </a:lnTo>
                  <a:lnTo>
                    <a:pt x="330" y="494"/>
                  </a:lnTo>
                  <a:lnTo>
                    <a:pt x="312" y="424"/>
                  </a:lnTo>
                  <a:lnTo>
                    <a:pt x="328" y="418"/>
                  </a:lnTo>
                  <a:lnTo>
                    <a:pt x="346" y="422"/>
                  </a:lnTo>
                  <a:lnTo>
                    <a:pt x="354" y="450"/>
                  </a:lnTo>
                  <a:lnTo>
                    <a:pt x="380" y="458"/>
                  </a:lnTo>
                  <a:lnTo>
                    <a:pt x="412" y="440"/>
                  </a:lnTo>
                  <a:lnTo>
                    <a:pt x="422" y="444"/>
                  </a:lnTo>
                  <a:lnTo>
                    <a:pt x="434" y="436"/>
                  </a:lnTo>
                  <a:lnTo>
                    <a:pt x="442" y="440"/>
                  </a:lnTo>
                  <a:lnTo>
                    <a:pt x="440" y="446"/>
                  </a:lnTo>
                  <a:lnTo>
                    <a:pt x="466" y="446"/>
                  </a:lnTo>
                  <a:lnTo>
                    <a:pt x="478" y="438"/>
                  </a:lnTo>
                  <a:lnTo>
                    <a:pt x="468" y="428"/>
                  </a:lnTo>
                  <a:lnTo>
                    <a:pt x="470" y="422"/>
                  </a:lnTo>
                  <a:lnTo>
                    <a:pt x="480" y="416"/>
                  </a:lnTo>
                  <a:lnTo>
                    <a:pt x="482" y="404"/>
                  </a:lnTo>
                  <a:lnTo>
                    <a:pt x="464" y="392"/>
                  </a:lnTo>
                  <a:lnTo>
                    <a:pt x="466" y="380"/>
                  </a:lnTo>
                  <a:lnTo>
                    <a:pt x="492" y="358"/>
                  </a:lnTo>
                  <a:lnTo>
                    <a:pt x="504" y="368"/>
                  </a:lnTo>
                  <a:lnTo>
                    <a:pt x="502" y="378"/>
                  </a:lnTo>
                  <a:lnTo>
                    <a:pt x="510" y="382"/>
                  </a:lnTo>
                  <a:lnTo>
                    <a:pt x="526" y="368"/>
                  </a:lnTo>
                  <a:lnTo>
                    <a:pt x="522" y="358"/>
                  </a:lnTo>
                  <a:lnTo>
                    <a:pt x="526" y="352"/>
                  </a:lnTo>
                  <a:lnTo>
                    <a:pt x="548" y="354"/>
                  </a:lnTo>
                  <a:lnTo>
                    <a:pt x="554" y="344"/>
                  </a:lnTo>
                  <a:lnTo>
                    <a:pt x="532" y="316"/>
                  </a:lnTo>
                  <a:lnTo>
                    <a:pt x="544" y="294"/>
                  </a:lnTo>
                  <a:lnTo>
                    <a:pt x="566" y="288"/>
                  </a:lnTo>
                  <a:lnTo>
                    <a:pt x="574" y="280"/>
                  </a:lnTo>
                  <a:lnTo>
                    <a:pt x="588" y="282"/>
                  </a:lnTo>
                  <a:lnTo>
                    <a:pt x="592" y="270"/>
                  </a:lnTo>
                  <a:lnTo>
                    <a:pt x="610" y="262"/>
                  </a:lnTo>
                  <a:lnTo>
                    <a:pt x="624" y="262"/>
                  </a:lnTo>
                  <a:lnTo>
                    <a:pt x="632" y="252"/>
                  </a:lnTo>
                  <a:lnTo>
                    <a:pt x="622" y="228"/>
                  </a:lnTo>
                  <a:lnTo>
                    <a:pt x="600" y="218"/>
                  </a:lnTo>
                  <a:lnTo>
                    <a:pt x="592" y="204"/>
                  </a:lnTo>
                  <a:lnTo>
                    <a:pt x="580" y="196"/>
                  </a:lnTo>
                  <a:lnTo>
                    <a:pt x="548" y="198"/>
                  </a:lnTo>
                  <a:lnTo>
                    <a:pt x="548" y="222"/>
                  </a:lnTo>
                  <a:lnTo>
                    <a:pt x="554" y="230"/>
                  </a:lnTo>
                  <a:lnTo>
                    <a:pt x="542" y="244"/>
                  </a:lnTo>
                  <a:lnTo>
                    <a:pt x="530" y="244"/>
                  </a:lnTo>
                  <a:lnTo>
                    <a:pt x="522" y="232"/>
                  </a:lnTo>
                  <a:lnTo>
                    <a:pt x="486" y="234"/>
                  </a:lnTo>
                  <a:lnTo>
                    <a:pt x="472" y="222"/>
                  </a:lnTo>
                  <a:lnTo>
                    <a:pt x="420" y="214"/>
                  </a:lnTo>
                  <a:lnTo>
                    <a:pt x="408" y="204"/>
                  </a:lnTo>
                  <a:lnTo>
                    <a:pt x="392" y="198"/>
                  </a:lnTo>
                  <a:lnTo>
                    <a:pt x="374" y="196"/>
                  </a:lnTo>
                  <a:lnTo>
                    <a:pt x="366" y="170"/>
                  </a:lnTo>
                  <a:lnTo>
                    <a:pt x="346" y="162"/>
                  </a:lnTo>
                  <a:lnTo>
                    <a:pt x="340" y="150"/>
                  </a:lnTo>
                  <a:lnTo>
                    <a:pt x="356" y="134"/>
                  </a:lnTo>
                  <a:lnTo>
                    <a:pt x="340" y="102"/>
                  </a:lnTo>
                  <a:lnTo>
                    <a:pt x="274" y="86"/>
                  </a:lnTo>
                  <a:lnTo>
                    <a:pt x="256" y="86"/>
                  </a:lnTo>
                  <a:lnTo>
                    <a:pt x="244" y="74"/>
                  </a:lnTo>
                  <a:lnTo>
                    <a:pt x="246" y="62"/>
                  </a:lnTo>
                  <a:lnTo>
                    <a:pt x="238" y="44"/>
                  </a:lnTo>
                  <a:lnTo>
                    <a:pt x="228" y="42"/>
                  </a:lnTo>
                  <a:lnTo>
                    <a:pt x="224" y="28"/>
                  </a:lnTo>
                  <a:lnTo>
                    <a:pt x="230" y="22"/>
                  </a:lnTo>
                  <a:lnTo>
                    <a:pt x="228" y="14"/>
                  </a:lnTo>
                  <a:lnTo>
                    <a:pt x="214" y="16"/>
                  </a:lnTo>
                  <a:lnTo>
                    <a:pt x="186" y="4"/>
                  </a:lnTo>
                  <a:lnTo>
                    <a:pt x="166" y="4"/>
                  </a:lnTo>
                  <a:lnTo>
                    <a:pt x="162" y="20"/>
                  </a:lnTo>
                  <a:lnTo>
                    <a:pt x="142" y="22"/>
                  </a:lnTo>
                  <a:lnTo>
                    <a:pt x="126" y="6"/>
                  </a:lnTo>
                  <a:lnTo>
                    <a:pt x="112" y="0"/>
                  </a:lnTo>
                  <a:lnTo>
                    <a:pt x="108" y="6"/>
                  </a:lnTo>
                  <a:lnTo>
                    <a:pt x="108" y="18"/>
                  </a:lnTo>
                  <a:lnTo>
                    <a:pt x="94" y="34"/>
                  </a:lnTo>
                  <a:lnTo>
                    <a:pt x="98" y="54"/>
                  </a:lnTo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1" name="Freeform 26"/>
            <p:cNvSpPr>
              <a:spLocks/>
            </p:cNvSpPr>
            <p:nvPr/>
          </p:nvSpPr>
          <p:spPr bwMode="auto">
            <a:xfrm>
              <a:off x="6684956" y="1892300"/>
              <a:ext cx="36513" cy="28575"/>
            </a:xfrm>
            <a:custGeom>
              <a:avLst/>
              <a:gdLst>
                <a:gd name="T0" fmla="*/ 26555 w 22"/>
                <a:gd name="T1" fmla="*/ 12700 h 18"/>
                <a:gd name="T2" fmla="*/ 26555 w 22"/>
                <a:gd name="T3" fmla="*/ 12700 h 18"/>
                <a:gd name="T4" fmla="*/ 13277 w 22"/>
                <a:gd name="T5" fmla="*/ 25400 h 18"/>
                <a:gd name="T6" fmla="*/ 6639 w 22"/>
                <a:gd name="T7" fmla="*/ 28575 h 18"/>
                <a:gd name="T8" fmla="*/ 0 w 22"/>
                <a:gd name="T9" fmla="*/ 28575 h 18"/>
                <a:gd name="T10" fmla="*/ 0 w 22"/>
                <a:gd name="T11" fmla="*/ 28575 h 18"/>
                <a:gd name="T12" fmla="*/ 0 w 22"/>
                <a:gd name="T13" fmla="*/ 25400 h 18"/>
                <a:gd name="T14" fmla="*/ 0 w 22"/>
                <a:gd name="T15" fmla="*/ 19050 h 18"/>
                <a:gd name="T16" fmla="*/ 6639 w 22"/>
                <a:gd name="T17" fmla="*/ 9525 h 18"/>
                <a:gd name="T18" fmla="*/ 6639 w 22"/>
                <a:gd name="T19" fmla="*/ 9525 h 18"/>
                <a:gd name="T20" fmla="*/ 16597 w 22"/>
                <a:gd name="T21" fmla="*/ 0 h 18"/>
                <a:gd name="T22" fmla="*/ 26555 w 22"/>
                <a:gd name="T23" fmla="*/ 0 h 18"/>
                <a:gd name="T24" fmla="*/ 26555 w 22"/>
                <a:gd name="T25" fmla="*/ 0 h 18"/>
                <a:gd name="T26" fmla="*/ 33194 w 22"/>
                <a:gd name="T27" fmla="*/ 0 h 18"/>
                <a:gd name="T28" fmla="*/ 36513 w 22"/>
                <a:gd name="T29" fmla="*/ 3175 h 18"/>
                <a:gd name="T30" fmla="*/ 36513 w 22"/>
                <a:gd name="T31" fmla="*/ 3175 h 18"/>
                <a:gd name="T32" fmla="*/ 36513 w 22"/>
                <a:gd name="T33" fmla="*/ 6350 h 18"/>
                <a:gd name="T34" fmla="*/ 26555 w 22"/>
                <a:gd name="T35" fmla="*/ 12700 h 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"/>
                <a:gd name="T55" fmla="*/ 0 h 18"/>
                <a:gd name="T56" fmla="*/ 22 w 22"/>
                <a:gd name="T57" fmla="*/ 18 h 1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" h="18">
                  <a:moveTo>
                    <a:pt x="16" y="8"/>
                  </a:moveTo>
                  <a:lnTo>
                    <a:pt x="16" y="8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6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16" y="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2" name="Freeform 27"/>
            <p:cNvSpPr>
              <a:spLocks/>
            </p:cNvSpPr>
            <p:nvPr/>
          </p:nvSpPr>
          <p:spPr bwMode="auto">
            <a:xfrm>
              <a:off x="5245094" y="1898650"/>
              <a:ext cx="34925" cy="38100"/>
            </a:xfrm>
            <a:custGeom>
              <a:avLst/>
              <a:gdLst>
                <a:gd name="T0" fmla="*/ 31750 w 22"/>
                <a:gd name="T1" fmla="*/ 0 h 24"/>
                <a:gd name="T2" fmla="*/ 31750 w 22"/>
                <a:gd name="T3" fmla="*/ 0 h 24"/>
                <a:gd name="T4" fmla="*/ 25400 w 22"/>
                <a:gd name="T5" fmla="*/ 0 h 24"/>
                <a:gd name="T6" fmla="*/ 12700 w 22"/>
                <a:gd name="T7" fmla="*/ 3175 h 24"/>
                <a:gd name="T8" fmla="*/ 12700 w 22"/>
                <a:gd name="T9" fmla="*/ 3175 h 24"/>
                <a:gd name="T10" fmla="*/ 3175 w 22"/>
                <a:gd name="T11" fmla="*/ 3175 h 24"/>
                <a:gd name="T12" fmla="*/ 0 w 22"/>
                <a:gd name="T13" fmla="*/ 9525 h 24"/>
                <a:gd name="T14" fmla="*/ 0 w 22"/>
                <a:gd name="T15" fmla="*/ 15875 h 24"/>
                <a:gd name="T16" fmla="*/ 0 w 22"/>
                <a:gd name="T17" fmla="*/ 25400 h 24"/>
                <a:gd name="T18" fmla="*/ 0 w 22"/>
                <a:gd name="T19" fmla="*/ 25400 h 24"/>
                <a:gd name="T20" fmla="*/ 3175 w 22"/>
                <a:gd name="T21" fmla="*/ 31750 h 24"/>
                <a:gd name="T22" fmla="*/ 6350 w 22"/>
                <a:gd name="T23" fmla="*/ 38100 h 24"/>
                <a:gd name="T24" fmla="*/ 12700 w 22"/>
                <a:gd name="T25" fmla="*/ 38100 h 24"/>
                <a:gd name="T26" fmla="*/ 19050 w 22"/>
                <a:gd name="T27" fmla="*/ 38100 h 24"/>
                <a:gd name="T28" fmla="*/ 28575 w 22"/>
                <a:gd name="T29" fmla="*/ 34925 h 24"/>
                <a:gd name="T30" fmla="*/ 31750 w 22"/>
                <a:gd name="T31" fmla="*/ 28575 h 24"/>
                <a:gd name="T32" fmla="*/ 34925 w 22"/>
                <a:gd name="T33" fmla="*/ 25400 h 24"/>
                <a:gd name="T34" fmla="*/ 34925 w 22"/>
                <a:gd name="T35" fmla="*/ 25400 h 24"/>
                <a:gd name="T36" fmla="*/ 34925 w 22"/>
                <a:gd name="T37" fmla="*/ 9525 h 24"/>
                <a:gd name="T38" fmla="*/ 34925 w 22"/>
                <a:gd name="T39" fmla="*/ 3175 h 24"/>
                <a:gd name="T40" fmla="*/ 31750 w 22"/>
                <a:gd name="T41" fmla="*/ 0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"/>
                <a:gd name="T64" fmla="*/ 0 h 24"/>
                <a:gd name="T65" fmla="*/ 22 w 22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" h="24">
                  <a:moveTo>
                    <a:pt x="20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8" y="22"/>
                  </a:lnTo>
                  <a:lnTo>
                    <a:pt x="20" y="18"/>
                  </a:lnTo>
                  <a:lnTo>
                    <a:pt x="22" y="16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3" name="Freeform 28"/>
            <p:cNvSpPr>
              <a:spLocks/>
            </p:cNvSpPr>
            <p:nvPr/>
          </p:nvSpPr>
          <p:spPr bwMode="auto">
            <a:xfrm>
              <a:off x="5245094" y="1898650"/>
              <a:ext cx="34925" cy="38100"/>
            </a:xfrm>
            <a:custGeom>
              <a:avLst/>
              <a:gdLst>
                <a:gd name="T0" fmla="*/ 31750 w 22"/>
                <a:gd name="T1" fmla="*/ 0 h 24"/>
                <a:gd name="T2" fmla="*/ 31750 w 22"/>
                <a:gd name="T3" fmla="*/ 0 h 24"/>
                <a:gd name="T4" fmla="*/ 25400 w 22"/>
                <a:gd name="T5" fmla="*/ 0 h 24"/>
                <a:gd name="T6" fmla="*/ 12700 w 22"/>
                <a:gd name="T7" fmla="*/ 3175 h 24"/>
                <a:gd name="T8" fmla="*/ 12700 w 22"/>
                <a:gd name="T9" fmla="*/ 3175 h 24"/>
                <a:gd name="T10" fmla="*/ 3175 w 22"/>
                <a:gd name="T11" fmla="*/ 3175 h 24"/>
                <a:gd name="T12" fmla="*/ 0 w 22"/>
                <a:gd name="T13" fmla="*/ 9525 h 24"/>
                <a:gd name="T14" fmla="*/ 0 w 22"/>
                <a:gd name="T15" fmla="*/ 15875 h 24"/>
                <a:gd name="T16" fmla="*/ 0 w 22"/>
                <a:gd name="T17" fmla="*/ 25400 h 24"/>
                <a:gd name="T18" fmla="*/ 0 w 22"/>
                <a:gd name="T19" fmla="*/ 25400 h 24"/>
                <a:gd name="T20" fmla="*/ 3175 w 22"/>
                <a:gd name="T21" fmla="*/ 31750 h 24"/>
                <a:gd name="T22" fmla="*/ 6350 w 22"/>
                <a:gd name="T23" fmla="*/ 38100 h 24"/>
                <a:gd name="T24" fmla="*/ 12700 w 22"/>
                <a:gd name="T25" fmla="*/ 38100 h 24"/>
                <a:gd name="T26" fmla="*/ 19050 w 22"/>
                <a:gd name="T27" fmla="*/ 38100 h 24"/>
                <a:gd name="T28" fmla="*/ 28575 w 22"/>
                <a:gd name="T29" fmla="*/ 34925 h 24"/>
                <a:gd name="T30" fmla="*/ 31750 w 22"/>
                <a:gd name="T31" fmla="*/ 28575 h 24"/>
                <a:gd name="T32" fmla="*/ 34925 w 22"/>
                <a:gd name="T33" fmla="*/ 25400 h 24"/>
                <a:gd name="T34" fmla="*/ 34925 w 22"/>
                <a:gd name="T35" fmla="*/ 25400 h 24"/>
                <a:gd name="T36" fmla="*/ 34925 w 22"/>
                <a:gd name="T37" fmla="*/ 9525 h 24"/>
                <a:gd name="T38" fmla="*/ 34925 w 22"/>
                <a:gd name="T39" fmla="*/ 3175 h 24"/>
                <a:gd name="T40" fmla="*/ 31750 w 22"/>
                <a:gd name="T41" fmla="*/ 0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"/>
                <a:gd name="T64" fmla="*/ 0 h 24"/>
                <a:gd name="T65" fmla="*/ 22 w 22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" h="24">
                  <a:moveTo>
                    <a:pt x="20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8" y="22"/>
                  </a:lnTo>
                  <a:lnTo>
                    <a:pt x="20" y="18"/>
                  </a:lnTo>
                  <a:lnTo>
                    <a:pt x="22" y="16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0" y="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4" name="Freeform 29"/>
            <p:cNvSpPr>
              <a:spLocks/>
            </p:cNvSpPr>
            <p:nvPr/>
          </p:nvSpPr>
          <p:spPr bwMode="auto">
            <a:xfrm>
              <a:off x="5062531" y="1577975"/>
              <a:ext cx="82550" cy="174625"/>
            </a:xfrm>
            <a:custGeom>
              <a:avLst/>
              <a:gdLst>
                <a:gd name="T0" fmla="*/ 57150 w 52"/>
                <a:gd name="T1" fmla="*/ 92075 h 110"/>
                <a:gd name="T2" fmla="*/ 41275 w 52"/>
                <a:gd name="T3" fmla="*/ 85725 h 110"/>
                <a:gd name="T4" fmla="*/ 34925 w 52"/>
                <a:gd name="T5" fmla="*/ 73025 h 110"/>
                <a:gd name="T6" fmla="*/ 31750 w 52"/>
                <a:gd name="T7" fmla="*/ 60325 h 110"/>
                <a:gd name="T8" fmla="*/ 28575 w 52"/>
                <a:gd name="T9" fmla="*/ 47625 h 110"/>
                <a:gd name="T10" fmla="*/ 31750 w 52"/>
                <a:gd name="T11" fmla="*/ 41275 h 110"/>
                <a:gd name="T12" fmla="*/ 57150 w 52"/>
                <a:gd name="T13" fmla="*/ 34925 h 110"/>
                <a:gd name="T14" fmla="*/ 63500 w 52"/>
                <a:gd name="T15" fmla="*/ 34925 h 110"/>
                <a:gd name="T16" fmla="*/ 60325 w 52"/>
                <a:gd name="T17" fmla="*/ 25400 h 110"/>
                <a:gd name="T18" fmla="*/ 53975 w 52"/>
                <a:gd name="T19" fmla="*/ 19050 h 110"/>
                <a:gd name="T20" fmla="*/ 50800 w 52"/>
                <a:gd name="T21" fmla="*/ 12700 h 110"/>
                <a:gd name="T22" fmla="*/ 57150 w 52"/>
                <a:gd name="T23" fmla="*/ 12700 h 110"/>
                <a:gd name="T24" fmla="*/ 73025 w 52"/>
                <a:gd name="T25" fmla="*/ 19050 h 110"/>
                <a:gd name="T26" fmla="*/ 79375 w 52"/>
                <a:gd name="T27" fmla="*/ 15875 h 110"/>
                <a:gd name="T28" fmla="*/ 79375 w 52"/>
                <a:gd name="T29" fmla="*/ 12700 h 110"/>
                <a:gd name="T30" fmla="*/ 69850 w 52"/>
                <a:gd name="T31" fmla="*/ 6350 h 110"/>
                <a:gd name="T32" fmla="*/ 50800 w 52"/>
                <a:gd name="T33" fmla="*/ 0 h 110"/>
                <a:gd name="T34" fmla="*/ 38100 w 52"/>
                <a:gd name="T35" fmla="*/ 3175 h 110"/>
                <a:gd name="T36" fmla="*/ 15875 w 52"/>
                <a:gd name="T37" fmla="*/ 41275 h 110"/>
                <a:gd name="T38" fmla="*/ 9525 w 52"/>
                <a:gd name="T39" fmla="*/ 57150 h 110"/>
                <a:gd name="T40" fmla="*/ 3175 w 52"/>
                <a:gd name="T41" fmla="*/ 92075 h 110"/>
                <a:gd name="T42" fmla="*/ 0 w 52"/>
                <a:gd name="T43" fmla="*/ 158750 h 110"/>
                <a:gd name="T44" fmla="*/ 3175 w 52"/>
                <a:gd name="T45" fmla="*/ 174625 h 110"/>
                <a:gd name="T46" fmla="*/ 6350 w 52"/>
                <a:gd name="T47" fmla="*/ 174625 h 110"/>
                <a:gd name="T48" fmla="*/ 12700 w 52"/>
                <a:gd name="T49" fmla="*/ 165100 h 110"/>
                <a:gd name="T50" fmla="*/ 12700 w 52"/>
                <a:gd name="T51" fmla="*/ 130175 h 110"/>
                <a:gd name="T52" fmla="*/ 12700 w 52"/>
                <a:gd name="T53" fmla="*/ 107950 h 110"/>
                <a:gd name="T54" fmla="*/ 22225 w 52"/>
                <a:gd name="T55" fmla="*/ 95250 h 110"/>
                <a:gd name="T56" fmla="*/ 28575 w 52"/>
                <a:gd name="T57" fmla="*/ 95250 h 110"/>
                <a:gd name="T58" fmla="*/ 38100 w 52"/>
                <a:gd name="T59" fmla="*/ 101600 h 110"/>
                <a:gd name="T60" fmla="*/ 47625 w 52"/>
                <a:gd name="T61" fmla="*/ 114300 h 110"/>
                <a:gd name="T62" fmla="*/ 53975 w 52"/>
                <a:gd name="T63" fmla="*/ 117475 h 110"/>
                <a:gd name="T64" fmla="*/ 66675 w 52"/>
                <a:gd name="T65" fmla="*/ 111125 h 110"/>
                <a:gd name="T66" fmla="*/ 82550 w 52"/>
                <a:gd name="T67" fmla="*/ 98425 h 110"/>
                <a:gd name="T68" fmla="*/ 57150 w 52"/>
                <a:gd name="T69" fmla="*/ 92075 h 11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110"/>
                <a:gd name="T107" fmla="*/ 52 w 52"/>
                <a:gd name="T108" fmla="*/ 110 h 11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110">
                  <a:moveTo>
                    <a:pt x="36" y="58"/>
                  </a:moveTo>
                  <a:lnTo>
                    <a:pt x="36" y="58"/>
                  </a:lnTo>
                  <a:lnTo>
                    <a:pt x="30" y="56"/>
                  </a:lnTo>
                  <a:lnTo>
                    <a:pt x="26" y="54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38"/>
                  </a:lnTo>
                  <a:lnTo>
                    <a:pt x="18" y="30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6" y="24"/>
                  </a:lnTo>
                  <a:lnTo>
                    <a:pt x="36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38" y="16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10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20" y="6"/>
                  </a:lnTo>
                  <a:lnTo>
                    <a:pt x="10" y="26"/>
                  </a:lnTo>
                  <a:lnTo>
                    <a:pt x="6" y="36"/>
                  </a:lnTo>
                  <a:lnTo>
                    <a:pt x="2" y="48"/>
                  </a:lnTo>
                  <a:lnTo>
                    <a:pt x="2" y="58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4"/>
                  </a:lnTo>
                  <a:lnTo>
                    <a:pt x="8" y="96"/>
                  </a:lnTo>
                  <a:lnTo>
                    <a:pt x="8" y="82"/>
                  </a:lnTo>
                  <a:lnTo>
                    <a:pt x="8" y="68"/>
                  </a:lnTo>
                  <a:lnTo>
                    <a:pt x="10" y="62"/>
                  </a:lnTo>
                  <a:lnTo>
                    <a:pt x="14" y="60"/>
                  </a:lnTo>
                  <a:lnTo>
                    <a:pt x="18" y="60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30" y="72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42" y="70"/>
                  </a:lnTo>
                  <a:lnTo>
                    <a:pt x="48" y="66"/>
                  </a:lnTo>
                  <a:lnTo>
                    <a:pt x="52" y="62"/>
                  </a:lnTo>
                  <a:lnTo>
                    <a:pt x="48" y="60"/>
                  </a:lnTo>
                  <a:lnTo>
                    <a:pt x="36" y="58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5" name="Freeform 30"/>
            <p:cNvSpPr>
              <a:spLocks/>
            </p:cNvSpPr>
            <p:nvPr/>
          </p:nvSpPr>
          <p:spPr bwMode="auto">
            <a:xfrm>
              <a:off x="5062531" y="1577975"/>
              <a:ext cx="82550" cy="174625"/>
            </a:xfrm>
            <a:custGeom>
              <a:avLst/>
              <a:gdLst>
                <a:gd name="T0" fmla="*/ 57150 w 52"/>
                <a:gd name="T1" fmla="*/ 92075 h 110"/>
                <a:gd name="T2" fmla="*/ 41275 w 52"/>
                <a:gd name="T3" fmla="*/ 85725 h 110"/>
                <a:gd name="T4" fmla="*/ 34925 w 52"/>
                <a:gd name="T5" fmla="*/ 73025 h 110"/>
                <a:gd name="T6" fmla="*/ 31750 w 52"/>
                <a:gd name="T7" fmla="*/ 60325 h 110"/>
                <a:gd name="T8" fmla="*/ 28575 w 52"/>
                <a:gd name="T9" fmla="*/ 47625 h 110"/>
                <a:gd name="T10" fmla="*/ 31750 w 52"/>
                <a:gd name="T11" fmla="*/ 41275 h 110"/>
                <a:gd name="T12" fmla="*/ 57150 w 52"/>
                <a:gd name="T13" fmla="*/ 34925 h 110"/>
                <a:gd name="T14" fmla="*/ 63500 w 52"/>
                <a:gd name="T15" fmla="*/ 34925 h 110"/>
                <a:gd name="T16" fmla="*/ 60325 w 52"/>
                <a:gd name="T17" fmla="*/ 25400 h 110"/>
                <a:gd name="T18" fmla="*/ 53975 w 52"/>
                <a:gd name="T19" fmla="*/ 19050 h 110"/>
                <a:gd name="T20" fmla="*/ 50800 w 52"/>
                <a:gd name="T21" fmla="*/ 12700 h 110"/>
                <a:gd name="T22" fmla="*/ 57150 w 52"/>
                <a:gd name="T23" fmla="*/ 12700 h 110"/>
                <a:gd name="T24" fmla="*/ 73025 w 52"/>
                <a:gd name="T25" fmla="*/ 19050 h 110"/>
                <a:gd name="T26" fmla="*/ 79375 w 52"/>
                <a:gd name="T27" fmla="*/ 15875 h 110"/>
                <a:gd name="T28" fmla="*/ 79375 w 52"/>
                <a:gd name="T29" fmla="*/ 12700 h 110"/>
                <a:gd name="T30" fmla="*/ 69850 w 52"/>
                <a:gd name="T31" fmla="*/ 6350 h 110"/>
                <a:gd name="T32" fmla="*/ 50800 w 52"/>
                <a:gd name="T33" fmla="*/ 0 h 110"/>
                <a:gd name="T34" fmla="*/ 38100 w 52"/>
                <a:gd name="T35" fmla="*/ 3175 h 110"/>
                <a:gd name="T36" fmla="*/ 15875 w 52"/>
                <a:gd name="T37" fmla="*/ 41275 h 110"/>
                <a:gd name="T38" fmla="*/ 9525 w 52"/>
                <a:gd name="T39" fmla="*/ 57150 h 110"/>
                <a:gd name="T40" fmla="*/ 3175 w 52"/>
                <a:gd name="T41" fmla="*/ 92075 h 110"/>
                <a:gd name="T42" fmla="*/ 0 w 52"/>
                <a:gd name="T43" fmla="*/ 158750 h 110"/>
                <a:gd name="T44" fmla="*/ 3175 w 52"/>
                <a:gd name="T45" fmla="*/ 174625 h 110"/>
                <a:gd name="T46" fmla="*/ 6350 w 52"/>
                <a:gd name="T47" fmla="*/ 174625 h 110"/>
                <a:gd name="T48" fmla="*/ 12700 w 52"/>
                <a:gd name="T49" fmla="*/ 165100 h 110"/>
                <a:gd name="T50" fmla="*/ 12700 w 52"/>
                <a:gd name="T51" fmla="*/ 130175 h 110"/>
                <a:gd name="T52" fmla="*/ 12700 w 52"/>
                <a:gd name="T53" fmla="*/ 107950 h 110"/>
                <a:gd name="T54" fmla="*/ 22225 w 52"/>
                <a:gd name="T55" fmla="*/ 95250 h 110"/>
                <a:gd name="T56" fmla="*/ 28575 w 52"/>
                <a:gd name="T57" fmla="*/ 95250 h 110"/>
                <a:gd name="T58" fmla="*/ 38100 w 52"/>
                <a:gd name="T59" fmla="*/ 101600 h 110"/>
                <a:gd name="T60" fmla="*/ 47625 w 52"/>
                <a:gd name="T61" fmla="*/ 114300 h 110"/>
                <a:gd name="T62" fmla="*/ 53975 w 52"/>
                <a:gd name="T63" fmla="*/ 117475 h 110"/>
                <a:gd name="T64" fmla="*/ 66675 w 52"/>
                <a:gd name="T65" fmla="*/ 111125 h 110"/>
                <a:gd name="T66" fmla="*/ 82550 w 52"/>
                <a:gd name="T67" fmla="*/ 98425 h 110"/>
                <a:gd name="T68" fmla="*/ 57150 w 52"/>
                <a:gd name="T69" fmla="*/ 92075 h 11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110"/>
                <a:gd name="T107" fmla="*/ 52 w 52"/>
                <a:gd name="T108" fmla="*/ 110 h 11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110">
                  <a:moveTo>
                    <a:pt x="36" y="58"/>
                  </a:moveTo>
                  <a:lnTo>
                    <a:pt x="36" y="58"/>
                  </a:lnTo>
                  <a:lnTo>
                    <a:pt x="30" y="56"/>
                  </a:lnTo>
                  <a:lnTo>
                    <a:pt x="26" y="54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38"/>
                  </a:lnTo>
                  <a:lnTo>
                    <a:pt x="18" y="30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6" y="24"/>
                  </a:lnTo>
                  <a:lnTo>
                    <a:pt x="36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38" y="16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10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4" y="2"/>
                  </a:lnTo>
                  <a:lnTo>
                    <a:pt x="20" y="6"/>
                  </a:lnTo>
                  <a:lnTo>
                    <a:pt x="10" y="26"/>
                  </a:lnTo>
                  <a:lnTo>
                    <a:pt x="6" y="36"/>
                  </a:lnTo>
                  <a:lnTo>
                    <a:pt x="2" y="48"/>
                  </a:lnTo>
                  <a:lnTo>
                    <a:pt x="2" y="58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4"/>
                  </a:lnTo>
                  <a:lnTo>
                    <a:pt x="8" y="96"/>
                  </a:lnTo>
                  <a:lnTo>
                    <a:pt x="8" y="82"/>
                  </a:lnTo>
                  <a:lnTo>
                    <a:pt x="8" y="68"/>
                  </a:lnTo>
                  <a:lnTo>
                    <a:pt x="10" y="62"/>
                  </a:lnTo>
                  <a:lnTo>
                    <a:pt x="14" y="60"/>
                  </a:lnTo>
                  <a:lnTo>
                    <a:pt x="18" y="60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30" y="72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42" y="70"/>
                  </a:lnTo>
                  <a:lnTo>
                    <a:pt x="48" y="66"/>
                  </a:lnTo>
                  <a:lnTo>
                    <a:pt x="52" y="62"/>
                  </a:lnTo>
                  <a:lnTo>
                    <a:pt x="48" y="60"/>
                  </a:lnTo>
                  <a:lnTo>
                    <a:pt x="36" y="5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5145081" y="2605088"/>
              <a:ext cx="176213" cy="150812"/>
            </a:xfrm>
            <a:custGeom>
              <a:avLst/>
              <a:gdLst>
                <a:gd name="T0" fmla="*/ 0 w 110"/>
                <a:gd name="T1" fmla="*/ 25135 h 96"/>
                <a:gd name="T2" fmla="*/ 19223 w 110"/>
                <a:gd name="T3" fmla="*/ 0 h 96"/>
                <a:gd name="T4" fmla="*/ 76893 w 110"/>
                <a:gd name="T5" fmla="*/ 34561 h 96"/>
                <a:gd name="T6" fmla="*/ 80097 w 110"/>
                <a:gd name="T7" fmla="*/ 47129 h 96"/>
                <a:gd name="T8" fmla="*/ 99320 w 110"/>
                <a:gd name="T9" fmla="*/ 50271 h 96"/>
                <a:gd name="T10" fmla="*/ 121747 w 110"/>
                <a:gd name="T11" fmla="*/ 69122 h 96"/>
                <a:gd name="T12" fmla="*/ 134563 w 110"/>
                <a:gd name="T13" fmla="*/ 62838 h 96"/>
                <a:gd name="T14" fmla="*/ 128155 w 110"/>
                <a:gd name="T15" fmla="*/ 50271 h 96"/>
                <a:gd name="T16" fmla="*/ 150582 w 110"/>
                <a:gd name="T17" fmla="*/ 34561 h 96"/>
                <a:gd name="T18" fmla="*/ 173009 w 110"/>
                <a:gd name="T19" fmla="*/ 59696 h 96"/>
                <a:gd name="T20" fmla="*/ 166601 w 110"/>
                <a:gd name="T21" fmla="*/ 87974 h 96"/>
                <a:gd name="T22" fmla="*/ 176213 w 110"/>
                <a:gd name="T23" fmla="*/ 103683 h 96"/>
                <a:gd name="T24" fmla="*/ 137767 w 110"/>
                <a:gd name="T25" fmla="*/ 144528 h 96"/>
                <a:gd name="T26" fmla="*/ 121747 w 110"/>
                <a:gd name="T27" fmla="*/ 131961 h 96"/>
                <a:gd name="T28" fmla="*/ 96116 w 110"/>
                <a:gd name="T29" fmla="*/ 150812 h 96"/>
                <a:gd name="T30" fmla="*/ 76893 w 110"/>
                <a:gd name="T31" fmla="*/ 128819 h 96"/>
                <a:gd name="T32" fmla="*/ 60874 w 110"/>
                <a:gd name="T33" fmla="*/ 135102 h 96"/>
                <a:gd name="T34" fmla="*/ 41650 w 110"/>
                <a:gd name="T35" fmla="*/ 113109 h 96"/>
                <a:gd name="T36" fmla="*/ 32039 w 110"/>
                <a:gd name="T37" fmla="*/ 47129 h 96"/>
                <a:gd name="T38" fmla="*/ 0 w 110"/>
                <a:gd name="T39" fmla="*/ 25135 h 9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0"/>
                <a:gd name="T61" fmla="*/ 0 h 96"/>
                <a:gd name="T62" fmla="*/ 110 w 110"/>
                <a:gd name="T63" fmla="*/ 96 h 9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0" h="96">
                  <a:moveTo>
                    <a:pt x="0" y="16"/>
                  </a:moveTo>
                  <a:lnTo>
                    <a:pt x="12" y="0"/>
                  </a:lnTo>
                  <a:lnTo>
                    <a:pt x="48" y="22"/>
                  </a:lnTo>
                  <a:lnTo>
                    <a:pt x="50" y="30"/>
                  </a:lnTo>
                  <a:lnTo>
                    <a:pt x="62" y="32"/>
                  </a:lnTo>
                  <a:lnTo>
                    <a:pt x="76" y="44"/>
                  </a:lnTo>
                  <a:lnTo>
                    <a:pt x="84" y="40"/>
                  </a:lnTo>
                  <a:lnTo>
                    <a:pt x="80" y="32"/>
                  </a:lnTo>
                  <a:lnTo>
                    <a:pt x="94" y="22"/>
                  </a:lnTo>
                  <a:lnTo>
                    <a:pt x="108" y="38"/>
                  </a:lnTo>
                  <a:lnTo>
                    <a:pt x="104" y="56"/>
                  </a:lnTo>
                  <a:lnTo>
                    <a:pt x="110" y="66"/>
                  </a:lnTo>
                  <a:lnTo>
                    <a:pt x="86" y="92"/>
                  </a:lnTo>
                  <a:lnTo>
                    <a:pt x="76" y="84"/>
                  </a:lnTo>
                  <a:lnTo>
                    <a:pt x="60" y="96"/>
                  </a:lnTo>
                  <a:lnTo>
                    <a:pt x="48" y="82"/>
                  </a:lnTo>
                  <a:lnTo>
                    <a:pt x="38" y="86"/>
                  </a:lnTo>
                  <a:lnTo>
                    <a:pt x="26" y="72"/>
                  </a:lnTo>
                  <a:lnTo>
                    <a:pt x="20" y="3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7" name="Freeform 32"/>
            <p:cNvSpPr>
              <a:spLocks/>
            </p:cNvSpPr>
            <p:nvPr/>
          </p:nvSpPr>
          <p:spPr bwMode="auto">
            <a:xfrm>
              <a:off x="5145081" y="2605088"/>
              <a:ext cx="176213" cy="150812"/>
            </a:xfrm>
            <a:custGeom>
              <a:avLst/>
              <a:gdLst>
                <a:gd name="T0" fmla="*/ 0 w 110"/>
                <a:gd name="T1" fmla="*/ 25135 h 96"/>
                <a:gd name="T2" fmla="*/ 19223 w 110"/>
                <a:gd name="T3" fmla="*/ 0 h 96"/>
                <a:gd name="T4" fmla="*/ 76893 w 110"/>
                <a:gd name="T5" fmla="*/ 34561 h 96"/>
                <a:gd name="T6" fmla="*/ 80097 w 110"/>
                <a:gd name="T7" fmla="*/ 47129 h 96"/>
                <a:gd name="T8" fmla="*/ 99320 w 110"/>
                <a:gd name="T9" fmla="*/ 50271 h 96"/>
                <a:gd name="T10" fmla="*/ 121747 w 110"/>
                <a:gd name="T11" fmla="*/ 69122 h 96"/>
                <a:gd name="T12" fmla="*/ 134563 w 110"/>
                <a:gd name="T13" fmla="*/ 62838 h 96"/>
                <a:gd name="T14" fmla="*/ 128155 w 110"/>
                <a:gd name="T15" fmla="*/ 50271 h 96"/>
                <a:gd name="T16" fmla="*/ 150582 w 110"/>
                <a:gd name="T17" fmla="*/ 34561 h 96"/>
                <a:gd name="T18" fmla="*/ 173009 w 110"/>
                <a:gd name="T19" fmla="*/ 59696 h 96"/>
                <a:gd name="T20" fmla="*/ 166601 w 110"/>
                <a:gd name="T21" fmla="*/ 87974 h 96"/>
                <a:gd name="T22" fmla="*/ 176213 w 110"/>
                <a:gd name="T23" fmla="*/ 103683 h 96"/>
                <a:gd name="T24" fmla="*/ 137767 w 110"/>
                <a:gd name="T25" fmla="*/ 144528 h 96"/>
                <a:gd name="T26" fmla="*/ 121747 w 110"/>
                <a:gd name="T27" fmla="*/ 131961 h 96"/>
                <a:gd name="T28" fmla="*/ 96116 w 110"/>
                <a:gd name="T29" fmla="*/ 150812 h 96"/>
                <a:gd name="T30" fmla="*/ 76893 w 110"/>
                <a:gd name="T31" fmla="*/ 128819 h 96"/>
                <a:gd name="T32" fmla="*/ 60874 w 110"/>
                <a:gd name="T33" fmla="*/ 135102 h 96"/>
                <a:gd name="T34" fmla="*/ 41650 w 110"/>
                <a:gd name="T35" fmla="*/ 113109 h 96"/>
                <a:gd name="T36" fmla="*/ 32039 w 110"/>
                <a:gd name="T37" fmla="*/ 47129 h 96"/>
                <a:gd name="T38" fmla="*/ 0 w 110"/>
                <a:gd name="T39" fmla="*/ 25135 h 9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0"/>
                <a:gd name="T61" fmla="*/ 0 h 96"/>
                <a:gd name="T62" fmla="*/ 110 w 110"/>
                <a:gd name="T63" fmla="*/ 96 h 9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0" h="96">
                  <a:moveTo>
                    <a:pt x="0" y="16"/>
                  </a:moveTo>
                  <a:lnTo>
                    <a:pt x="12" y="0"/>
                  </a:lnTo>
                  <a:lnTo>
                    <a:pt x="48" y="22"/>
                  </a:lnTo>
                  <a:lnTo>
                    <a:pt x="50" y="30"/>
                  </a:lnTo>
                  <a:lnTo>
                    <a:pt x="62" y="32"/>
                  </a:lnTo>
                  <a:lnTo>
                    <a:pt x="76" y="44"/>
                  </a:lnTo>
                  <a:lnTo>
                    <a:pt x="84" y="40"/>
                  </a:lnTo>
                  <a:lnTo>
                    <a:pt x="80" y="32"/>
                  </a:lnTo>
                  <a:lnTo>
                    <a:pt x="94" y="22"/>
                  </a:lnTo>
                  <a:lnTo>
                    <a:pt x="108" y="38"/>
                  </a:lnTo>
                  <a:lnTo>
                    <a:pt x="104" y="56"/>
                  </a:lnTo>
                  <a:lnTo>
                    <a:pt x="110" y="66"/>
                  </a:lnTo>
                  <a:lnTo>
                    <a:pt x="86" y="92"/>
                  </a:lnTo>
                  <a:lnTo>
                    <a:pt x="76" y="84"/>
                  </a:lnTo>
                  <a:lnTo>
                    <a:pt x="60" y="96"/>
                  </a:lnTo>
                  <a:lnTo>
                    <a:pt x="48" y="82"/>
                  </a:lnTo>
                  <a:lnTo>
                    <a:pt x="38" y="86"/>
                  </a:lnTo>
                  <a:lnTo>
                    <a:pt x="26" y="72"/>
                  </a:lnTo>
                  <a:lnTo>
                    <a:pt x="20" y="30"/>
                  </a:lnTo>
                  <a:lnTo>
                    <a:pt x="0" y="16"/>
                  </a:lnTo>
                </a:path>
              </a:pathLst>
            </a:custGeom>
            <a:solidFill>
              <a:srgbClr val="E3E8EC"/>
            </a:solidFill>
            <a:ln w="4">
              <a:solidFill>
                <a:srgbClr val="1D2262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8" name="Freeform 33"/>
            <p:cNvSpPr>
              <a:spLocks/>
            </p:cNvSpPr>
            <p:nvPr/>
          </p:nvSpPr>
          <p:spPr bwMode="auto">
            <a:xfrm>
              <a:off x="4567231" y="2332038"/>
              <a:ext cx="69850" cy="12700"/>
            </a:xfrm>
            <a:custGeom>
              <a:avLst/>
              <a:gdLst>
                <a:gd name="T0" fmla="*/ 0 w 44"/>
                <a:gd name="T1" fmla="*/ 9525 h 8"/>
                <a:gd name="T2" fmla="*/ 0 w 44"/>
                <a:gd name="T3" fmla="*/ 9525 h 8"/>
                <a:gd name="T4" fmla="*/ 3175 w 44"/>
                <a:gd name="T5" fmla="*/ 6350 h 8"/>
                <a:gd name="T6" fmla="*/ 9525 w 44"/>
                <a:gd name="T7" fmla="*/ 3175 h 8"/>
                <a:gd name="T8" fmla="*/ 31750 w 44"/>
                <a:gd name="T9" fmla="*/ 3175 h 8"/>
                <a:gd name="T10" fmla="*/ 31750 w 44"/>
                <a:gd name="T11" fmla="*/ 3175 h 8"/>
                <a:gd name="T12" fmla="*/ 53975 w 44"/>
                <a:gd name="T13" fmla="*/ 0 h 8"/>
                <a:gd name="T14" fmla="*/ 63500 w 44"/>
                <a:gd name="T15" fmla="*/ 0 h 8"/>
                <a:gd name="T16" fmla="*/ 66675 w 44"/>
                <a:gd name="T17" fmla="*/ 3175 h 8"/>
                <a:gd name="T18" fmla="*/ 69850 w 44"/>
                <a:gd name="T19" fmla="*/ 6350 h 8"/>
                <a:gd name="T20" fmla="*/ 69850 w 44"/>
                <a:gd name="T21" fmla="*/ 6350 h 8"/>
                <a:gd name="T22" fmla="*/ 66675 w 44"/>
                <a:gd name="T23" fmla="*/ 9525 h 8"/>
                <a:gd name="T24" fmla="*/ 57150 w 44"/>
                <a:gd name="T25" fmla="*/ 12700 h 8"/>
                <a:gd name="T26" fmla="*/ 34925 w 44"/>
                <a:gd name="T27" fmla="*/ 12700 h 8"/>
                <a:gd name="T28" fmla="*/ 34925 w 44"/>
                <a:gd name="T29" fmla="*/ 12700 h 8"/>
                <a:gd name="T30" fmla="*/ 12700 w 44"/>
                <a:gd name="T31" fmla="*/ 12700 h 8"/>
                <a:gd name="T32" fmla="*/ 3175 w 44"/>
                <a:gd name="T33" fmla="*/ 12700 h 8"/>
                <a:gd name="T34" fmla="*/ 0 w 44"/>
                <a:gd name="T35" fmla="*/ 9525 h 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8"/>
                <a:gd name="T56" fmla="*/ 44 w 44"/>
                <a:gd name="T57" fmla="*/ 8 h 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8">
                  <a:moveTo>
                    <a:pt x="0" y="6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20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36" y="8"/>
                  </a:lnTo>
                  <a:lnTo>
                    <a:pt x="22" y="8"/>
                  </a:lnTo>
                  <a:lnTo>
                    <a:pt x="8" y="8"/>
                  </a:lnTo>
                  <a:lnTo>
                    <a:pt x="2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89" name="Freeform 34"/>
            <p:cNvSpPr>
              <a:spLocks/>
            </p:cNvSpPr>
            <p:nvPr/>
          </p:nvSpPr>
          <p:spPr bwMode="auto">
            <a:xfrm>
              <a:off x="4567231" y="2332038"/>
              <a:ext cx="69850" cy="12700"/>
            </a:xfrm>
            <a:custGeom>
              <a:avLst/>
              <a:gdLst>
                <a:gd name="T0" fmla="*/ 0 w 44"/>
                <a:gd name="T1" fmla="*/ 9525 h 8"/>
                <a:gd name="T2" fmla="*/ 0 w 44"/>
                <a:gd name="T3" fmla="*/ 9525 h 8"/>
                <a:gd name="T4" fmla="*/ 3175 w 44"/>
                <a:gd name="T5" fmla="*/ 6350 h 8"/>
                <a:gd name="T6" fmla="*/ 9525 w 44"/>
                <a:gd name="T7" fmla="*/ 3175 h 8"/>
                <a:gd name="T8" fmla="*/ 31750 w 44"/>
                <a:gd name="T9" fmla="*/ 3175 h 8"/>
                <a:gd name="T10" fmla="*/ 31750 w 44"/>
                <a:gd name="T11" fmla="*/ 3175 h 8"/>
                <a:gd name="T12" fmla="*/ 53975 w 44"/>
                <a:gd name="T13" fmla="*/ 0 h 8"/>
                <a:gd name="T14" fmla="*/ 63500 w 44"/>
                <a:gd name="T15" fmla="*/ 0 h 8"/>
                <a:gd name="T16" fmla="*/ 66675 w 44"/>
                <a:gd name="T17" fmla="*/ 3175 h 8"/>
                <a:gd name="T18" fmla="*/ 69850 w 44"/>
                <a:gd name="T19" fmla="*/ 6350 h 8"/>
                <a:gd name="T20" fmla="*/ 69850 w 44"/>
                <a:gd name="T21" fmla="*/ 6350 h 8"/>
                <a:gd name="T22" fmla="*/ 66675 w 44"/>
                <a:gd name="T23" fmla="*/ 9525 h 8"/>
                <a:gd name="T24" fmla="*/ 57150 w 44"/>
                <a:gd name="T25" fmla="*/ 12700 h 8"/>
                <a:gd name="T26" fmla="*/ 34925 w 44"/>
                <a:gd name="T27" fmla="*/ 12700 h 8"/>
                <a:gd name="T28" fmla="*/ 34925 w 44"/>
                <a:gd name="T29" fmla="*/ 12700 h 8"/>
                <a:gd name="T30" fmla="*/ 12700 w 44"/>
                <a:gd name="T31" fmla="*/ 12700 h 8"/>
                <a:gd name="T32" fmla="*/ 3175 w 44"/>
                <a:gd name="T33" fmla="*/ 12700 h 8"/>
                <a:gd name="T34" fmla="*/ 0 w 44"/>
                <a:gd name="T35" fmla="*/ 9525 h 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"/>
                <a:gd name="T55" fmla="*/ 0 h 8"/>
                <a:gd name="T56" fmla="*/ 44 w 44"/>
                <a:gd name="T57" fmla="*/ 8 h 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" h="8">
                  <a:moveTo>
                    <a:pt x="0" y="6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20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36" y="8"/>
                  </a:lnTo>
                  <a:lnTo>
                    <a:pt x="22" y="8"/>
                  </a:lnTo>
                  <a:lnTo>
                    <a:pt x="8" y="8"/>
                  </a:lnTo>
                  <a:lnTo>
                    <a:pt x="2" y="8"/>
                  </a:lnTo>
                  <a:lnTo>
                    <a:pt x="0" y="6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0" name="Freeform 35"/>
            <p:cNvSpPr>
              <a:spLocks/>
            </p:cNvSpPr>
            <p:nvPr/>
          </p:nvSpPr>
          <p:spPr bwMode="auto">
            <a:xfrm>
              <a:off x="4476744" y="2366963"/>
              <a:ext cx="61912" cy="41275"/>
            </a:xfrm>
            <a:custGeom>
              <a:avLst/>
              <a:gdLst>
                <a:gd name="T0" fmla="*/ 6517 w 38"/>
                <a:gd name="T1" fmla="*/ 12700 h 26"/>
                <a:gd name="T2" fmla="*/ 6517 w 38"/>
                <a:gd name="T3" fmla="*/ 12700 h 26"/>
                <a:gd name="T4" fmla="*/ 26068 w 38"/>
                <a:gd name="T5" fmla="*/ 3175 h 26"/>
                <a:gd name="T6" fmla="*/ 35844 w 38"/>
                <a:gd name="T7" fmla="*/ 0 h 26"/>
                <a:gd name="T8" fmla="*/ 42361 w 38"/>
                <a:gd name="T9" fmla="*/ 3175 h 26"/>
                <a:gd name="T10" fmla="*/ 42361 w 38"/>
                <a:gd name="T11" fmla="*/ 3175 h 26"/>
                <a:gd name="T12" fmla="*/ 58653 w 38"/>
                <a:gd name="T13" fmla="*/ 12700 h 26"/>
                <a:gd name="T14" fmla="*/ 61912 w 38"/>
                <a:gd name="T15" fmla="*/ 15875 h 26"/>
                <a:gd name="T16" fmla="*/ 61912 w 38"/>
                <a:gd name="T17" fmla="*/ 19050 h 26"/>
                <a:gd name="T18" fmla="*/ 61912 w 38"/>
                <a:gd name="T19" fmla="*/ 19050 h 26"/>
                <a:gd name="T20" fmla="*/ 55395 w 38"/>
                <a:gd name="T21" fmla="*/ 22225 h 26"/>
                <a:gd name="T22" fmla="*/ 52136 w 38"/>
                <a:gd name="T23" fmla="*/ 22225 h 26"/>
                <a:gd name="T24" fmla="*/ 39102 w 38"/>
                <a:gd name="T25" fmla="*/ 19050 h 26"/>
                <a:gd name="T26" fmla="*/ 39102 w 38"/>
                <a:gd name="T27" fmla="*/ 19050 h 26"/>
                <a:gd name="T28" fmla="*/ 26068 w 38"/>
                <a:gd name="T29" fmla="*/ 19050 h 26"/>
                <a:gd name="T30" fmla="*/ 22810 w 38"/>
                <a:gd name="T31" fmla="*/ 22225 h 26"/>
                <a:gd name="T32" fmla="*/ 22810 w 38"/>
                <a:gd name="T33" fmla="*/ 28575 h 26"/>
                <a:gd name="T34" fmla="*/ 22810 w 38"/>
                <a:gd name="T35" fmla="*/ 28575 h 26"/>
                <a:gd name="T36" fmla="*/ 26068 w 38"/>
                <a:gd name="T37" fmla="*/ 34925 h 26"/>
                <a:gd name="T38" fmla="*/ 26068 w 38"/>
                <a:gd name="T39" fmla="*/ 38100 h 26"/>
                <a:gd name="T40" fmla="*/ 26068 w 38"/>
                <a:gd name="T41" fmla="*/ 38100 h 26"/>
                <a:gd name="T42" fmla="*/ 19551 w 38"/>
                <a:gd name="T43" fmla="*/ 41275 h 26"/>
                <a:gd name="T44" fmla="*/ 16293 w 38"/>
                <a:gd name="T45" fmla="*/ 41275 h 26"/>
                <a:gd name="T46" fmla="*/ 6517 w 38"/>
                <a:gd name="T47" fmla="*/ 31750 h 26"/>
                <a:gd name="T48" fmla="*/ 6517 w 38"/>
                <a:gd name="T49" fmla="*/ 31750 h 26"/>
                <a:gd name="T50" fmla="*/ 0 w 38"/>
                <a:gd name="T51" fmla="*/ 28575 h 26"/>
                <a:gd name="T52" fmla="*/ 0 w 38"/>
                <a:gd name="T53" fmla="*/ 22225 h 26"/>
                <a:gd name="T54" fmla="*/ 3259 w 38"/>
                <a:gd name="T55" fmla="*/ 15875 h 26"/>
                <a:gd name="T56" fmla="*/ 6517 w 38"/>
                <a:gd name="T57" fmla="*/ 12700 h 2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26"/>
                <a:gd name="T89" fmla="*/ 38 w 38"/>
                <a:gd name="T90" fmla="*/ 26 h 2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26">
                  <a:moveTo>
                    <a:pt x="4" y="8"/>
                  </a:moveTo>
                  <a:lnTo>
                    <a:pt x="4" y="8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36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24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1" name="Freeform 36"/>
            <p:cNvSpPr>
              <a:spLocks/>
            </p:cNvSpPr>
            <p:nvPr/>
          </p:nvSpPr>
          <p:spPr bwMode="auto">
            <a:xfrm>
              <a:off x="4476744" y="2366963"/>
              <a:ext cx="61912" cy="41275"/>
            </a:xfrm>
            <a:custGeom>
              <a:avLst/>
              <a:gdLst>
                <a:gd name="T0" fmla="*/ 6517 w 38"/>
                <a:gd name="T1" fmla="*/ 12700 h 26"/>
                <a:gd name="T2" fmla="*/ 6517 w 38"/>
                <a:gd name="T3" fmla="*/ 12700 h 26"/>
                <a:gd name="T4" fmla="*/ 26068 w 38"/>
                <a:gd name="T5" fmla="*/ 3175 h 26"/>
                <a:gd name="T6" fmla="*/ 35844 w 38"/>
                <a:gd name="T7" fmla="*/ 0 h 26"/>
                <a:gd name="T8" fmla="*/ 42361 w 38"/>
                <a:gd name="T9" fmla="*/ 3175 h 26"/>
                <a:gd name="T10" fmla="*/ 42361 w 38"/>
                <a:gd name="T11" fmla="*/ 3175 h 26"/>
                <a:gd name="T12" fmla="*/ 58653 w 38"/>
                <a:gd name="T13" fmla="*/ 12700 h 26"/>
                <a:gd name="T14" fmla="*/ 61912 w 38"/>
                <a:gd name="T15" fmla="*/ 15875 h 26"/>
                <a:gd name="T16" fmla="*/ 61912 w 38"/>
                <a:gd name="T17" fmla="*/ 19050 h 26"/>
                <a:gd name="T18" fmla="*/ 61912 w 38"/>
                <a:gd name="T19" fmla="*/ 19050 h 26"/>
                <a:gd name="T20" fmla="*/ 55395 w 38"/>
                <a:gd name="T21" fmla="*/ 22225 h 26"/>
                <a:gd name="T22" fmla="*/ 52136 w 38"/>
                <a:gd name="T23" fmla="*/ 22225 h 26"/>
                <a:gd name="T24" fmla="*/ 39102 w 38"/>
                <a:gd name="T25" fmla="*/ 19050 h 26"/>
                <a:gd name="T26" fmla="*/ 39102 w 38"/>
                <a:gd name="T27" fmla="*/ 19050 h 26"/>
                <a:gd name="T28" fmla="*/ 26068 w 38"/>
                <a:gd name="T29" fmla="*/ 19050 h 26"/>
                <a:gd name="T30" fmla="*/ 22810 w 38"/>
                <a:gd name="T31" fmla="*/ 22225 h 26"/>
                <a:gd name="T32" fmla="*/ 22810 w 38"/>
                <a:gd name="T33" fmla="*/ 28575 h 26"/>
                <a:gd name="T34" fmla="*/ 22810 w 38"/>
                <a:gd name="T35" fmla="*/ 28575 h 26"/>
                <a:gd name="T36" fmla="*/ 26068 w 38"/>
                <a:gd name="T37" fmla="*/ 34925 h 26"/>
                <a:gd name="T38" fmla="*/ 26068 w 38"/>
                <a:gd name="T39" fmla="*/ 38100 h 26"/>
                <a:gd name="T40" fmla="*/ 26068 w 38"/>
                <a:gd name="T41" fmla="*/ 38100 h 26"/>
                <a:gd name="T42" fmla="*/ 19551 w 38"/>
                <a:gd name="T43" fmla="*/ 41275 h 26"/>
                <a:gd name="T44" fmla="*/ 16293 w 38"/>
                <a:gd name="T45" fmla="*/ 41275 h 26"/>
                <a:gd name="T46" fmla="*/ 6517 w 38"/>
                <a:gd name="T47" fmla="*/ 31750 h 26"/>
                <a:gd name="T48" fmla="*/ 6517 w 38"/>
                <a:gd name="T49" fmla="*/ 31750 h 26"/>
                <a:gd name="T50" fmla="*/ 0 w 38"/>
                <a:gd name="T51" fmla="*/ 28575 h 26"/>
                <a:gd name="T52" fmla="*/ 0 w 38"/>
                <a:gd name="T53" fmla="*/ 22225 h 26"/>
                <a:gd name="T54" fmla="*/ 3259 w 38"/>
                <a:gd name="T55" fmla="*/ 15875 h 26"/>
                <a:gd name="T56" fmla="*/ 6517 w 38"/>
                <a:gd name="T57" fmla="*/ 12700 h 2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26"/>
                <a:gd name="T89" fmla="*/ 38 w 38"/>
                <a:gd name="T90" fmla="*/ 26 h 2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26">
                  <a:moveTo>
                    <a:pt x="4" y="8"/>
                  </a:moveTo>
                  <a:lnTo>
                    <a:pt x="4" y="8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36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24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4" y="2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2" name="Freeform 37"/>
            <p:cNvSpPr>
              <a:spLocks/>
            </p:cNvSpPr>
            <p:nvPr/>
          </p:nvSpPr>
          <p:spPr bwMode="auto">
            <a:xfrm>
              <a:off x="4659306" y="2312988"/>
              <a:ext cx="66675" cy="19050"/>
            </a:xfrm>
            <a:custGeom>
              <a:avLst/>
              <a:gdLst>
                <a:gd name="T0" fmla="*/ 3175 w 42"/>
                <a:gd name="T1" fmla="*/ 6350 h 12"/>
                <a:gd name="T2" fmla="*/ 3175 w 42"/>
                <a:gd name="T3" fmla="*/ 6350 h 12"/>
                <a:gd name="T4" fmla="*/ 12700 w 42"/>
                <a:gd name="T5" fmla="*/ 3175 h 12"/>
                <a:gd name="T6" fmla="*/ 22225 w 42"/>
                <a:gd name="T7" fmla="*/ 0 h 12"/>
                <a:gd name="T8" fmla="*/ 22225 w 42"/>
                <a:gd name="T9" fmla="*/ 0 h 12"/>
                <a:gd name="T10" fmla="*/ 47625 w 42"/>
                <a:gd name="T11" fmla="*/ 0 h 12"/>
                <a:gd name="T12" fmla="*/ 60325 w 42"/>
                <a:gd name="T13" fmla="*/ 0 h 12"/>
                <a:gd name="T14" fmla="*/ 63500 w 42"/>
                <a:gd name="T15" fmla="*/ 3175 h 12"/>
                <a:gd name="T16" fmla="*/ 66675 w 42"/>
                <a:gd name="T17" fmla="*/ 6350 h 12"/>
                <a:gd name="T18" fmla="*/ 66675 w 42"/>
                <a:gd name="T19" fmla="*/ 6350 h 12"/>
                <a:gd name="T20" fmla="*/ 63500 w 42"/>
                <a:gd name="T21" fmla="*/ 9525 h 12"/>
                <a:gd name="T22" fmla="*/ 57150 w 42"/>
                <a:gd name="T23" fmla="*/ 9525 h 12"/>
                <a:gd name="T24" fmla="*/ 38100 w 42"/>
                <a:gd name="T25" fmla="*/ 12700 h 12"/>
                <a:gd name="T26" fmla="*/ 38100 w 42"/>
                <a:gd name="T27" fmla="*/ 12700 h 12"/>
                <a:gd name="T28" fmla="*/ 22225 w 42"/>
                <a:gd name="T29" fmla="*/ 12700 h 12"/>
                <a:gd name="T30" fmla="*/ 15875 w 42"/>
                <a:gd name="T31" fmla="*/ 12700 h 12"/>
                <a:gd name="T32" fmla="*/ 12700 w 42"/>
                <a:gd name="T33" fmla="*/ 12700 h 12"/>
                <a:gd name="T34" fmla="*/ 12700 w 42"/>
                <a:gd name="T35" fmla="*/ 12700 h 12"/>
                <a:gd name="T36" fmla="*/ 9525 w 42"/>
                <a:gd name="T37" fmla="*/ 19050 h 12"/>
                <a:gd name="T38" fmla="*/ 3175 w 42"/>
                <a:gd name="T39" fmla="*/ 15875 h 12"/>
                <a:gd name="T40" fmla="*/ 3175 w 42"/>
                <a:gd name="T41" fmla="*/ 15875 h 12"/>
                <a:gd name="T42" fmla="*/ 0 w 42"/>
                <a:gd name="T43" fmla="*/ 15875 h 12"/>
                <a:gd name="T44" fmla="*/ 0 w 42"/>
                <a:gd name="T45" fmla="*/ 12700 h 12"/>
                <a:gd name="T46" fmla="*/ 3175 w 42"/>
                <a:gd name="T47" fmla="*/ 6350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2"/>
                <a:gd name="T73" fmla="*/ 0 h 12"/>
                <a:gd name="T74" fmla="*/ 42 w 42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2" h="12">
                  <a:moveTo>
                    <a:pt x="2" y="4"/>
                  </a:moveTo>
                  <a:lnTo>
                    <a:pt x="2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24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3" name="Freeform 38"/>
            <p:cNvSpPr>
              <a:spLocks/>
            </p:cNvSpPr>
            <p:nvPr/>
          </p:nvSpPr>
          <p:spPr bwMode="auto">
            <a:xfrm>
              <a:off x="4659306" y="2312988"/>
              <a:ext cx="66675" cy="19050"/>
            </a:xfrm>
            <a:custGeom>
              <a:avLst/>
              <a:gdLst>
                <a:gd name="T0" fmla="*/ 3175 w 42"/>
                <a:gd name="T1" fmla="*/ 6350 h 12"/>
                <a:gd name="T2" fmla="*/ 3175 w 42"/>
                <a:gd name="T3" fmla="*/ 6350 h 12"/>
                <a:gd name="T4" fmla="*/ 12700 w 42"/>
                <a:gd name="T5" fmla="*/ 3175 h 12"/>
                <a:gd name="T6" fmla="*/ 22225 w 42"/>
                <a:gd name="T7" fmla="*/ 0 h 12"/>
                <a:gd name="T8" fmla="*/ 22225 w 42"/>
                <a:gd name="T9" fmla="*/ 0 h 12"/>
                <a:gd name="T10" fmla="*/ 47625 w 42"/>
                <a:gd name="T11" fmla="*/ 0 h 12"/>
                <a:gd name="T12" fmla="*/ 60325 w 42"/>
                <a:gd name="T13" fmla="*/ 0 h 12"/>
                <a:gd name="T14" fmla="*/ 63500 w 42"/>
                <a:gd name="T15" fmla="*/ 3175 h 12"/>
                <a:gd name="T16" fmla="*/ 66675 w 42"/>
                <a:gd name="T17" fmla="*/ 6350 h 12"/>
                <a:gd name="T18" fmla="*/ 66675 w 42"/>
                <a:gd name="T19" fmla="*/ 6350 h 12"/>
                <a:gd name="T20" fmla="*/ 63500 w 42"/>
                <a:gd name="T21" fmla="*/ 9525 h 12"/>
                <a:gd name="T22" fmla="*/ 57150 w 42"/>
                <a:gd name="T23" fmla="*/ 9525 h 12"/>
                <a:gd name="T24" fmla="*/ 38100 w 42"/>
                <a:gd name="T25" fmla="*/ 12700 h 12"/>
                <a:gd name="T26" fmla="*/ 38100 w 42"/>
                <a:gd name="T27" fmla="*/ 12700 h 12"/>
                <a:gd name="T28" fmla="*/ 22225 w 42"/>
                <a:gd name="T29" fmla="*/ 12700 h 12"/>
                <a:gd name="T30" fmla="*/ 15875 w 42"/>
                <a:gd name="T31" fmla="*/ 12700 h 12"/>
                <a:gd name="T32" fmla="*/ 12700 w 42"/>
                <a:gd name="T33" fmla="*/ 12700 h 12"/>
                <a:gd name="T34" fmla="*/ 12700 w 42"/>
                <a:gd name="T35" fmla="*/ 12700 h 12"/>
                <a:gd name="T36" fmla="*/ 9525 w 42"/>
                <a:gd name="T37" fmla="*/ 19050 h 12"/>
                <a:gd name="T38" fmla="*/ 3175 w 42"/>
                <a:gd name="T39" fmla="*/ 15875 h 12"/>
                <a:gd name="T40" fmla="*/ 3175 w 42"/>
                <a:gd name="T41" fmla="*/ 15875 h 12"/>
                <a:gd name="T42" fmla="*/ 0 w 42"/>
                <a:gd name="T43" fmla="*/ 15875 h 12"/>
                <a:gd name="T44" fmla="*/ 0 w 42"/>
                <a:gd name="T45" fmla="*/ 12700 h 12"/>
                <a:gd name="T46" fmla="*/ 3175 w 42"/>
                <a:gd name="T47" fmla="*/ 6350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2"/>
                <a:gd name="T73" fmla="*/ 0 h 12"/>
                <a:gd name="T74" fmla="*/ 42 w 42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2" h="12">
                  <a:moveTo>
                    <a:pt x="2" y="4"/>
                  </a:moveTo>
                  <a:lnTo>
                    <a:pt x="2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24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4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4" name="Freeform 39"/>
            <p:cNvSpPr>
              <a:spLocks/>
            </p:cNvSpPr>
            <p:nvPr/>
          </p:nvSpPr>
          <p:spPr bwMode="auto">
            <a:xfrm>
              <a:off x="4759319" y="2300288"/>
              <a:ext cx="60325" cy="34925"/>
            </a:xfrm>
            <a:custGeom>
              <a:avLst/>
              <a:gdLst>
                <a:gd name="T0" fmla="*/ 3175 w 38"/>
                <a:gd name="T1" fmla="*/ 34925 h 22"/>
                <a:gd name="T2" fmla="*/ 3175 w 38"/>
                <a:gd name="T3" fmla="*/ 34925 h 22"/>
                <a:gd name="T4" fmla="*/ 0 w 38"/>
                <a:gd name="T5" fmla="*/ 31750 h 22"/>
                <a:gd name="T6" fmla="*/ 0 w 38"/>
                <a:gd name="T7" fmla="*/ 28575 h 22"/>
                <a:gd name="T8" fmla="*/ 0 w 38"/>
                <a:gd name="T9" fmla="*/ 19050 h 22"/>
                <a:gd name="T10" fmla="*/ 0 w 38"/>
                <a:gd name="T11" fmla="*/ 19050 h 22"/>
                <a:gd name="T12" fmla="*/ 6350 w 38"/>
                <a:gd name="T13" fmla="*/ 6350 h 22"/>
                <a:gd name="T14" fmla="*/ 9525 w 38"/>
                <a:gd name="T15" fmla="*/ 3175 h 22"/>
                <a:gd name="T16" fmla="*/ 15875 w 38"/>
                <a:gd name="T17" fmla="*/ 0 h 22"/>
                <a:gd name="T18" fmla="*/ 15875 w 38"/>
                <a:gd name="T19" fmla="*/ 0 h 22"/>
                <a:gd name="T20" fmla="*/ 44450 w 38"/>
                <a:gd name="T21" fmla="*/ 3175 h 22"/>
                <a:gd name="T22" fmla="*/ 57150 w 38"/>
                <a:gd name="T23" fmla="*/ 3175 h 22"/>
                <a:gd name="T24" fmla="*/ 60325 w 38"/>
                <a:gd name="T25" fmla="*/ 6350 h 22"/>
                <a:gd name="T26" fmla="*/ 60325 w 38"/>
                <a:gd name="T27" fmla="*/ 9525 h 22"/>
                <a:gd name="T28" fmla="*/ 60325 w 38"/>
                <a:gd name="T29" fmla="*/ 9525 h 22"/>
                <a:gd name="T30" fmla="*/ 60325 w 38"/>
                <a:gd name="T31" fmla="*/ 12700 h 22"/>
                <a:gd name="T32" fmla="*/ 57150 w 38"/>
                <a:gd name="T33" fmla="*/ 15875 h 22"/>
                <a:gd name="T34" fmla="*/ 47625 w 38"/>
                <a:gd name="T35" fmla="*/ 15875 h 22"/>
                <a:gd name="T36" fmla="*/ 47625 w 38"/>
                <a:gd name="T37" fmla="*/ 15875 h 22"/>
                <a:gd name="T38" fmla="*/ 31750 w 38"/>
                <a:gd name="T39" fmla="*/ 15875 h 22"/>
                <a:gd name="T40" fmla="*/ 22225 w 38"/>
                <a:gd name="T41" fmla="*/ 15875 h 22"/>
                <a:gd name="T42" fmla="*/ 12700 w 38"/>
                <a:gd name="T43" fmla="*/ 15875 h 22"/>
                <a:gd name="T44" fmla="*/ 12700 w 38"/>
                <a:gd name="T45" fmla="*/ 15875 h 22"/>
                <a:gd name="T46" fmla="*/ 9525 w 38"/>
                <a:gd name="T47" fmla="*/ 22225 h 22"/>
                <a:gd name="T48" fmla="*/ 9525 w 38"/>
                <a:gd name="T49" fmla="*/ 25400 h 22"/>
                <a:gd name="T50" fmla="*/ 9525 w 38"/>
                <a:gd name="T51" fmla="*/ 25400 h 22"/>
                <a:gd name="T52" fmla="*/ 9525 w 38"/>
                <a:gd name="T53" fmla="*/ 31750 h 22"/>
                <a:gd name="T54" fmla="*/ 6350 w 38"/>
                <a:gd name="T55" fmla="*/ 34925 h 22"/>
                <a:gd name="T56" fmla="*/ 3175 w 38"/>
                <a:gd name="T57" fmla="*/ 34925 h 2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22"/>
                <a:gd name="T89" fmla="*/ 38 w 38"/>
                <a:gd name="T90" fmla="*/ 22 h 2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22">
                  <a:moveTo>
                    <a:pt x="2" y="22"/>
                  </a:moveTo>
                  <a:lnTo>
                    <a:pt x="2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28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6" y="10"/>
                  </a:lnTo>
                  <a:lnTo>
                    <a:pt x="30" y="10"/>
                  </a:lnTo>
                  <a:lnTo>
                    <a:pt x="20" y="10"/>
                  </a:lnTo>
                  <a:lnTo>
                    <a:pt x="14" y="10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5" name="Freeform 40"/>
            <p:cNvSpPr>
              <a:spLocks/>
            </p:cNvSpPr>
            <p:nvPr/>
          </p:nvSpPr>
          <p:spPr bwMode="auto">
            <a:xfrm>
              <a:off x="4759319" y="2300288"/>
              <a:ext cx="60325" cy="34925"/>
            </a:xfrm>
            <a:custGeom>
              <a:avLst/>
              <a:gdLst>
                <a:gd name="T0" fmla="*/ 3175 w 38"/>
                <a:gd name="T1" fmla="*/ 34925 h 22"/>
                <a:gd name="T2" fmla="*/ 3175 w 38"/>
                <a:gd name="T3" fmla="*/ 34925 h 22"/>
                <a:gd name="T4" fmla="*/ 0 w 38"/>
                <a:gd name="T5" fmla="*/ 31750 h 22"/>
                <a:gd name="T6" fmla="*/ 0 w 38"/>
                <a:gd name="T7" fmla="*/ 28575 h 22"/>
                <a:gd name="T8" fmla="*/ 0 w 38"/>
                <a:gd name="T9" fmla="*/ 19050 h 22"/>
                <a:gd name="T10" fmla="*/ 0 w 38"/>
                <a:gd name="T11" fmla="*/ 19050 h 22"/>
                <a:gd name="T12" fmla="*/ 6350 w 38"/>
                <a:gd name="T13" fmla="*/ 6350 h 22"/>
                <a:gd name="T14" fmla="*/ 9525 w 38"/>
                <a:gd name="T15" fmla="*/ 3175 h 22"/>
                <a:gd name="T16" fmla="*/ 15875 w 38"/>
                <a:gd name="T17" fmla="*/ 0 h 22"/>
                <a:gd name="T18" fmla="*/ 15875 w 38"/>
                <a:gd name="T19" fmla="*/ 0 h 22"/>
                <a:gd name="T20" fmla="*/ 44450 w 38"/>
                <a:gd name="T21" fmla="*/ 3175 h 22"/>
                <a:gd name="T22" fmla="*/ 57150 w 38"/>
                <a:gd name="T23" fmla="*/ 3175 h 22"/>
                <a:gd name="T24" fmla="*/ 60325 w 38"/>
                <a:gd name="T25" fmla="*/ 6350 h 22"/>
                <a:gd name="T26" fmla="*/ 60325 w 38"/>
                <a:gd name="T27" fmla="*/ 9525 h 22"/>
                <a:gd name="T28" fmla="*/ 60325 w 38"/>
                <a:gd name="T29" fmla="*/ 9525 h 22"/>
                <a:gd name="T30" fmla="*/ 60325 w 38"/>
                <a:gd name="T31" fmla="*/ 12700 h 22"/>
                <a:gd name="T32" fmla="*/ 57150 w 38"/>
                <a:gd name="T33" fmla="*/ 15875 h 22"/>
                <a:gd name="T34" fmla="*/ 47625 w 38"/>
                <a:gd name="T35" fmla="*/ 15875 h 22"/>
                <a:gd name="T36" fmla="*/ 47625 w 38"/>
                <a:gd name="T37" fmla="*/ 15875 h 22"/>
                <a:gd name="T38" fmla="*/ 31750 w 38"/>
                <a:gd name="T39" fmla="*/ 15875 h 22"/>
                <a:gd name="T40" fmla="*/ 22225 w 38"/>
                <a:gd name="T41" fmla="*/ 15875 h 22"/>
                <a:gd name="T42" fmla="*/ 12700 w 38"/>
                <a:gd name="T43" fmla="*/ 15875 h 22"/>
                <a:gd name="T44" fmla="*/ 12700 w 38"/>
                <a:gd name="T45" fmla="*/ 15875 h 22"/>
                <a:gd name="T46" fmla="*/ 9525 w 38"/>
                <a:gd name="T47" fmla="*/ 22225 h 22"/>
                <a:gd name="T48" fmla="*/ 9525 w 38"/>
                <a:gd name="T49" fmla="*/ 25400 h 22"/>
                <a:gd name="T50" fmla="*/ 9525 w 38"/>
                <a:gd name="T51" fmla="*/ 25400 h 22"/>
                <a:gd name="T52" fmla="*/ 9525 w 38"/>
                <a:gd name="T53" fmla="*/ 31750 h 22"/>
                <a:gd name="T54" fmla="*/ 6350 w 38"/>
                <a:gd name="T55" fmla="*/ 34925 h 22"/>
                <a:gd name="T56" fmla="*/ 3175 w 38"/>
                <a:gd name="T57" fmla="*/ 34925 h 2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22"/>
                <a:gd name="T89" fmla="*/ 38 w 38"/>
                <a:gd name="T90" fmla="*/ 22 h 2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22">
                  <a:moveTo>
                    <a:pt x="2" y="22"/>
                  </a:moveTo>
                  <a:lnTo>
                    <a:pt x="2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28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6" y="10"/>
                  </a:lnTo>
                  <a:lnTo>
                    <a:pt x="30" y="10"/>
                  </a:lnTo>
                  <a:lnTo>
                    <a:pt x="20" y="10"/>
                  </a:lnTo>
                  <a:lnTo>
                    <a:pt x="14" y="10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6" name="Freeform 41"/>
            <p:cNvSpPr>
              <a:spLocks/>
            </p:cNvSpPr>
            <p:nvPr/>
          </p:nvSpPr>
          <p:spPr bwMode="auto">
            <a:xfrm>
              <a:off x="4835519" y="2290763"/>
              <a:ext cx="50800" cy="22225"/>
            </a:xfrm>
            <a:custGeom>
              <a:avLst/>
              <a:gdLst>
                <a:gd name="T0" fmla="*/ 0 w 32"/>
                <a:gd name="T1" fmla="*/ 15875 h 14"/>
                <a:gd name="T2" fmla="*/ 0 w 32"/>
                <a:gd name="T3" fmla="*/ 15875 h 14"/>
                <a:gd name="T4" fmla="*/ 3175 w 32"/>
                <a:gd name="T5" fmla="*/ 6350 h 14"/>
                <a:gd name="T6" fmla="*/ 6350 w 32"/>
                <a:gd name="T7" fmla="*/ 3175 h 14"/>
                <a:gd name="T8" fmla="*/ 12700 w 32"/>
                <a:gd name="T9" fmla="*/ 3175 h 14"/>
                <a:gd name="T10" fmla="*/ 12700 w 32"/>
                <a:gd name="T11" fmla="*/ 3175 h 14"/>
                <a:gd name="T12" fmla="*/ 31750 w 32"/>
                <a:gd name="T13" fmla="*/ 0 h 14"/>
                <a:gd name="T14" fmla="*/ 44450 w 32"/>
                <a:gd name="T15" fmla="*/ 0 h 14"/>
                <a:gd name="T16" fmla="*/ 47625 w 32"/>
                <a:gd name="T17" fmla="*/ 3175 h 14"/>
                <a:gd name="T18" fmla="*/ 50800 w 32"/>
                <a:gd name="T19" fmla="*/ 6350 h 14"/>
                <a:gd name="T20" fmla="*/ 50800 w 32"/>
                <a:gd name="T21" fmla="*/ 6350 h 14"/>
                <a:gd name="T22" fmla="*/ 47625 w 32"/>
                <a:gd name="T23" fmla="*/ 9525 h 14"/>
                <a:gd name="T24" fmla="*/ 41275 w 32"/>
                <a:gd name="T25" fmla="*/ 12700 h 14"/>
                <a:gd name="T26" fmla="*/ 41275 w 32"/>
                <a:gd name="T27" fmla="*/ 12700 h 14"/>
                <a:gd name="T28" fmla="*/ 31750 w 32"/>
                <a:gd name="T29" fmla="*/ 15875 h 14"/>
                <a:gd name="T30" fmla="*/ 19050 w 32"/>
                <a:gd name="T31" fmla="*/ 15875 h 14"/>
                <a:gd name="T32" fmla="*/ 19050 w 32"/>
                <a:gd name="T33" fmla="*/ 15875 h 14"/>
                <a:gd name="T34" fmla="*/ 12700 w 32"/>
                <a:gd name="T35" fmla="*/ 15875 h 14"/>
                <a:gd name="T36" fmla="*/ 9525 w 32"/>
                <a:gd name="T37" fmla="*/ 15875 h 14"/>
                <a:gd name="T38" fmla="*/ 3175 w 32"/>
                <a:gd name="T39" fmla="*/ 22225 h 14"/>
                <a:gd name="T40" fmla="*/ 3175 w 32"/>
                <a:gd name="T41" fmla="*/ 22225 h 14"/>
                <a:gd name="T42" fmla="*/ 0 w 32"/>
                <a:gd name="T43" fmla="*/ 22225 h 14"/>
                <a:gd name="T44" fmla="*/ 0 w 32"/>
                <a:gd name="T45" fmla="*/ 22225 h 14"/>
                <a:gd name="T46" fmla="*/ 0 w 32"/>
                <a:gd name="T47" fmla="*/ 15875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2"/>
                <a:gd name="T73" fmla="*/ 0 h 14"/>
                <a:gd name="T74" fmla="*/ 32 w 32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2" h="14">
                  <a:moveTo>
                    <a:pt x="0" y="10"/>
                  </a:moveTo>
                  <a:lnTo>
                    <a:pt x="0" y="10"/>
                  </a:lnTo>
                  <a:lnTo>
                    <a:pt x="2" y="4"/>
                  </a:lnTo>
                  <a:lnTo>
                    <a:pt x="4" y="2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2" y="4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0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7" name="Freeform 42"/>
            <p:cNvSpPr>
              <a:spLocks/>
            </p:cNvSpPr>
            <p:nvPr/>
          </p:nvSpPr>
          <p:spPr bwMode="auto">
            <a:xfrm>
              <a:off x="4835519" y="2290763"/>
              <a:ext cx="50800" cy="22225"/>
            </a:xfrm>
            <a:custGeom>
              <a:avLst/>
              <a:gdLst>
                <a:gd name="T0" fmla="*/ 0 w 32"/>
                <a:gd name="T1" fmla="*/ 15875 h 14"/>
                <a:gd name="T2" fmla="*/ 0 w 32"/>
                <a:gd name="T3" fmla="*/ 15875 h 14"/>
                <a:gd name="T4" fmla="*/ 3175 w 32"/>
                <a:gd name="T5" fmla="*/ 6350 h 14"/>
                <a:gd name="T6" fmla="*/ 6350 w 32"/>
                <a:gd name="T7" fmla="*/ 3175 h 14"/>
                <a:gd name="T8" fmla="*/ 12700 w 32"/>
                <a:gd name="T9" fmla="*/ 3175 h 14"/>
                <a:gd name="T10" fmla="*/ 12700 w 32"/>
                <a:gd name="T11" fmla="*/ 3175 h 14"/>
                <a:gd name="T12" fmla="*/ 31750 w 32"/>
                <a:gd name="T13" fmla="*/ 0 h 14"/>
                <a:gd name="T14" fmla="*/ 44450 w 32"/>
                <a:gd name="T15" fmla="*/ 0 h 14"/>
                <a:gd name="T16" fmla="*/ 47625 w 32"/>
                <a:gd name="T17" fmla="*/ 3175 h 14"/>
                <a:gd name="T18" fmla="*/ 50800 w 32"/>
                <a:gd name="T19" fmla="*/ 6350 h 14"/>
                <a:gd name="T20" fmla="*/ 50800 w 32"/>
                <a:gd name="T21" fmla="*/ 6350 h 14"/>
                <a:gd name="T22" fmla="*/ 47625 w 32"/>
                <a:gd name="T23" fmla="*/ 9525 h 14"/>
                <a:gd name="T24" fmla="*/ 41275 w 32"/>
                <a:gd name="T25" fmla="*/ 12700 h 14"/>
                <a:gd name="T26" fmla="*/ 41275 w 32"/>
                <a:gd name="T27" fmla="*/ 12700 h 14"/>
                <a:gd name="T28" fmla="*/ 31750 w 32"/>
                <a:gd name="T29" fmla="*/ 15875 h 14"/>
                <a:gd name="T30" fmla="*/ 19050 w 32"/>
                <a:gd name="T31" fmla="*/ 15875 h 14"/>
                <a:gd name="T32" fmla="*/ 19050 w 32"/>
                <a:gd name="T33" fmla="*/ 15875 h 14"/>
                <a:gd name="T34" fmla="*/ 12700 w 32"/>
                <a:gd name="T35" fmla="*/ 15875 h 14"/>
                <a:gd name="T36" fmla="*/ 9525 w 32"/>
                <a:gd name="T37" fmla="*/ 15875 h 14"/>
                <a:gd name="T38" fmla="*/ 3175 w 32"/>
                <a:gd name="T39" fmla="*/ 22225 h 14"/>
                <a:gd name="T40" fmla="*/ 3175 w 32"/>
                <a:gd name="T41" fmla="*/ 22225 h 14"/>
                <a:gd name="T42" fmla="*/ 0 w 32"/>
                <a:gd name="T43" fmla="*/ 22225 h 14"/>
                <a:gd name="T44" fmla="*/ 0 w 32"/>
                <a:gd name="T45" fmla="*/ 22225 h 14"/>
                <a:gd name="T46" fmla="*/ 0 w 32"/>
                <a:gd name="T47" fmla="*/ 15875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2"/>
                <a:gd name="T73" fmla="*/ 0 h 14"/>
                <a:gd name="T74" fmla="*/ 32 w 32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2" h="14">
                  <a:moveTo>
                    <a:pt x="0" y="10"/>
                  </a:moveTo>
                  <a:lnTo>
                    <a:pt x="0" y="10"/>
                  </a:lnTo>
                  <a:lnTo>
                    <a:pt x="2" y="4"/>
                  </a:lnTo>
                  <a:lnTo>
                    <a:pt x="4" y="2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2" y="4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0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8" name="Freeform 43"/>
            <p:cNvSpPr>
              <a:spLocks/>
            </p:cNvSpPr>
            <p:nvPr/>
          </p:nvSpPr>
          <p:spPr bwMode="auto">
            <a:xfrm>
              <a:off x="4895844" y="2287588"/>
              <a:ext cx="50800" cy="19050"/>
            </a:xfrm>
            <a:custGeom>
              <a:avLst/>
              <a:gdLst>
                <a:gd name="T0" fmla="*/ 0 w 32"/>
                <a:gd name="T1" fmla="*/ 9525 h 12"/>
                <a:gd name="T2" fmla="*/ 0 w 32"/>
                <a:gd name="T3" fmla="*/ 9525 h 12"/>
                <a:gd name="T4" fmla="*/ 3175 w 32"/>
                <a:gd name="T5" fmla="*/ 3175 h 12"/>
                <a:gd name="T6" fmla="*/ 6350 w 32"/>
                <a:gd name="T7" fmla="*/ 0 h 12"/>
                <a:gd name="T8" fmla="*/ 12700 w 32"/>
                <a:gd name="T9" fmla="*/ 0 h 12"/>
                <a:gd name="T10" fmla="*/ 22225 w 32"/>
                <a:gd name="T11" fmla="*/ 0 h 12"/>
                <a:gd name="T12" fmla="*/ 22225 w 32"/>
                <a:gd name="T13" fmla="*/ 0 h 12"/>
                <a:gd name="T14" fmla="*/ 41275 w 32"/>
                <a:gd name="T15" fmla="*/ 9525 h 12"/>
                <a:gd name="T16" fmla="*/ 47625 w 32"/>
                <a:gd name="T17" fmla="*/ 12700 h 12"/>
                <a:gd name="T18" fmla="*/ 50800 w 32"/>
                <a:gd name="T19" fmla="*/ 15875 h 12"/>
                <a:gd name="T20" fmla="*/ 50800 w 32"/>
                <a:gd name="T21" fmla="*/ 15875 h 12"/>
                <a:gd name="T22" fmla="*/ 47625 w 32"/>
                <a:gd name="T23" fmla="*/ 19050 h 12"/>
                <a:gd name="T24" fmla="*/ 41275 w 32"/>
                <a:gd name="T25" fmla="*/ 19050 h 12"/>
                <a:gd name="T26" fmla="*/ 34925 w 32"/>
                <a:gd name="T27" fmla="*/ 19050 h 12"/>
                <a:gd name="T28" fmla="*/ 25400 w 32"/>
                <a:gd name="T29" fmla="*/ 15875 h 12"/>
                <a:gd name="T30" fmla="*/ 25400 w 32"/>
                <a:gd name="T31" fmla="*/ 15875 h 12"/>
                <a:gd name="T32" fmla="*/ 15875 w 32"/>
                <a:gd name="T33" fmla="*/ 9525 h 12"/>
                <a:gd name="T34" fmla="*/ 9525 w 32"/>
                <a:gd name="T35" fmla="*/ 9525 h 12"/>
                <a:gd name="T36" fmla="*/ 9525 w 32"/>
                <a:gd name="T37" fmla="*/ 9525 h 12"/>
                <a:gd name="T38" fmla="*/ 9525 w 32"/>
                <a:gd name="T39" fmla="*/ 9525 h 12"/>
                <a:gd name="T40" fmla="*/ 3175 w 32"/>
                <a:gd name="T41" fmla="*/ 12700 h 12"/>
                <a:gd name="T42" fmla="*/ 0 w 32"/>
                <a:gd name="T43" fmla="*/ 12700 h 12"/>
                <a:gd name="T44" fmla="*/ 0 w 32"/>
                <a:gd name="T45" fmla="*/ 9525 h 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2"/>
                <a:gd name="T70" fmla="*/ 0 h 12"/>
                <a:gd name="T71" fmla="*/ 32 w 32"/>
                <a:gd name="T72" fmla="*/ 12 h 1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2" h="12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16" y="10"/>
                  </a:lnTo>
                  <a:lnTo>
                    <a:pt x="10" y="6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99" name="Freeform 44"/>
            <p:cNvSpPr>
              <a:spLocks/>
            </p:cNvSpPr>
            <p:nvPr/>
          </p:nvSpPr>
          <p:spPr bwMode="auto">
            <a:xfrm>
              <a:off x="4895844" y="2287588"/>
              <a:ext cx="50800" cy="19050"/>
            </a:xfrm>
            <a:custGeom>
              <a:avLst/>
              <a:gdLst>
                <a:gd name="T0" fmla="*/ 0 w 32"/>
                <a:gd name="T1" fmla="*/ 9525 h 12"/>
                <a:gd name="T2" fmla="*/ 0 w 32"/>
                <a:gd name="T3" fmla="*/ 9525 h 12"/>
                <a:gd name="T4" fmla="*/ 3175 w 32"/>
                <a:gd name="T5" fmla="*/ 3175 h 12"/>
                <a:gd name="T6" fmla="*/ 6350 w 32"/>
                <a:gd name="T7" fmla="*/ 0 h 12"/>
                <a:gd name="T8" fmla="*/ 12700 w 32"/>
                <a:gd name="T9" fmla="*/ 0 h 12"/>
                <a:gd name="T10" fmla="*/ 22225 w 32"/>
                <a:gd name="T11" fmla="*/ 0 h 12"/>
                <a:gd name="T12" fmla="*/ 22225 w 32"/>
                <a:gd name="T13" fmla="*/ 0 h 12"/>
                <a:gd name="T14" fmla="*/ 41275 w 32"/>
                <a:gd name="T15" fmla="*/ 9525 h 12"/>
                <a:gd name="T16" fmla="*/ 47625 w 32"/>
                <a:gd name="T17" fmla="*/ 12700 h 12"/>
                <a:gd name="T18" fmla="*/ 50800 w 32"/>
                <a:gd name="T19" fmla="*/ 15875 h 12"/>
                <a:gd name="T20" fmla="*/ 50800 w 32"/>
                <a:gd name="T21" fmla="*/ 15875 h 12"/>
                <a:gd name="T22" fmla="*/ 47625 w 32"/>
                <a:gd name="T23" fmla="*/ 19050 h 12"/>
                <a:gd name="T24" fmla="*/ 41275 w 32"/>
                <a:gd name="T25" fmla="*/ 19050 h 12"/>
                <a:gd name="T26" fmla="*/ 34925 w 32"/>
                <a:gd name="T27" fmla="*/ 19050 h 12"/>
                <a:gd name="T28" fmla="*/ 25400 w 32"/>
                <a:gd name="T29" fmla="*/ 15875 h 12"/>
                <a:gd name="T30" fmla="*/ 25400 w 32"/>
                <a:gd name="T31" fmla="*/ 15875 h 12"/>
                <a:gd name="T32" fmla="*/ 15875 w 32"/>
                <a:gd name="T33" fmla="*/ 9525 h 12"/>
                <a:gd name="T34" fmla="*/ 9525 w 32"/>
                <a:gd name="T35" fmla="*/ 9525 h 12"/>
                <a:gd name="T36" fmla="*/ 9525 w 32"/>
                <a:gd name="T37" fmla="*/ 9525 h 12"/>
                <a:gd name="T38" fmla="*/ 9525 w 32"/>
                <a:gd name="T39" fmla="*/ 9525 h 12"/>
                <a:gd name="T40" fmla="*/ 3175 w 32"/>
                <a:gd name="T41" fmla="*/ 12700 h 12"/>
                <a:gd name="T42" fmla="*/ 0 w 32"/>
                <a:gd name="T43" fmla="*/ 12700 h 12"/>
                <a:gd name="T44" fmla="*/ 0 w 32"/>
                <a:gd name="T45" fmla="*/ 9525 h 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2"/>
                <a:gd name="T70" fmla="*/ 0 h 12"/>
                <a:gd name="T71" fmla="*/ 32 w 32"/>
                <a:gd name="T72" fmla="*/ 12 h 1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2" h="12">
                  <a:moveTo>
                    <a:pt x="0" y="6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16" y="10"/>
                  </a:lnTo>
                  <a:lnTo>
                    <a:pt x="10" y="6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0" name="Freeform 45"/>
            <p:cNvSpPr>
              <a:spLocks/>
            </p:cNvSpPr>
            <p:nvPr/>
          </p:nvSpPr>
          <p:spPr bwMode="auto">
            <a:xfrm>
              <a:off x="6110281" y="2160588"/>
              <a:ext cx="47625" cy="60325"/>
            </a:xfrm>
            <a:custGeom>
              <a:avLst/>
              <a:gdLst>
                <a:gd name="T0" fmla="*/ 3175 w 30"/>
                <a:gd name="T1" fmla="*/ 44450 h 38"/>
                <a:gd name="T2" fmla="*/ 3175 w 30"/>
                <a:gd name="T3" fmla="*/ 44450 h 38"/>
                <a:gd name="T4" fmla="*/ 0 w 30"/>
                <a:gd name="T5" fmla="*/ 34925 h 38"/>
                <a:gd name="T6" fmla="*/ 6350 w 30"/>
                <a:gd name="T7" fmla="*/ 28575 h 38"/>
                <a:gd name="T8" fmla="*/ 6350 w 30"/>
                <a:gd name="T9" fmla="*/ 28575 h 38"/>
                <a:gd name="T10" fmla="*/ 19050 w 30"/>
                <a:gd name="T11" fmla="*/ 12700 h 38"/>
                <a:gd name="T12" fmla="*/ 28575 w 30"/>
                <a:gd name="T13" fmla="*/ 3175 h 38"/>
                <a:gd name="T14" fmla="*/ 31750 w 30"/>
                <a:gd name="T15" fmla="*/ 0 h 38"/>
                <a:gd name="T16" fmla="*/ 34925 w 30"/>
                <a:gd name="T17" fmla="*/ 0 h 38"/>
                <a:gd name="T18" fmla="*/ 34925 w 30"/>
                <a:gd name="T19" fmla="*/ 0 h 38"/>
                <a:gd name="T20" fmla="*/ 44450 w 30"/>
                <a:gd name="T21" fmla="*/ 6350 h 38"/>
                <a:gd name="T22" fmla="*/ 47625 w 30"/>
                <a:gd name="T23" fmla="*/ 9525 h 38"/>
                <a:gd name="T24" fmla="*/ 47625 w 30"/>
                <a:gd name="T25" fmla="*/ 12700 h 38"/>
                <a:gd name="T26" fmla="*/ 47625 w 30"/>
                <a:gd name="T27" fmla="*/ 12700 h 38"/>
                <a:gd name="T28" fmla="*/ 44450 w 30"/>
                <a:gd name="T29" fmla="*/ 31750 h 38"/>
                <a:gd name="T30" fmla="*/ 41275 w 30"/>
                <a:gd name="T31" fmla="*/ 50800 h 38"/>
                <a:gd name="T32" fmla="*/ 41275 w 30"/>
                <a:gd name="T33" fmla="*/ 50800 h 38"/>
                <a:gd name="T34" fmla="*/ 31750 w 30"/>
                <a:gd name="T35" fmla="*/ 57150 h 38"/>
                <a:gd name="T36" fmla="*/ 25400 w 30"/>
                <a:gd name="T37" fmla="*/ 60325 h 38"/>
                <a:gd name="T38" fmla="*/ 19050 w 30"/>
                <a:gd name="T39" fmla="*/ 57150 h 38"/>
                <a:gd name="T40" fmla="*/ 19050 w 30"/>
                <a:gd name="T41" fmla="*/ 57150 h 38"/>
                <a:gd name="T42" fmla="*/ 6350 w 30"/>
                <a:gd name="T43" fmla="*/ 50800 h 38"/>
                <a:gd name="T44" fmla="*/ 3175 w 30"/>
                <a:gd name="T45" fmla="*/ 4445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38"/>
                <a:gd name="T71" fmla="*/ 30 w 30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38">
                  <a:moveTo>
                    <a:pt x="2" y="28"/>
                  </a:moveTo>
                  <a:lnTo>
                    <a:pt x="2" y="28"/>
                  </a:lnTo>
                  <a:lnTo>
                    <a:pt x="0" y="22"/>
                  </a:lnTo>
                  <a:lnTo>
                    <a:pt x="4" y="18"/>
                  </a:lnTo>
                  <a:lnTo>
                    <a:pt x="12" y="8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28" y="20"/>
                  </a:lnTo>
                  <a:lnTo>
                    <a:pt x="26" y="32"/>
                  </a:lnTo>
                  <a:lnTo>
                    <a:pt x="20" y="36"/>
                  </a:lnTo>
                  <a:lnTo>
                    <a:pt x="16" y="38"/>
                  </a:lnTo>
                  <a:lnTo>
                    <a:pt x="12" y="36"/>
                  </a:lnTo>
                  <a:lnTo>
                    <a:pt x="4" y="32"/>
                  </a:lnTo>
                  <a:lnTo>
                    <a:pt x="2" y="28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1" name="Freeform 46"/>
            <p:cNvSpPr>
              <a:spLocks/>
            </p:cNvSpPr>
            <p:nvPr/>
          </p:nvSpPr>
          <p:spPr bwMode="auto">
            <a:xfrm>
              <a:off x="5551481" y="2319338"/>
              <a:ext cx="236538" cy="228600"/>
            </a:xfrm>
            <a:custGeom>
              <a:avLst/>
              <a:gdLst>
                <a:gd name="T0" fmla="*/ 0 w 148"/>
                <a:gd name="T1" fmla="*/ 120650 h 144"/>
                <a:gd name="T2" fmla="*/ 28768 w 148"/>
                <a:gd name="T3" fmla="*/ 63500 h 144"/>
                <a:gd name="T4" fmla="*/ 41554 w 148"/>
                <a:gd name="T5" fmla="*/ 79375 h 144"/>
                <a:gd name="T6" fmla="*/ 67126 w 148"/>
                <a:gd name="T7" fmla="*/ 63500 h 144"/>
                <a:gd name="T8" fmla="*/ 67126 w 148"/>
                <a:gd name="T9" fmla="*/ 44450 h 144"/>
                <a:gd name="T10" fmla="*/ 99090 w 148"/>
                <a:gd name="T11" fmla="*/ 15875 h 144"/>
                <a:gd name="T12" fmla="*/ 118269 w 148"/>
                <a:gd name="T13" fmla="*/ 22225 h 144"/>
                <a:gd name="T14" fmla="*/ 147037 w 148"/>
                <a:gd name="T15" fmla="*/ 0 h 144"/>
                <a:gd name="T16" fmla="*/ 169412 w 148"/>
                <a:gd name="T17" fmla="*/ 19050 h 144"/>
                <a:gd name="T18" fmla="*/ 159823 w 148"/>
                <a:gd name="T19" fmla="*/ 31750 h 144"/>
                <a:gd name="T20" fmla="*/ 182198 w 148"/>
                <a:gd name="T21" fmla="*/ 57150 h 144"/>
                <a:gd name="T22" fmla="*/ 191788 w 148"/>
                <a:gd name="T23" fmla="*/ 82550 h 144"/>
                <a:gd name="T24" fmla="*/ 175805 w 148"/>
                <a:gd name="T25" fmla="*/ 101600 h 144"/>
                <a:gd name="T26" fmla="*/ 175805 w 148"/>
                <a:gd name="T27" fmla="*/ 136525 h 144"/>
                <a:gd name="T28" fmla="*/ 198180 w 148"/>
                <a:gd name="T29" fmla="*/ 146050 h 144"/>
                <a:gd name="T30" fmla="*/ 207770 w 148"/>
                <a:gd name="T31" fmla="*/ 171450 h 144"/>
                <a:gd name="T32" fmla="*/ 226949 w 148"/>
                <a:gd name="T33" fmla="*/ 177800 h 144"/>
                <a:gd name="T34" fmla="*/ 236538 w 148"/>
                <a:gd name="T35" fmla="*/ 200025 h 144"/>
                <a:gd name="T36" fmla="*/ 223752 w 148"/>
                <a:gd name="T37" fmla="*/ 215900 h 144"/>
                <a:gd name="T38" fmla="*/ 182198 w 148"/>
                <a:gd name="T39" fmla="*/ 222250 h 144"/>
                <a:gd name="T40" fmla="*/ 147037 w 148"/>
                <a:gd name="T41" fmla="*/ 200025 h 144"/>
                <a:gd name="T42" fmla="*/ 118269 w 148"/>
                <a:gd name="T43" fmla="*/ 228600 h 144"/>
                <a:gd name="T44" fmla="*/ 89501 w 148"/>
                <a:gd name="T45" fmla="*/ 228600 h 144"/>
                <a:gd name="T46" fmla="*/ 83108 w 148"/>
                <a:gd name="T47" fmla="*/ 200025 h 144"/>
                <a:gd name="T48" fmla="*/ 63929 w 148"/>
                <a:gd name="T49" fmla="*/ 193675 h 144"/>
                <a:gd name="T50" fmla="*/ 57536 w 148"/>
                <a:gd name="T51" fmla="*/ 209550 h 144"/>
                <a:gd name="T52" fmla="*/ 41554 w 148"/>
                <a:gd name="T53" fmla="*/ 203200 h 144"/>
                <a:gd name="T54" fmla="*/ 35161 w 148"/>
                <a:gd name="T55" fmla="*/ 174625 h 144"/>
                <a:gd name="T56" fmla="*/ 15982 w 148"/>
                <a:gd name="T57" fmla="*/ 155575 h 144"/>
                <a:gd name="T58" fmla="*/ 15982 w 148"/>
                <a:gd name="T59" fmla="*/ 123825 h 144"/>
                <a:gd name="T60" fmla="*/ 15982 w 148"/>
                <a:gd name="T61" fmla="*/ 123825 h 144"/>
                <a:gd name="T62" fmla="*/ 0 w 148"/>
                <a:gd name="T63" fmla="*/ 120650 h 14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44"/>
                <a:gd name="T98" fmla="*/ 148 w 148"/>
                <a:gd name="T99" fmla="*/ 144 h 14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44">
                  <a:moveTo>
                    <a:pt x="0" y="76"/>
                  </a:moveTo>
                  <a:lnTo>
                    <a:pt x="18" y="40"/>
                  </a:lnTo>
                  <a:lnTo>
                    <a:pt x="26" y="50"/>
                  </a:lnTo>
                  <a:lnTo>
                    <a:pt x="42" y="40"/>
                  </a:lnTo>
                  <a:lnTo>
                    <a:pt x="42" y="28"/>
                  </a:lnTo>
                  <a:lnTo>
                    <a:pt x="62" y="10"/>
                  </a:lnTo>
                  <a:lnTo>
                    <a:pt x="74" y="14"/>
                  </a:lnTo>
                  <a:lnTo>
                    <a:pt x="92" y="0"/>
                  </a:lnTo>
                  <a:lnTo>
                    <a:pt x="106" y="12"/>
                  </a:lnTo>
                  <a:lnTo>
                    <a:pt x="100" y="20"/>
                  </a:lnTo>
                  <a:lnTo>
                    <a:pt x="114" y="36"/>
                  </a:lnTo>
                  <a:lnTo>
                    <a:pt x="120" y="52"/>
                  </a:lnTo>
                  <a:lnTo>
                    <a:pt x="110" y="64"/>
                  </a:lnTo>
                  <a:lnTo>
                    <a:pt x="110" y="86"/>
                  </a:lnTo>
                  <a:lnTo>
                    <a:pt x="124" y="92"/>
                  </a:lnTo>
                  <a:lnTo>
                    <a:pt x="130" y="108"/>
                  </a:lnTo>
                  <a:lnTo>
                    <a:pt x="142" y="112"/>
                  </a:lnTo>
                  <a:lnTo>
                    <a:pt x="148" y="126"/>
                  </a:lnTo>
                  <a:lnTo>
                    <a:pt x="140" y="136"/>
                  </a:lnTo>
                  <a:lnTo>
                    <a:pt x="114" y="140"/>
                  </a:lnTo>
                  <a:lnTo>
                    <a:pt x="92" y="126"/>
                  </a:lnTo>
                  <a:lnTo>
                    <a:pt x="74" y="144"/>
                  </a:lnTo>
                  <a:lnTo>
                    <a:pt x="56" y="144"/>
                  </a:lnTo>
                  <a:lnTo>
                    <a:pt x="52" y="126"/>
                  </a:lnTo>
                  <a:lnTo>
                    <a:pt x="40" y="122"/>
                  </a:lnTo>
                  <a:lnTo>
                    <a:pt x="36" y="132"/>
                  </a:lnTo>
                  <a:lnTo>
                    <a:pt x="26" y="128"/>
                  </a:lnTo>
                  <a:lnTo>
                    <a:pt x="22" y="110"/>
                  </a:lnTo>
                  <a:lnTo>
                    <a:pt x="10" y="98"/>
                  </a:lnTo>
                  <a:lnTo>
                    <a:pt x="10" y="78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28568F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2" name="Freeform 47"/>
            <p:cNvSpPr>
              <a:spLocks/>
            </p:cNvSpPr>
            <p:nvPr/>
          </p:nvSpPr>
          <p:spPr bwMode="auto">
            <a:xfrm>
              <a:off x="5551481" y="2319338"/>
              <a:ext cx="236538" cy="228600"/>
            </a:xfrm>
            <a:custGeom>
              <a:avLst/>
              <a:gdLst>
                <a:gd name="T0" fmla="*/ 0 w 148"/>
                <a:gd name="T1" fmla="*/ 120650 h 144"/>
                <a:gd name="T2" fmla="*/ 28768 w 148"/>
                <a:gd name="T3" fmla="*/ 63500 h 144"/>
                <a:gd name="T4" fmla="*/ 41554 w 148"/>
                <a:gd name="T5" fmla="*/ 79375 h 144"/>
                <a:gd name="T6" fmla="*/ 67126 w 148"/>
                <a:gd name="T7" fmla="*/ 63500 h 144"/>
                <a:gd name="T8" fmla="*/ 67126 w 148"/>
                <a:gd name="T9" fmla="*/ 44450 h 144"/>
                <a:gd name="T10" fmla="*/ 99090 w 148"/>
                <a:gd name="T11" fmla="*/ 15875 h 144"/>
                <a:gd name="T12" fmla="*/ 118269 w 148"/>
                <a:gd name="T13" fmla="*/ 22225 h 144"/>
                <a:gd name="T14" fmla="*/ 147037 w 148"/>
                <a:gd name="T15" fmla="*/ 0 h 144"/>
                <a:gd name="T16" fmla="*/ 169412 w 148"/>
                <a:gd name="T17" fmla="*/ 19050 h 144"/>
                <a:gd name="T18" fmla="*/ 159823 w 148"/>
                <a:gd name="T19" fmla="*/ 31750 h 144"/>
                <a:gd name="T20" fmla="*/ 182198 w 148"/>
                <a:gd name="T21" fmla="*/ 57150 h 144"/>
                <a:gd name="T22" fmla="*/ 191788 w 148"/>
                <a:gd name="T23" fmla="*/ 82550 h 144"/>
                <a:gd name="T24" fmla="*/ 175805 w 148"/>
                <a:gd name="T25" fmla="*/ 101600 h 144"/>
                <a:gd name="T26" fmla="*/ 175805 w 148"/>
                <a:gd name="T27" fmla="*/ 136525 h 144"/>
                <a:gd name="T28" fmla="*/ 198180 w 148"/>
                <a:gd name="T29" fmla="*/ 146050 h 144"/>
                <a:gd name="T30" fmla="*/ 207770 w 148"/>
                <a:gd name="T31" fmla="*/ 171450 h 144"/>
                <a:gd name="T32" fmla="*/ 226949 w 148"/>
                <a:gd name="T33" fmla="*/ 177800 h 144"/>
                <a:gd name="T34" fmla="*/ 236538 w 148"/>
                <a:gd name="T35" fmla="*/ 200025 h 144"/>
                <a:gd name="T36" fmla="*/ 223752 w 148"/>
                <a:gd name="T37" fmla="*/ 215900 h 144"/>
                <a:gd name="T38" fmla="*/ 182198 w 148"/>
                <a:gd name="T39" fmla="*/ 222250 h 144"/>
                <a:gd name="T40" fmla="*/ 147037 w 148"/>
                <a:gd name="T41" fmla="*/ 200025 h 144"/>
                <a:gd name="T42" fmla="*/ 118269 w 148"/>
                <a:gd name="T43" fmla="*/ 228600 h 144"/>
                <a:gd name="T44" fmla="*/ 89501 w 148"/>
                <a:gd name="T45" fmla="*/ 228600 h 144"/>
                <a:gd name="T46" fmla="*/ 83108 w 148"/>
                <a:gd name="T47" fmla="*/ 200025 h 144"/>
                <a:gd name="T48" fmla="*/ 63929 w 148"/>
                <a:gd name="T49" fmla="*/ 193675 h 144"/>
                <a:gd name="T50" fmla="*/ 57536 w 148"/>
                <a:gd name="T51" fmla="*/ 209550 h 144"/>
                <a:gd name="T52" fmla="*/ 41554 w 148"/>
                <a:gd name="T53" fmla="*/ 203200 h 144"/>
                <a:gd name="T54" fmla="*/ 35161 w 148"/>
                <a:gd name="T55" fmla="*/ 174625 h 144"/>
                <a:gd name="T56" fmla="*/ 15982 w 148"/>
                <a:gd name="T57" fmla="*/ 155575 h 144"/>
                <a:gd name="T58" fmla="*/ 15982 w 148"/>
                <a:gd name="T59" fmla="*/ 123825 h 144"/>
                <a:gd name="T60" fmla="*/ 15982 w 148"/>
                <a:gd name="T61" fmla="*/ 123825 h 144"/>
                <a:gd name="T62" fmla="*/ 0 w 148"/>
                <a:gd name="T63" fmla="*/ 120650 h 14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8"/>
                <a:gd name="T97" fmla="*/ 0 h 144"/>
                <a:gd name="T98" fmla="*/ 148 w 148"/>
                <a:gd name="T99" fmla="*/ 144 h 14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8" h="144">
                  <a:moveTo>
                    <a:pt x="0" y="76"/>
                  </a:moveTo>
                  <a:lnTo>
                    <a:pt x="18" y="40"/>
                  </a:lnTo>
                  <a:lnTo>
                    <a:pt x="26" y="50"/>
                  </a:lnTo>
                  <a:lnTo>
                    <a:pt x="42" y="40"/>
                  </a:lnTo>
                  <a:lnTo>
                    <a:pt x="42" y="28"/>
                  </a:lnTo>
                  <a:lnTo>
                    <a:pt x="62" y="10"/>
                  </a:lnTo>
                  <a:lnTo>
                    <a:pt x="74" y="14"/>
                  </a:lnTo>
                  <a:lnTo>
                    <a:pt x="92" y="0"/>
                  </a:lnTo>
                  <a:lnTo>
                    <a:pt x="106" y="12"/>
                  </a:lnTo>
                  <a:lnTo>
                    <a:pt x="100" y="20"/>
                  </a:lnTo>
                  <a:lnTo>
                    <a:pt x="114" y="36"/>
                  </a:lnTo>
                  <a:lnTo>
                    <a:pt x="120" y="52"/>
                  </a:lnTo>
                  <a:lnTo>
                    <a:pt x="110" y="64"/>
                  </a:lnTo>
                  <a:lnTo>
                    <a:pt x="110" y="86"/>
                  </a:lnTo>
                  <a:lnTo>
                    <a:pt x="124" y="92"/>
                  </a:lnTo>
                  <a:lnTo>
                    <a:pt x="130" y="108"/>
                  </a:lnTo>
                  <a:lnTo>
                    <a:pt x="142" y="112"/>
                  </a:lnTo>
                  <a:lnTo>
                    <a:pt x="148" y="126"/>
                  </a:lnTo>
                  <a:lnTo>
                    <a:pt x="140" y="136"/>
                  </a:lnTo>
                  <a:lnTo>
                    <a:pt x="114" y="140"/>
                  </a:lnTo>
                  <a:lnTo>
                    <a:pt x="92" y="126"/>
                  </a:lnTo>
                  <a:lnTo>
                    <a:pt x="74" y="144"/>
                  </a:lnTo>
                  <a:lnTo>
                    <a:pt x="56" y="144"/>
                  </a:lnTo>
                  <a:lnTo>
                    <a:pt x="52" y="126"/>
                  </a:lnTo>
                  <a:lnTo>
                    <a:pt x="40" y="122"/>
                  </a:lnTo>
                  <a:lnTo>
                    <a:pt x="36" y="132"/>
                  </a:lnTo>
                  <a:lnTo>
                    <a:pt x="26" y="128"/>
                  </a:lnTo>
                  <a:lnTo>
                    <a:pt x="22" y="110"/>
                  </a:lnTo>
                  <a:lnTo>
                    <a:pt x="10" y="98"/>
                  </a:lnTo>
                  <a:lnTo>
                    <a:pt x="10" y="78"/>
                  </a:lnTo>
                  <a:lnTo>
                    <a:pt x="0" y="76"/>
                  </a:lnTo>
                </a:path>
              </a:pathLst>
            </a:custGeom>
            <a:solidFill>
              <a:srgbClr val="E3E8EC"/>
            </a:solidFill>
            <a:ln w="4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3" name="Freeform 48"/>
            <p:cNvSpPr>
              <a:spLocks/>
            </p:cNvSpPr>
            <p:nvPr/>
          </p:nvSpPr>
          <p:spPr bwMode="auto">
            <a:xfrm>
              <a:off x="5167306" y="1673225"/>
              <a:ext cx="873125" cy="877888"/>
            </a:xfrm>
            <a:custGeom>
              <a:avLst/>
              <a:gdLst>
                <a:gd name="T0" fmla="*/ 217482 w 546"/>
                <a:gd name="T1" fmla="*/ 583146 h 554"/>
                <a:gd name="T2" fmla="*/ 127930 w 546"/>
                <a:gd name="T3" fmla="*/ 573638 h 554"/>
                <a:gd name="T4" fmla="*/ 111939 w 546"/>
                <a:gd name="T5" fmla="*/ 545115 h 554"/>
                <a:gd name="T6" fmla="*/ 79956 w 546"/>
                <a:gd name="T7" fmla="*/ 500745 h 554"/>
                <a:gd name="T8" fmla="*/ 79956 w 546"/>
                <a:gd name="T9" fmla="*/ 475391 h 554"/>
                <a:gd name="T10" fmla="*/ 115137 w 546"/>
                <a:gd name="T11" fmla="*/ 494406 h 554"/>
                <a:gd name="T12" fmla="*/ 134327 w 546"/>
                <a:gd name="T13" fmla="*/ 484898 h 554"/>
                <a:gd name="T14" fmla="*/ 111939 w 546"/>
                <a:gd name="T15" fmla="*/ 440529 h 554"/>
                <a:gd name="T16" fmla="*/ 76758 w 546"/>
                <a:gd name="T17" fmla="*/ 443698 h 554"/>
                <a:gd name="T18" fmla="*/ 73560 w 546"/>
                <a:gd name="T19" fmla="*/ 415174 h 554"/>
                <a:gd name="T20" fmla="*/ 83155 w 546"/>
                <a:gd name="T21" fmla="*/ 386651 h 554"/>
                <a:gd name="T22" fmla="*/ 95948 w 546"/>
                <a:gd name="T23" fmla="*/ 367635 h 554"/>
                <a:gd name="T24" fmla="*/ 140723 w 546"/>
                <a:gd name="T25" fmla="*/ 345450 h 554"/>
                <a:gd name="T26" fmla="*/ 150318 w 546"/>
                <a:gd name="T27" fmla="*/ 307419 h 554"/>
                <a:gd name="T28" fmla="*/ 124732 w 546"/>
                <a:gd name="T29" fmla="*/ 329604 h 554"/>
                <a:gd name="T30" fmla="*/ 67163 w 546"/>
                <a:gd name="T31" fmla="*/ 351789 h 554"/>
                <a:gd name="T32" fmla="*/ 9595 w 546"/>
                <a:gd name="T33" fmla="*/ 348620 h 554"/>
                <a:gd name="T34" fmla="*/ 3198 w 546"/>
                <a:gd name="T35" fmla="*/ 307419 h 554"/>
                <a:gd name="T36" fmla="*/ 89551 w 546"/>
                <a:gd name="T37" fmla="*/ 282065 h 554"/>
                <a:gd name="T38" fmla="*/ 147120 w 546"/>
                <a:gd name="T39" fmla="*/ 253542 h 554"/>
                <a:gd name="T40" fmla="*/ 124732 w 546"/>
                <a:gd name="T41" fmla="*/ 196495 h 554"/>
                <a:gd name="T42" fmla="*/ 89551 w 546"/>
                <a:gd name="T43" fmla="*/ 148956 h 554"/>
                <a:gd name="T44" fmla="*/ 60767 w 546"/>
                <a:gd name="T45" fmla="*/ 123602 h 554"/>
                <a:gd name="T46" fmla="*/ 38379 w 546"/>
                <a:gd name="T47" fmla="*/ 76062 h 554"/>
                <a:gd name="T48" fmla="*/ 25586 w 546"/>
                <a:gd name="T49" fmla="*/ 28523 h 554"/>
                <a:gd name="T50" fmla="*/ 204689 w 546"/>
                <a:gd name="T51" fmla="*/ 53878 h 554"/>
                <a:gd name="T52" fmla="*/ 297438 w 546"/>
                <a:gd name="T53" fmla="*/ 60216 h 554"/>
                <a:gd name="T54" fmla="*/ 348610 w 546"/>
                <a:gd name="T55" fmla="*/ 25354 h 554"/>
                <a:gd name="T56" fmla="*/ 377395 w 546"/>
                <a:gd name="T57" fmla="*/ 57047 h 554"/>
                <a:gd name="T58" fmla="*/ 412576 w 546"/>
                <a:gd name="T59" fmla="*/ 79232 h 554"/>
                <a:gd name="T60" fmla="*/ 438162 w 546"/>
                <a:gd name="T61" fmla="*/ 101417 h 554"/>
                <a:gd name="T62" fmla="*/ 460549 w 546"/>
                <a:gd name="T63" fmla="*/ 69724 h 554"/>
                <a:gd name="T64" fmla="*/ 476541 w 546"/>
                <a:gd name="T65" fmla="*/ 76062 h 554"/>
                <a:gd name="T66" fmla="*/ 498929 w 546"/>
                <a:gd name="T67" fmla="*/ 177479 h 554"/>
                <a:gd name="T68" fmla="*/ 482937 w 546"/>
                <a:gd name="T69" fmla="*/ 225018 h 554"/>
                <a:gd name="T70" fmla="*/ 450955 w 546"/>
                <a:gd name="T71" fmla="*/ 256711 h 554"/>
                <a:gd name="T72" fmla="*/ 502127 w 546"/>
                <a:gd name="T73" fmla="*/ 250372 h 554"/>
                <a:gd name="T74" fmla="*/ 543704 w 546"/>
                <a:gd name="T75" fmla="*/ 272557 h 554"/>
                <a:gd name="T76" fmla="*/ 617264 w 546"/>
                <a:gd name="T77" fmla="*/ 269388 h 554"/>
                <a:gd name="T78" fmla="*/ 678031 w 546"/>
                <a:gd name="T79" fmla="*/ 294742 h 554"/>
                <a:gd name="T80" fmla="*/ 745194 w 546"/>
                <a:gd name="T81" fmla="*/ 335943 h 554"/>
                <a:gd name="T82" fmla="*/ 777177 w 546"/>
                <a:gd name="T83" fmla="*/ 326435 h 554"/>
                <a:gd name="T84" fmla="*/ 844341 w 546"/>
                <a:gd name="T85" fmla="*/ 301081 h 554"/>
                <a:gd name="T86" fmla="*/ 873125 w 546"/>
                <a:gd name="T87" fmla="*/ 320096 h 554"/>
                <a:gd name="T88" fmla="*/ 847539 w 546"/>
                <a:gd name="T89" fmla="*/ 342281 h 554"/>
                <a:gd name="T90" fmla="*/ 847539 w 546"/>
                <a:gd name="T91" fmla="*/ 396159 h 554"/>
                <a:gd name="T92" fmla="*/ 815556 w 546"/>
                <a:gd name="T93" fmla="*/ 434190 h 554"/>
                <a:gd name="T94" fmla="*/ 786772 w 546"/>
                <a:gd name="T95" fmla="*/ 469052 h 554"/>
                <a:gd name="T96" fmla="*/ 748393 w 546"/>
                <a:gd name="T97" fmla="*/ 478560 h 554"/>
                <a:gd name="T98" fmla="*/ 751591 w 546"/>
                <a:gd name="T99" fmla="*/ 510253 h 554"/>
                <a:gd name="T100" fmla="*/ 748393 w 546"/>
                <a:gd name="T101" fmla="*/ 611669 h 554"/>
                <a:gd name="T102" fmla="*/ 761186 w 546"/>
                <a:gd name="T103" fmla="*/ 792318 h 554"/>
                <a:gd name="T104" fmla="*/ 681229 w 546"/>
                <a:gd name="T105" fmla="*/ 877888 h 554"/>
                <a:gd name="T106" fmla="*/ 610868 w 546"/>
                <a:gd name="T107" fmla="*/ 824010 h 554"/>
                <a:gd name="T108" fmla="*/ 575687 w 546"/>
                <a:gd name="T109" fmla="*/ 728932 h 554"/>
                <a:gd name="T110" fmla="*/ 502127 w 546"/>
                <a:gd name="T111" fmla="*/ 668716 h 554"/>
                <a:gd name="T112" fmla="*/ 412576 w 546"/>
                <a:gd name="T113" fmla="*/ 709917 h 554"/>
                <a:gd name="T114" fmla="*/ 358205 w 546"/>
                <a:gd name="T115" fmla="*/ 757456 h 554"/>
                <a:gd name="T116" fmla="*/ 313429 w 546"/>
                <a:gd name="T117" fmla="*/ 716255 h 554"/>
                <a:gd name="T118" fmla="*/ 281447 w 546"/>
                <a:gd name="T119" fmla="*/ 668716 h 554"/>
                <a:gd name="T120" fmla="*/ 249464 w 546"/>
                <a:gd name="T121" fmla="*/ 611669 h 55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46"/>
                <a:gd name="T184" fmla="*/ 0 h 554"/>
                <a:gd name="T185" fmla="*/ 546 w 546"/>
                <a:gd name="T186" fmla="*/ 554 h 55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46" h="554">
                  <a:moveTo>
                    <a:pt x="146" y="380"/>
                  </a:moveTo>
                  <a:lnTo>
                    <a:pt x="146" y="380"/>
                  </a:lnTo>
                  <a:lnTo>
                    <a:pt x="146" y="376"/>
                  </a:lnTo>
                  <a:lnTo>
                    <a:pt x="142" y="372"/>
                  </a:lnTo>
                  <a:lnTo>
                    <a:pt x="136" y="368"/>
                  </a:lnTo>
                  <a:lnTo>
                    <a:pt x="126" y="366"/>
                  </a:lnTo>
                  <a:lnTo>
                    <a:pt x="100" y="364"/>
                  </a:lnTo>
                  <a:lnTo>
                    <a:pt x="86" y="364"/>
                  </a:lnTo>
                  <a:lnTo>
                    <a:pt x="80" y="362"/>
                  </a:lnTo>
                  <a:lnTo>
                    <a:pt x="76" y="360"/>
                  </a:lnTo>
                  <a:lnTo>
                    <a:pt x="72" y="356"/>
                  </a:lnTo>
                  <a:lnTo>
                    <a:pt x="70" y="352"/>
                  </a:lnTo>
                  <a:lnTo>
                    <a:pt x="70" y="344"/>
                  </a:lnTo>
                  <a:lnTo>
                    <a:pt x="68" y="336"/>
                  </a:lnTo>
                  <a:lnTo>
                    <a:pt x="66" y="332"/>
                  </a:lnTo>
                  <a:lnTo>
                    <a:pt x="64" y="330"/>
                  </a:lnTo>
                  <a:lnTo>
                    <a:pt x="50" y="316"/>
                  </a:lnTo>
                  <a:lnTo>
                    <a:pt x="46" y="310"/>
                  </a:lnTo>
                  <a:lnTo>
                    <a:pt x="46" y="306"/>
                  </a:lnTo>
                  <a:lnTo>
                    <a:pt x="48" y="304"/>
                  </a:lnTo>
                  <a:lnTo>
                    <a:pt x="50" y="300"/>
                  </a:lnTo>
                  <a:lnTo>
                    <a:pt x="54" y="300"/>
                  </a:lnTo>
                  <a:lnTo>
                    <a:pt x="58" y="300"/>
                  </a:lnTo>
                  <a:lnTo>
                    <a:pt x="64" y="304"/>
                  </a:lnTo>
                  <a:lnTo>
                    <a:pt x="72" y="312"/>
                  </a:lnTo>
                  <a:lnTo>
                    <a:pt x="76" y="314"/>
                  </a:lnTo>
                  <a:lnTo>
                    <a:pt x="80" y="314"/>
                  </a:lnTo>
                  <a:lnTo>
                    <a:pt x="82" y="314"/>
                  </a:lnTo>
                  <a:lnTo>
                    <a:pt x="84" y="310"/>
                  </a:lnTo>
                  <a:lnTo>
                    <a:pt x="84" y="306"/>
                  </a:lnTo>
                  <a:lnTo>
                    <a:pt x="84" y="298"/>
                  </a:lnTo>
                  <a:lnTo>
                    <a:pt x="80" y="286"/>
                  </a:lnTo>
                  <a:lnTo>
                    <a:pt x="76" y="280"/>
                  </a:lnTo>
                  <a:lnTo>
                    <a:pt x="70" y="278"/>
                  </a:lnTo>
                  <a:lnTo>
                    <a:pt x="64" y="280"/>
                  </a:lnTo>
                  <a:lnTo>
                    <a:pt x="58" y="282"/>
                  </a:lnTo>
                  <a:lnTo>
                    <a:pt x="52" y="282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4" y="270"/>
                  </a:lnTo>
                  <a:lnTo>
                    <a:pt x="44" y="266"/>
                  </a:lnTo>
                  <a:lnTo>
                    <a:pt x="46" y="262"/>
                  </a:lnTo>
                  <a:lnTo>
                    <a:pt x="48" y="258"/>
                  </a:lnTo>
                  <a:lnTo>
                    <a:pt x="54" y="250"/>
                  </a:lnTo>
                  <a:lnTo>
                    <a:pt x="54" y="246"/>
                  </a:lnTo>
                  <a:lnTo>
                    <a:pt x="52" y="244"/>
                  </a:lnTo>
                  <a:lnTo>
                    <a:pt x="52" y="238"/>
                  </a:lnTo>
                  <a:lnTo>
                    <a:pt x="52" y="234"/>
                  </a:lnTo>
                  <a:lnTo>
                    <a:pt x="54" y="232"/>
                  </a:lnTo>
                  <a:lnTo>
                    <a:pt x="60" y="232"/>
                  </a:lnTo>
                  <a:lnTo>
                    <a:pt x="68" y="232"/>
                  </a:lnTo>
                  <a:lnTo>
                    <a:pt x="76" y="230"/>
                  </a:lnTo>
                  <a:lnTo>
                    <a:pt x="82" y="226"/>
                  </a:lnTo>
                  <a:lnTo>
                    <a:pt x="88" y="218"/>
                  </a:lnTo>
                  <a:lnTo>
                    <a:pt x="96" y="202"/>
                  </a:lnTo>
                  <a:lnTo>
                    <a:pt x="98" y="198"/>
                  </a:lnTo>
                  <a:lnTo>
                    <a:pt x="94" y="194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2" y="202"/>
                  </a:lnTo>
                  <a:lnTo>
                    <a:pt x="78" y="208"/>
                  </a:lnTo>
                  <a:lnTo>
                    <a:pt x="74" y="214"/>
                  </a:lnTo>
                  <a:lnTo>
                    <a:pt x="66" y="216"/>
                  </a:lnTo>
                  <a:lnTo>
                    <a:pt x="56" y="218"/>
                  </a:lnTo>
                  <a:lnTo>
                    <a:pt x="42" y="222"/>
                  </a:lnTo>
                  <a:lnTo>
                    <a:pt x="26" y="226"/>
                  </a:lnTo>
                  <a:lnTo>
                    <a:pt x="20" y="226"/>
                  </a:lnTo>
                  <a:lnTo>
                    <a:pt x="14" y="226"/>
                  </a:lnTo>
                  <a:lnTo>
                    <a:pt x="10" y="224"/>
                  </a:lnTo>
                  <a:lnTo>
                    <a:pt x="6" y="220"/>
                  </a:lnTo>
                  <a:lnTo>
                    <a:pt x="2" y="208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2" y="194"/>
                  </a:lnTo>
                  <a:lnTo>
                    <a:pt x="6" y="192"/>
                  </a:lnTo>
                  <a:lnTo>
                    <a:pt x="12" y="190"/>
                  </a:lnTo>
                  <a:lnTo>
                    <a:pt x="56" y="178"/>
                  </a:lnTo>
                  <a:lnTo>
                    <a:pt x="74" y="174"/>
                  </a:lnTo>
                  <a:lnTo>
                    <a:pt x="86" y="170"/>
                  </a:lnTo>
                  <a:lnTo>
                    <a:pt x="90" y="168"/>
                  </a:lnTo>
                  <a:lnTo>
                    <a:pt x="90" y="164"/>
                  </a:lnTo>
                  <a:lnTo>
                    <a:pt x="92" y="160"/>
                  </a:lnTo>
                  <a:lnTo>
                    <a:pt x="90" y="156"/>
                  </a:lnTo>
                  <a:lnTo>
                    <a:pt x="86" y="140"/>
                  </a:lnTo>
                  <a:lnTo>
                    <a:pt x="78" y="124"/>
                  </a:lnTo>
                  <a:lnTo>
                    <a:pt x="74" y="116"/>
                  </a:lnTo>
                  <a:lnTo>
                    <a:pt x="68" y="110"/>
                  </a:lnTo>
                  <a:lnTo>
                    <a:pt x="62" y="102"/>
                  </a:lnTo>
                  <a:lnTo>
                    <a:pt x="56" y="94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2" y="78"/>
                  </a:lnTo>
                  <a:lnTo>
                    <a:pt x="38" y="78"/>
                  </a:lnTo>
                  <a:lnTo>
                    <a:pt x="34" y="74"/>
                  </a:lnTo>
                  <a:lnTo>
                    <a:pt x="32" y="70"/>
                  </a:lnTo>
                  <a:lnTo>
                    <a:pt x="28" y="62"/>
                  </a:lnTo>
                  <a:lnTo>
                    <a:pt x="24" y="48"/>
                  </a:lnTo>
                  <a:lnTo>
                    <a:pt x="18" y="40"/>
                  </a:lnTo>
                  <a:lnTo>
                    <a:pt x="14" y="34"/>
                  </a:lnTo>
                  <a:lnTo>
                    <a:pt x="14" y="28"/>
                  </a:lnTo>
                  <a:lnTo>
                    <a:pt x="16" y="18"/>
                  </a:lnTo>
                  <a:lnTo>
                    <a:pt x="22" y="0"/>
                  </a:lnTo>
                  <a:lnTo>
                    <a:pt x="58" y="16"/>
                  </a:lnTo>
                  <a:lnTo>
                    <a:pt x="90" y="18"/>
                  </a:lnTo>
                  <a:lnTo>
                    <a:pt x="114" y="34"/>
                  </a:lnTo>
                  <a:lnTo>
                    <a:pt x="128" y="34"/>
                  </a:lnTo>
                  <a:lnTo>
                    <a:pt x="138" y="52"/>
                  </a:lnTo>
                  <a:lnTo>
                    <a:pt x="168" y="58"/>
                  </a:lnTo>
                  <a:lnTo>
                    <a:pt x="178" y="48"/>
                  </a:lnTo>
                  <a:lnTo>
                    <a:pt x="186" y="38"/>
                  </a:lnTo>
                  <a:lnTo>
                    <a:pt x="196" y="30"/>
                  </a:lnTo>
                  <a:lnTo>
                    <a:pt x="212" y="18"/>
                  </a:lnTo>
                  <a:lnTo>
                    <a:pt x="216" y="16"/>
                  </a:lnTo>
                  <a:lnTo>
                    <a:pt x="218" y="16"/>
                  </a:lnTo>
                  <a:lnTo>
                    <a:pt x="220" y="18"/>
                  </a:lnTo>
                  <a:lnTo>
                    <a:pt x="224" y="22"/>
                  </a:lnTo>
                  <a:lnTo>
                    <a:pt x="230" y="32"/>
                  </a:lnTo>
                  <a:lnTo>
                    <a:pt x="236" y="36"/>
                  </a:lnTo>
                  <a:lnTo>
                    <a:pt x="240" y="38"/>
                  </a:lnTo>
                  <a:lnTo>
                    <a:pt x="252" y="40"/>
                  </a:lnTo>
                  <a:lnTo>
                    <a:pt x="256" y="44"/>
                  </a:lnTo>
                  <a:lnTo>
                    <a:pt x="258" y="50"/>
                  </a:lnTo>
                  <a:lnTo>
                    <a:pt x="262" y="56"/>
                  </a:lnTo>
                  <a:lnTo>
                    <a:pt x="268" y="62"/>
                  </a:lnTo>
                  <a:lnTo>
                    <a:pt x="270" y="64"/>
                  </a:lnTo>
                  <a:lnTo>
                    <a:pt x="274" y="64"/>
                  </a:lnTo>
                  <a:lnTo>
                    <a:pt x="276" y="62"/>
                  </a:lnTo>
                  <a:lnTo>
                    <a:pt x="280" y="58"/>
                  </a:lnTo>
                  <a:lnTo>
                    <a:pt x="282" y="50"/>
                  </a:lnTo>
                  <a:lnTo>
                    <a:pt x="288" y="44"/>
                  </a:lnTo>
                  <a:lnTo>
                    <a:pt x="290" y="42"/>
                  </a:lnTo>
                  <a:lnTo>
                    <a:pt x="292" y="42"/>
                  </a:lnTo>
                  <a:lnTo>
                    <a:pt x="294" y="44"/>
                  </a:lnTo>
                  <a:lnTo>
                    <a:pt x="298" y="48"/>
                  </a:lnTo>
                  <a:lnTo>
                    <a:pt x="302" y="56"/>
                  </a:lnTo>
                  <a:lnTo>
                    <a:pt x="306" y="68"/>
                  </a:lnTo>
                  <a:lnTo>
                    <a:pt x="310" y="98"/>
                  </a:lnTo>
                  <a:lnTo>
                    <a:pt x="312" y="112"/>
                  </a:lnTo>
                  <a:lnTo>
                    <a:pt x="312" y="124"/>
                  </a:lnTo>
                  <a:lnTo>
                    <a:pt x="308" y="134"/>
                  </a:lnTo>
                  <a:lnTo>
                    <a:pt x="306" y="138"/>
                  </a:lnTo>
                  <a:lnTo>
                    <a:pt x="302" y="142"/>
                  </a:lnTo>
                  <a:lnTo>
                    <a:pt x="286" y="152"/>
                  </a:lnTo>
                  <a:lnTo>
                    <a:pt x="280" y="156"/>
                  </a:lnTo>
                  <a:lnTo>
                    <a:pt x="280" y="160"/>
                  </a:lnTo>
                  <a:lnTo>
                    <a:pt x="282" y="162"/>
                  </a:lnTo>
                  <a:lnTo>
                    <a:pt x="286" y="166"/>
                  </a:lnTo>
                  <a:lnTo>
                    <a:pt x="292" y="166"/>
                  </a:lnTo>
                  <a:lnTo>
                    <a:pt x="306" y="160"/>
                  </a:lnTo>
                  <a:lnTo>
                    <a:pt x="314" y="158"/>
                  </a:lnTo>
                  <a:lnTo>
                    <a:pt x="320" y="158"/>
                  </a:lnTo>
                  <a:lnTo>
                    <a:pt x="328" y="160"/>
                  </a:lnTo>
                  <a:lnTo>
                    <a:pt x="334" y="166"/>
                  </a:lnTo>
                  <a:lnTo>
                    <a:pt x="340" y="172"/>
                  </a:lnTo>
                  <a:lnTo>
                    <a:pt x="348" y="176"/>
                  </a:lnTo>
                  <a:lnTo>
                    <a:pt x="354" y="178"/>
                  </a:lnTo>
                  <a:lnTo>
                    <a:pt x="366" y="176"/>
                  </a:lnTo>
                  <a:lnTo>
                    <a:pt x="386" y="170"/>
                  </a:lnTo>
                  <a:lnTo>
                    <a:pt x="394" y="172"/>
                  </a:lnTo>
                  <a:lnTo>
                    <a:pt x="404" y="176"/>
                  </a:lnTo>
                  <a:lnTo>
                    <a:pt x="412" y="182"/>
                  </a:lnTo>
                  <a:lnTo>
                    <a:pt x="424" y="186"/>
                  </a:lnTo>
                  <a:lnTo>
                    <a:pt x="434" y="192"/>
                  </a:lnTo>
                  <a:lnTo>
                    <a:pt x="446" y="198"/>
                  </a:lnTo>
                  <a:lnTo>
                    <a:pt x="456" y="206"/>
                  </a:lnTo>
                  <a:lnTo>
                    <a:pt x="466" y="212"/>
                  </a:lnTo>
                  <a:lnTo>
                    <a:pt x="470" y="212"/>
                  </a:lnTo>
                  <a:lnTo>
                    <a:pt x="476" y="212"/>
                  </a:lnTo>
                  <a:lnTo>
                    <a:pt x="480" y="210"/>
                  </a:lnTo>
                  <a:lnTo>
                    <a:pt x="486" y="206"/>
                  </a:lnTo>
                  <a:lnTo>
                    <a:pt x="504" y="192"/>
                  </a:lnTo>
                  <a:lnTo>
                    <a:pt x="512" y="190"/>
                  </a:lnTo>
                  <a:lnTo>
                    <a:pt x="518" y="190"/>
                  </a:lnTo>
                  <a:lnTo>
                    <a:pt x="528" y="190"/>
                  </a:lnTo>
                  <a:lnTo>
                    <a:pt x="534" y="188"/>
                  </a:lnTo>
                  <a:lnTo>
                    <a:pt x="540" y="190"/>
                  </a:lnTo>
                  <a:lnTo>
                    <a:pt x="544" y="196"/>
                  </a:lnTo>
                  <a:lnTo>
                    <a:pt x="546" y="202"/>
                  </a:lnTo>
                  <a:lnTo>
                    <a:pt x="544" y="204"/>
                  </a:lnTo>
                  <a:lnTo>
                    <a:pt x="540" y="206"/>
                  </a:lnTo>
                  <a:lnTo>
                    <a:pt x="534" y="208"/>
                  </a:lnTo>
                  <a:lnTo>
                    <a:pt x="530" y="216"/>
                  </a:lnTo>
                  <a:lnTo>
                    <a:pt x="526" y="222"/>
                  </a:lnTo>
                  <a:lnTo>
                    <a:pt x="526" y="230"/>
                  </a:lnTo>
                  <a:lnTo>
                    <a:pt x="528" y="240"/>
                  </a:lnTo>
                  <a:lnTo>
                    <a:pt x="530" y="250"/>
                  </a:lnTo>
                  <a:lnTo>
                    <a:pt x="530" y="258"/>
                  </a:lnTo>
                  <a:lnTo>
                    <a:pt x="526" y="264"/>
                  </a:lnTo>
                  <a:lnTo>
                    <a:pt x="518" y="270"/>
                  </a:lnTo>
                  <a:lnTo>
                    <a:pt x="510" y="274"/>
                  </a:lnTo>
                  <a:lnTo>
                    <a:pt x="506" y="278"/>
                  </a:lnTo>
                  <a:lnTo>
                    <a:pt x="500" y="288"/>
                  </a:lnTo>
                  <a:lnTo>
                    <a:pt x="496" y="292"/>
                  </a:lnTo>
                  <a:lnTo>
                    <a:pt x="492" y="296"/>
                  </a:lnTo>
                  <a:lnTo>
                    <a:pt x="486" y="298"/>
                  </a:lnTo>
                  <a:lnTo>
                    <a:pt x="476" y="300"/>
                  </a:lnTo>
                  <a:lnTo>
                    <a:pt x="472" y="302"/>
                  </a:lnTo>
                  <a:lnTo>
                    <a:pt x="468" y="302"/>
                  </a:lnTo>
                  <a:lnTo>
                    <a:pt x="466" y="306"/>
                  </a:lnTo>
                  <a:lnTo>
                    <a:pt x="466" y="308"/>
                  </a:lnTo>
                  <a:lnTo>
                    <a:pt x="466" y="316"/>
                  </a:lnTo>
                  <a:lnTo>
                    <a:pt x="470" y="322"/>
                  </a:lnTo>
                  <a:lnTo>
                    <a:pt x="474" y="330"/>
                  </a:lnTo>
                  <a:lnTo>
                    <a:pt x="478" y="336"/>
                  </a:lnTo>
                  <a:lnTo>
                    <a:pt x="484" y="340"/>
                  </a:lnTo>
                  <a:lnTo>
                    <a:pt x="492" y="342"/>
                  </a:lnTo>
                  <a:lnTo>
                    <a:pt x="468" y="386"/>
                  </a:lnTo>
                  <a:lnTo>
                    <a:pt x="470" y="416"/>
                  </a:lnTo>
                  <a:lnTo>
                    <a:pt x="496" y="434"/>
                  </a:lnTo>
                  <a:lnTo>
                    <a:pt x="498" y="464"/>
                  </a:lnTo>
                  <a:lnTo>
                    <a:pt x="476" y="472"/>
                  </a:lnTo>
                  <a:lnTo>
                    <a:pt x="476" y="500"/>
                  </a:lnTo>
                  <a:lnTo>
                    <a:pt x="442" y="520"/>
                  </a:lnTo>
                  <a:lnTo>
                    <a:pt x="438" y="530"/>
                  </a:lnTo>
                  <a:lnTo>
                    <a:pt x="438" y="552"/>
                  </a:lnTo>
                  <a:lnTo>
                    <a:pt x="426" y="554"/>
                  </a:lnTo>
                  <a:lnTo>
                    <a:pt x="416" y="552"/>
                  </a:lnTo>
                  <a:lnTo>
                    <a:pt x="406" y="546"/>
                  </a:lnTo>
                  <a:lnTo>
                    <a:pt x="388" y="534"/>
                  </a:lnTo>
                  <a:lnTo>
                    <a:pt x="382" y="520"/>
                  </a:lnTo>
                  <a:lnTo>
                    <a:pt x="370" y="516"/>
                  </a:lnTo>
                  <a:lnTo>
                    <a:pt x="364" y="500"/>
                  </a:lnTo>
                  <a:lnTo>
                    <a:pt x="350" y="494"/>
                  </a:lnTo>
                  <a:lnTo>
                    <a:pt x="350" y="472"/>
                  </a:lnTo>
                  <a:lnTo>
                    <a:pt x="360" y="460"/>
                  </a:lnTo>
                  <a:lnTo>
                    <a:pt x="354" y="444"/>
                  </a:lnTo>
                  <a:lnTo>
                    <a:pt x="340" y="428"/>
                  </a:lnTo>
                  <a:lnTo>
                    <a:pt x="346" y="420"/>
                  </a:lnTo>
                  <a:lnTo>
                    <a:pt x="332" y="408"/>
                  </a:lnTo>
                  <a:lnTo>
                    <a:pt x="314" y="422"/>
                  </a:lnTo>
                  <a:lnTo>
                    <a:pt x="302" y="418"/>
                  </a:lnTo>
                  <a:lnTo>
                    <a:pt x="282" y="436"/>
                  </a:lnTo>
                  <a:lnTo>
                    <a:pt x="282" y="448"/>
                  </a:lnTo>
                  <a:lnTo>
                    <a:pt x="266" y="458"/>
                  </a:lnTo>
                  <a:lnTo>
                    <a:pt x="258" y="448"/>
                  </a:lnTo>
                  <a:lnTo>
                    <a:pt x="240" y="486"/>
                  </a:lnTo>
                  <a:lnTo>
                    <a:pt x="236" y="484"/>
                  </a:lnTo>
                  <a:lnTo>
                    <a:pt x="224" y="478"/>
                  </a:lnTo>
                  <a:lnTo>
                    <a:pt x="210" y="470"/>
                  </a:lnTo>
                  <a:lnTo>
                    <a:pt x="202" y="464"/>
                  </a:lnTo>
                  <a:lnTo>
                    <a:pt x="196" y="452"/>
                  </a:lnTo>
                  <a:lnTo>
                    <a:pt x="190" y="436"/>
                  </a:lnTo>
                  <a:lnTo>
                    <a:pt x="188" y="430"/>
                  </a:lnTo>
                  <a:lnTo>
                    <a:pt x="182" y="426"/>
                  </a:lnTo>
                  <a:lnTo>
                    <a:pt x="176" y="422"/>
                  </a:lnTo>
                  <a:lnTo>
                    <a:pt x="172" y="418"/>
                  </a:lnTo>
                  <a:lnTo>
                    <a:pt x="166" y="406"/>
                  </a:lnTo>
                  <a:lnTo>
                    <a:pt x="160" y="392"/>
                  </a:lnTo>
                  <a:lnTo>
                    <a:pt x="156" y="386"/>
                  </a:lnTo>
                  <a:lnTo>
                    <a:pt x="146" y="380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4" name="Freeform 49"/>
            <p:cNvSpPr>
              <a:spLocks/>
            </p:cNvSpPr>
            <p:nvPr/>
          </p:nvSpPr>
          <p:spPr bwMode="auto">
            <a:xfrm>
              <a:off x="5167306" y="1673225"/>
              <a:ext cx="873125" cy="877888"/>
            </a:xfrm>
            <a:custGeom>
              <a:avLst/>
              <a:gdLst>
                <a:gd name="T0" fmla="*/ 217482 w 546"/>
                <a:gd name="T1" fmla="*/ 583146 h 554"/>
                <a:gd name="T2" fmla="*/ 127930 w 546"/>
                <a:gd name="T3" fmla="*/ 573638 h 554"/>
                <a:gd name="T4" fmla="*/ 111939 w 546"/>
                <a:gd name="T5" fmla="*/ 545115 h 554"/>
                <a:gd name="T6" fmla="*/ 79956 w 546"/>
                <a:gd name="T7" fmla="*/ 500745 h 554"/>
                <a:gd name="T8" fmla="*/ 79956 w 546"/>
                <a:gd name="T9" fmla="*/ 475391 h 554"/>
                <a:gd name="T10" fmla="*/ 115137 w 546"/>
                <a:gd name="T11" fmla="*/ 494406 h 554"/>
                <a:gd name="T12" fmla="*/ 134327 w 546"/>
                <a:gd name="T13" fmla="*/ 484898 h 554"/>
                <a:gd name="T14" fmla="*/ 111939 w 546"/>
                <a:gd name="T15" fmla="*/ 440529 h 554"/>
                <a:gd name="T16" fmla="*/ 76758 w 546"/>
                <a:gd name="T17" fmla="*/ 443698 h 554"/>
                <a:gd name="T18" fmla="*/ 73560 w 546"/>
                <a:gd name="T19" fmla="*/ 415174 h 554"/>
                <a:gd name="T20" fmla="*/ 83155 w 546"/>
                <a:gd name="T21" fmla="*/ 386651 h 554"/>
                <a:gd name="T22" fmla="*/ 95948 w 546"/>
                <a:gd name="T23" fmla="*/ 367635 h 554"/>
                <a:gd name="T24" fmla="*/ 140723 w 546"/>
                <a:gd name="T25" fmla="*/ 345450 h 554"/>
                <a:gd name="T26" fmla="*/ 150318 w 546"/>
                <a:gd name="T27" fmla="*/ 307419 h 554"/>
                <a:gd name="T28" fmla="*/ 124732 w 546"/>
                <a:gd name="T29" fmla="*/ 329604 h 554"/>
                <a:gd name="T30" fmla="*/ 67163 w 546"/>
                <a:gd name="T31" fmla="*/ 351789 h 554"/>
                <a:gd name="T32" fmla="*/ 9595 w 546"/>
                <a:gd name="T33" fmla="*/ 348620 h 554"/>
                <a:gd name="T34" fmla="*/ 3198 w 546"/>
                <a:gd name="T35" fmla="*/ 307419 h 554"/>
                <a:gd name="T36" fmla="*/ 89551 w 546"/>
                <a:gd name="T37" fmla="*/ 282065 h 554"/>
                <a:gd name="T38" fmla="*/ 147120 w 546"/>
                <a:gd name="T39" fmla="*/ 253542 h 554"/>
                <a:gd name="T40" fmla="*/ 124732 w 546"/>
                <a:gd name="T41" fmla="*/ 196495 h 554"/>
                <a:gd name="T42" fmla="*/ 89551 w 546"/>
                <a:gd name="T43" fmla="*/ 148956 h 554"/>
                <a:gd name="T44" fmla="*/ 60767 w 546"/>
                <a:gd name="T45" fmla="*/ 123602 h 554"/>
                <a:gd name="T46" fmla="*/ 38379 w 546"/>
                <a:gd name="T47" fmla="*/ 76062 h 554"/>
                <a:gd name="T48" fmla="*/ 25586 w 546"/>
                <a:gd name="T49" fmla="*/ 28523 h 554"/>
                <a:gd name="T50" fmla="*/ 204689 w 546"/>
                <a:gd name="T51" fmla="*/ 53878 h 554"/>
                <a:gd name="T52" fmla="*/ 297438 w 546"/>
                <a:gd name="T53" fmla="*/ 60216 h 554"/>
                <a:gd name="T54" fmla="*/ 348610 w 546"/>
                <a:gd name="T55" fmla="*/ 25354 h 554"/>
                <a:gd name="T56" fmla="*/ 377395 w 546"/>
                <a:gd name="T57" fmla="*/ 57047 h 554"/>
                <a:gd name="T58" fmla="*/ 412576 w 546"/>
                <a:gd name="T59" fmla="*/ 79232 h 554"/>
                <a:gd name="T60" fmla="*/ 438162 w 546"/>
                <a:gd name="T61" fmla="*/ 101417 h 554"/>
                <a:gd name="T62" fmla="*/ 460549 w 546"/>
                <a:gd name="T63" fmla="*/ 69724 h 554"/>
                <a:gd name="T64" fmla="*/ 476541 w 546"/>
                <a:gd name="T65" fmla="*/ 76062 h 554"/>
                <a:gd name="T66" fmla="*/ 498929 w 546"/>
                <a:gd name="T67" fmla="*/ 177479 h 554"/>
                <a:gd name="T68" fmla="*/ 482937 w 546"/>
                <a:gd name="T69" fmla="*/ 225018 h 554"/>
                <a:gd name="T70" fmla="*/ 450955 w 546"/>
                <a:gd name="T71" fmla="*/ 256711 h 554"/>
                <a:gd name="T72" fmla="*/ 502127 w 546"/>
                <a:gd name="T73" fmla="*/ 250372 h 554"/>
                <a:gd name="T74" fmla="*/ 543704 w 546"/>
                <a:gd name="T75" fmla="*/ 272557 h 554"/>
                <a:gd name="T76" fmla="*/ 617264 w 546"/>
                <a:gd name="T77" fmla="*/ 269388 h 554"/>
                <a:gd name="T78" fmla="*/ 678031 w 546"/>
                <a:gd name="T79" fmla="*/ 294742 h 554"/>
                <a:gd name="T80" fmla="*/ 745194 w 546"/>
                <a:gd name="T81" fmla="*/ 335943 h 554"/>
                <a:gd name="T82" fmla="*/ 777177 w 546"/>
                <a:gd name="T83" fmla="*/ 326435 h 554"/>
                <a:gd name="T84" fmla="*/ 844341 w 546"/>
                <a:gd name="T85" fmla="*/ 301081 h 554"/>
                <a:gd name="T86" fmla="*/ 873125 w 546"/>
                <a:gd name="T87" fmla="*/ 320096 h 554"/>
                <a:gd name="T88" fmla="*/ 847539 w 546"/>
                <a:gd name="T89" fmla="*/ 342281 h 554"/>
                <a:gd name="T90" fmla="*/ 847539 w 546"/>
                <a:gd name="T91" fmla="*/ 396159 h 554"/>
                <a:gd name="T92" fmla="*/ 815556 w 546"/>
                <a:gd name="T93" fmla="*/ 434190 h 554"/>
                <a:gd name="T94" fmla="*/ 786772 w 546"/>
                <a:gd name="T95" fmla="*/ 469052 h 554"/>
                <a:gd name="T96" fmla="*/ 748393 w 546"/>
                <a:gd name="T97" fmla="*/ 478560 h 554"/>
                <a:gd name="T98" fmla="*/ 751591 w 546"/>
                <a:gd name="T99" fmla="*/ 510253 h 554"/>
                <a:gd name="T100" fmla="*/ 748393 w 546"/>
                <a:gd name="T101" fmla="*/ 611669 h 554"/>
                <a:gd name="T102" fmla="*/ 761186 w 546"/>
                <a:gd name="T103" fmla="*/ 792318 h 554"/>
                <a:gd name="T104" fmla="*/ 681229 w 546"/>
                <a:gd name="T105" fmla="*/ 877888 h 554"/>
                <a:gd name="T106" fmla="*/ 610868 w 546"/>
                <a:gd name="T107" fmla="*/ 824010 h 554"/>
                <a:gd name="T108" fmla="*/ 575687 w 546"/>
                <a:gd name="T109" fmla="*/ 728932 h 554"/>
                <a:gd name="T110" fmla="*/ 502127 w 546"/>
                <a:gd name="T111" fmla="*/ 668716 h 554"/>
                <a:gd name="T112" fmla="*/ 412576 w 546"/>
                <a:gd name="T113" fmla="*/ 709917 h 554"/>
                <a:gd name="T114" fmla="*/ 358205 w 546"/>
                <a:gd name="T115" fmla="*/ 757456 h 554"/>
                <a:gd name="T116" fmla="*/ 313429 w 546"/>
                <a:gd name="T117" fmla="*/ 716255 h 554"/>
                <a:gd name="T118" fmla="*/ 281447 w 546"/>
                <a:gd name="T119" fmla="*/ 668716 h 554"/>
                <a:gd name="T120" fmla="*/ 249464 w 546"/>
                <a:gd name="T121" fmla="*/ 611669 h 55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46"/>
                <a:gd name="T184" fmla="*/ 0 h 554"/>
                <a:gd name="T185" fmla="*/ 546 w 546"/>
                <a:gd name="T186" fmla="*/ 554 h 55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46" h="554">
                  <a:moveTo>
                    <a:pt x="146" y="380"/>
                  </a:moveTo>
                  <a:lnTo>
                    <a:pt x="146" y="380"/>
                  </a:lnTo>
                  <a:lnTo>
                    <a:pt x="146" y="376"/>
                  </a:lnTo>
                  <a:lnTo>
                    <a:pt x="142" y="372"/>
                  </a:lnTo>
                  <a:lnTo>
                    <a:pt x="136" y="368"/>
                  </a:lnTo>
                  <a:lnTo>
                    <a:pt x="126" y="366"/>
                  </a:lnTo>
                  <a:lnTo>
                    <a:pt x="100" y="364"/>
                  </a:lnTo>
                  <a:lnTo>
                    <a:pt x="86" y="364"/>
                  </a:lnTo>
                  <a:lnTo>
                    <a:pt x="80" y="362"/>
                  </a:lnTo>
                  <a:lnTo>
                    <a:pt x="76" y="360"/>
                  </a:lnTo>
                  <a:lnTo>
                    <a:pt x="72" y="356"/>
                  </a:lnTo>
                  <a:lnTo>
                    <a:pt x="70" y="352"/>
                  </a:lnTo>
                  <a:lnTo>
                    <a:pt x="70" y="344"/>
                  </a:lnTo>
                  <a:lnTo>
                    <a:pt x="68" y="336"/>
                  </a:lnTo>
                  <a:lnTo>
                    <a:pt x="66" y="332"/>
                  </a:lnTo>
                  <a:lnTo>
                    <a:pt x="64" y="330"/>
                  </a:lnTo>
                  <a:lnTo>
                    <a:pt x="50" y="316"/>
                  </a:lnTo>
                  <a:lnTo>
                    <a:pt x="46" y="310"/>
                  </a:lnTo>
                  <a:lnTo>
                    <a:pt x="46" y="306"/>
                  </a:lnTo>
                  <a:lnTo>
                    <a:pt x="48" y="304"/>
                  </a:lnTo>
                  <a:lnTo>
                    <a:pt x="50" y="300"/>
                  </a:lnTo>
                  <a:lnTo>
                    <a:pt x="54" y="300"/>
                  </a:lnTo>
                  <a:lnTo>
                    <a:pt x="58" y="300"/>
                  </a:lnTo>
                  <a:lnTo>
                    <a:pt x="64" y="304"/>
                  </a:lnTo>
                  <a:lnTo>
                    <a:pt x="72" y="312"/>
                  </a:lnTo>
                  <a:lnTo>
                    <a:pt x="76" y="314"/>
                  </a:lnTo>
                  <a:lnTo>
                    <a:pt x="80" y="314"/>
                  </a:lnTo>
                  <a:lnTo>
                    <a:pt x="82" y="314"/>
                  </a:lnTo>
                  <a:lnTo>
                    <a:pt x="84" y="310"/>
                  </a:lnTo>
                  <a:lnTo>
                    <a:pt x="84" y="306"/>
                  </a:lnTo>
                  <a:lnTo>
                    <a:pt x="84" y="298"/>
                  </a:lnTo>
                  <a:lnTo>
                    <a:pt x="80" y="286"/>
                  </a:lnTo>
                  <a:lnTo>
                    <a:pt x="76" y="280"/>
                  </a:lnTo>
                  <a:lnTo>
                    <a:pt x="70" y="278"/>
                  </a:lnTo>
                  <a:lnTo>
                    <a:pt x="64" y="280"/>
                  </a:lnTo>
                  <a:lnTo>
                    <a:pt x="58" y="282"/>
                  </a:lnTo>
                  <a:lnTo>
                    <a:pt x="52" y="282"/>
                  </a:lnTo>
                  <a:lnTo>
                    <a:pt x="48" y="280"/>
                  </a:lnTo>
                  <a:lnTo>
                    <a:pt x="46" y="274"/>
                  </a:lnTo>
                  <a:lnTo>
                    <a:pt x="44" y="270"/>
                  </a:lnTo>
                  <a:lnTo>
                    <a:pt x="44" y="266"/>
                  </a:lnTo>
                  <a:lnTo>
                    <a:pt x="46" y="262"/>
                  </a:lnTo>
                  <a:lnTo>
                    <a:pt x="48" y="258"/>
                  </a:lnTo>
                  <a:lnTo>
                    <a:pt x="54" y="250"/>
                  </a:lnTo>
                  <a:lnTo>
                    <a:pt x="54" y="246"/>
                  </a:lnTo>
                  <a:lnTo>
                    <a:pt x="52" y="244"/>
                  </a:lnTo>
                  <a:lnTo>
                    <a:pt x="52" y="238"/>
                  </a:lnTo>
                  <a:lnTo>
                    <a:pt x="52" y="234"/>
                  </a:lnTo>
                  <a:lnTo>
                    <a:pt x="54" y="232"/>
                  </a:lnTo>
                  <a:lnTo>
                    <a:pt x="60" y="232"/>
                  </a:lnTo>
                  <a:lnTo>
                    <a:pt x="68" y="232"/>
                  </a:lnTo>
                  <a:lnTo>
                    <a:pt x="76" y="230"/>
                  </a:lnTo>
                  <a:lnTo>
                    <a:pt x="82" y="226"/>
                  </a:lnTo>
                  <a:lnTo>
                    <a:pt x="88" y="218"/>
                  </a:lnTo>
                  <a:lnTo>
                    <a:pt x="96" y="202"/>
                  </a:lnTo>
                  <a:lnTo>
                    <a:pt x="98" y="198"/>
                  </a:lnTo>
                  <a:lnTo>
                    <a:pt x="94" y="194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2" y="202"/>
                  </a:lnTo>
                  <a:lnTo>
                    <a:pt x="78" y="208"/>
                  </a:lnTo>
                  <a:lnTo>
                    <a:pt x="74" y="214"/>
                  </a:lnTo>
                  <a:lnTo>
                    <a:pt x="66" y="216"/>
                  </a:lnTo>
                  <a:lnTo>
                    <a:pt x="56" y="218"/>
                  </a:lnTo>
                  <a:lnTo>
                    <a:pt x="42" y="222"/>
                  </a:lnTo>
                  <a:lnTo>
                    <a:pt x="26" y="226"/>
                  </a:lnTo>
                  <a:lnTo>
                    <a:pt x="20" y="226"/>
                  </a:lnTo>
                  <a:lnTo>
                    <a:pt x="14" y="226"/>
                  </a:lnTo>
                  <a:lnTo>
                    <a:pt x="10" y="224"/>
                  </a:lnTo>
                  <a:lnTo>
                    <a:pt x="6" y="220"/>
                  </a:lnTo>
                  <a:lnTo>
                    <a:pt x="2" y="208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2" y="194"/>
                  </a:lnTo>
                  <a:lnTo>
                    <a:pt x="6" y="192"/>
                  </a:lnTo>
                  <a:lnTo>
                    <a:pt x="12" y="190"/>
                  </a:lnTo>
                  <a:lnTo>
                    <a:pt x="56" y="178"/>
                  </a:lnTo>
                  <a:lnTo>
                    <a:pt x="74" y="174"/>
                  </a:lnTo>
                  <a:lnTo>
                    <a:pt x="86" y="170"/>
                  </a:lnTo>
                  <a:lnTo>
                    <a:pt x="90" y="168"/>
                  </a:lnTo>
                  <a:lnTo>
                    <a:pt x="90" y="164"/>
                  </a:lnTo>
                  <a:lnTo>
                    <a:pt x="92" y="160"/>
                  </a:lnTo>
                  <a:lnTo>
                    <a:pt x="90" y="156"/>
                  </a:lnTo>
                  <a:lnTo>
                    <a:pt x="86" y="140"/>
                  </a:lnTo>
                  <a:lnTo>
                    <a:pt x="78" y="124"/>
                  </a:lnTo>
                  <a:lnTo>
                    <a:pt x="74" y="116"/>
                  </a:lnTo>
                  <a:lnTo>
                    <a:pt x="68" y="110"/>
                  </a:lnTo>
                  <a:lnTo>
                    <a:pt x="62" y="102"/>
                  </a:lnTo>
                  <a:lnTo>
                    <a:pt x="56" y="94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2" y="78"/>
                  </a:lnTo>
                  <a:lnTo>
                    <a:pt x="38" y="78"/>
                  </a:lnTo>
                  <a:lnTo>
                    <a:pt x="34" y="74"/>
                  </a:lnTo>
                  <a:lnTo>
                    <a:pt x="32" y="70"/>
                  </a:lnTo>
                  <a:lnTo>
                    <a:pt x="28" y="62"/>
                  </a:lnTo>
                  <a:lnTo>
                    <a:pt x="24" y="48"/>
                  </a:lnTo>
                  <a:lnTo>
                    <a:pt x="18" y="40"/>
                  </a:lnTo>
                  <a:lnTo>
                    <a:pt x="14" y="34"/>
                  </a:lnTo>
                  <a:lnTo>
                    <a:pt x="14" y="28"/>
                  </a:lnTo>
                  <a:lnTo>
                    <a:pt x="16" y="18"/>
                  </a:lnTo>
                  <a:lnTo>
                    <a:pt x="22" y="0"/>
                  </a:lnTo>
                  <a:lnTo>
                    <a:pt x="58" y="16"/>
                  </a:lnTo>
                  <a:lnTo>
                    <a:pt x="90" y="18"/>
                  </a:lnTo>
                  <a:lnTo>
                    <a:pt x="114" y="34"/>
                  </a:lnTo>
                  <a:lnTo>
                    <a:pt x="128" y="34"/>
                  </a:lnTo>
                  <a:lnTo>
                    <a:pt x="138" y="52"/>
                  </a:lnTo>
                  <a:lnTo>
                    <a:pt x="168" y="58"/>
                  </a:lnTo>
                  <a:lnTo>
                    <a:pt x="178" y="48"/>
                  </a:lnTo>
                  <a:lnTo>
                    <a:pt x="186" y="38"/>
                  </a:lnTo>
                  <a:lnTo>
                    <a:pt x="196" y="30"/>
                  </a:lnTo>
                  <a:lnTo>
                    <a:pt x="212" y="18"/>
                  </a:lnTo>
                  <a:lnTo>
                    <a:pt x="216" y="16"/>
                  </a:lnTo>
                  <a:lnTo>
                    <a:pt x="218" y="16"/>
                  </a:lnTo>
                  <a:lnTo>
                    <a:pt x="220" y="18"/>
                  </a:lnTo>
                  <a:lnTo>
                    <a:pt x="224" y="22"/>
                  </a:lnTo>
                  <a:lnTo>
                    <a:pt x="230" y="32"/>
                  </a:lnTo>
                  <a:lnTo>
                    <a:pt x="236" y="36"/>
                  </a:lnTo>
                  <a:lnTo>
                    <a:pt x="240" y="38"/>
                  </a:lnTo>
                  <a:lnTo>
                    <a:pt x="252" y="40"/>
                  </a:lnTo>
                  <a:lnTo>
                    <a:pt x="256" y="44"/>
                  </a:lnTo>
                  <a:lnTo>
                    <a:pt x="258" y="50"/>
                  </a:lnTo>
                  <a:lnTo>
                    <a:pt x="262" y="56"/>
                  </a:lnTo>
                  <a:lnTo>
                    <a:pt x="268" y="62"/>
                  </a:lnTo>
                  <a:lnTo>
                    <a:pt x="270" y="64"/>
                  </a:lnTo>
                  <a:lnTo>
                    <a:pt x="274" y="64"/>
                  </a:lnTo>
                  <a:lnTo>
                    <a:pt x="276" y="62"/>
                  </a:lnTo>
                  <a:lnTo>
                    <a:pt x="280" y="58"/>
                  </a:lnTo>
                  <a:lnTo>
                    <a:pt x="282" y="50"/>
                  </a:lnTo>
                  <a:lnTo>
                    <a:pt x="288" y="44"/>
                  </a:lnTo>
                  <a:lnTo>
                    <a:pt x="290" y="42"/>
                  </a:lnTo>
                  <a:lnTo>
                    <a:pt x="292" y="42"/>
                  </a:lnTo>
                  <a:lnTo>
                    <a:pt x="294" y="44"/>
                  </a:lnTo>
                  <a:lnTo>
                    <a:pt x="298" y="48"/>
                  </a:lnTo>
                  <a:lnTo>
                    <a:pt x="302" y="56"/>
                  </a:lnTo>
                  <a:lnTo>
                    <a:pt x="306" y="68"/>
                  </a:lnTo>
                  <a:lnTo>
                    <a:pt x="310" y="98"/>
                  </a:lnTo>
                  <a:lnTo>
                    <a:pt x="312" y="112"/>
                  </a:lnTo>
                  <a:lnTo>
                    <a:pt x="312" y="124"/>
                  </a:lnTo>
                  <a:lnTo>
                    <a:pt x="308" y="134"/>
                  </a:lnTo>
                  <a:lnTo>
                    <a:pt x="306" y="138"/>
                  </a:lnTo>
                  <a:lnTo>
                    <a:pt x="302" y="142"/>
                  </a:lnTo>
                  <a:lnTo>
                    <a:pt x="286" y="152"/>
                  </a:lnTo>
                  <a:lnTo>
                    <a:pt x="280" y="156"/>
                  </a:lnTo>
                  <a:lnTo>
                    <a:pt x="280" y="160"/>
                  </a:lnTo>
                  <a:lnTo>
                    <a:pt x="282" y="162"/>
                  </a:lnTo>
                  <a:lnTo>
                    <a:pt x="286" y="166"/>
                  </a:lnTo>
                  <a:lnTo>
                    <a:pt x="292" y="166"/>
                  </a:lnTo>
                  <a:lnTo>
                    <a:pt x="306" y="160"/>
                  </a:lnTo>
                  <a:lnTo>
                    <a:pt x="314" y="158"/>
                  </a:lnTo>
                  <a:lnTo>
                    <a:pt x="320" y="158"/>
                  </a:lnTo>
                  <a:lnTo>
                    <a:pt x="328" y="160"/>
                  </a:lnTo>
                  <a:lnTo>
                    <a:pt x="334" y="166"/>
                  </a:lnTo>
                  <a:lnTo>
                    <a:pt x="340" y="172"/>
                  </a:lnTo>
                  <a:lnTo>
                    <a:pt x="348" y="176"/>
                  </a:lnTo>
                  <a:lnTo>
                    <a:pt x="354" y="178"/>
                  </a:lnTo>
                  <a:lnTo>
                    <a:pt x="366" y="176"/>
                  </a:lnTo>
                  <a:lnTo>
                    <a:pt x="386" y="170"/>
                  </a:lnTo>
                  <a:lnTo>
                    <a:pt x="394" y="172"/>
                  </a:lnTo>
                  <a:lnTo>
                    <a:pt x="404" y="176"/>
                  </a:lnTo>
                  <a:lnTo>
                    <a:pt x="412" y="182"/>
                  </a:lnTo>
                  <a:lnTo>
                    <a:pt x="424" y="186"/>
                  </a:lnTo>
                  <a:lnTo>
                    <a:pt x="434" y="192"/>
                  </a:lnTo>
                  <a:lnTo>
                    <a:pt x="446" y="198"/>
                  </a:lnTo>
                  <a:lnTo>
                    <a:pt x="456" y="206"/>
                  </a:lnTo>
                  <a:lnTo>
                    <a:pt x="466" y="212"/>
                  </a:lnTo>
                  <a:lnTo>
                    <a:pt x="470" y="212"/>
                  </a:lnTo>
                  <a:lnTo>
                    <a:pt x="476" y="212"/>
                  </a:lnTo>
                  <a:lnTo>
                    <a:pt x="480" y="210"/>
                  </a:lnTo>
                  <a:lnTo>
                    <a:pt x="486" y="206"/>
                  </a:lnTo>
                  <a:lnTo>
                    <a:pt x="504" y="192"/>
                  </a:lnTo>
                  <a:lnTo>
                    <a:pt x="512" y="190"/>
                  </a:lnTo>
                  <a:lnTo>
                    <a:pt x="518" y="190"/>
                  </a:lnTo>
                  <a:lnTo>
                    <a:pt x="528" y="190"/>
                  </a:lnTo>
                  <a:lnTo>
                    <a:pt x="534" y="188"/>
                  </a:lnTo>
                  <a:lnTo>
                    <a:pt x="540" y="190"/>
                  </a:lnTo>
                  <a:lnTo>
                    <a:pt x="544" y="196"/>
                  </a:lnTo>
                  <a:lnTo>
                    <a:pt x="546" y="202"/>
                  </a:lnTo>
                  <a:lnTo>
                    <a:pt x="544" y="204"/>
                  </a:lnTo>
                  <a:lnTo>
                    <a:pt x="540" y="206"/>
                  </a:lnTo>
                  <a:lnTo>
                    <a:pt x="534" y="208"/>
                  </a:lnTo>
                  <a:lnTo>
                    <a:pt x="530" y="216"/>
                  </a:lnTo>
                  <a:lnTo>
                    <a:pt x="526" y="222"/>
                  </a:lnTo>
                  <a:lnTo>
                    <a:pt x="526" y="230"/>
                  </a:lnTo>
                  <a:lnTo>
                    <a:pt x="528" y="240"/>
                  </a:lnTo>
                  <a:lnTo>
                    <a:pt x="530" y="250"/>
                  </a:lnTo>
                  <a:lnTo>
                    <a:pt x="530" y="258"/>
                  </a:lnTo>
                  <a:lnTo>
                    <a:pt x="526" y="264"/>
                  </a:lnTo>
                  <a:lnTo>
                    <a:pt x="518" y="270"/>
                  </a:lnTo>
                  <a:lnTo>
                    <a:pt x="510" y="274"/>
                  </a:lnTo>
                  <a:lnTo>
                    <a:pt x="506" y="278"/>
                  </a:lnTo>
                  <a:lnTo>
                    <a:pt x="500" y="288"/>
                  </a:lnTo>
                  <a:lnTo>
                    <a:pt x="496" y="292"/>
                  </a:lnTo>
                  <a:lnTo>
                    <a:pt x="492" y="296"/>
                  </a:lnTo>
                  <a:lnTo>
                    <a:pt x="486" y="298"/>
                  </a:lnTo>
                  <a:lnTo>
                    <a:pt x="476" y="300"/>
                  </a:lnTo>
                  <a:lnTo>
                    <a:pt x="472" y="302"/>
                  </a:lnTo>
                  <a:lnTo>
                    <a:pt x="468" y="302"/>
                  </a:lnTo>
                  <a:lnTo>
                    <a:pt x="466" y="306"/>
                  </a:lnTo>
                  <a:lnTo>
                    <a:pt x="466" y="308"/>
                  </a:lnTo>
                  <a:lnTo>
                    <a:pt x="466" y="316"/>
                  </a:lnTo>
                  <a:lnTo>
                    <a:pt x="470" y="322"/>
                  </a:lnTo>
                  <a:lnTo>
                    <a:pt x="474" y="330"/>
                  </a:lnTo>
                  <a:lnTo>
                    <a:pt x="478" y="336"/>
                  </a:lnTo>
                  <a:lnTo>
                    <a:pt x="484" y="340"/>
                  </a:lnTo>
                  <a:lnTo>
                    <a:pt x="492" y="342"/>
                  </a:lnTo>
                  <a:lnTo>
                    <a:pt x="468" y="386"/>
                  </a:lnTo>
                  <a:lnTo>
                    <a:pt x="470" y="416"/>
                  </a:lnTo>
                  <a:lnTo>
                    <a:pt x="496" y="434"/>
                  </a:lnTo>
                  <a:lnTo>
                    <a:pt x="498" y="464"/>
                  </a:lnTo>
                  <a:lnTo>
                    <a:pt x="476" y="472"/>
                  </a:lnTo>
                  <a:lnTo>
                    <a:pt x="476" y="500"/>
                  </a:lnTo>
                  <a:lnTo>
                    <a:pt x="442" y="520"/>
                  </a:lnTo>
                  <a:lnTo>
                    <a:pt x="438" y="530"/>
                  </a:lnTo>
                  <a:lnTo>
                    <a:pt x="438" y="552"/>
                  </a:lnTo>
                  <a:lnTo>
                    <a:pt x="426" y="554"/>
                  </a:lnTo>
                  <a:lnTo>
                    <a:pt x="416" y="552"/>
                  </a:lnTo>
                  <a:lnTo>
                    <a:pt x="406" y="546"/>
                  </a:lnTo>
                  <a:lnTo>
                    <a:pt x="388" y="534"/>
                  </a:lnTo>
                  <a:lnTo>
                    <a:pt x="382" y="520"/>
                  </a:lnTo>
                  <a:lnTo>
                    <a:pt x="370" y="516"/>
                  </a:lnTo>
                  <a:lnTo>
                    <a:pt x="364" y="500"/>
                  </a:lnTo>
                  <a:lnTo>
                    <a:pt x="350" y="494"/>
                  </a:lnTo>
                  <a:lnTo>
                    <a:pt x="350" y="472"/>
                  </a:lnTo>
                  <a:lnTo>
                    <a:pt x="360" y="460"/>
                  </a:lnTo>
                  <a:lnTo>
                    <a:pt x="354" y="444"/>
                  </a:lnTo>
                  <a:lnTo>
                    <a:pt x="340" y="428"/>
                  </a:lnTo>
                  <a:lnTo>
                    <a:pt x="346" y="420"/>
                  </a:lnTo>
                  <a:lnTo>
                    <a:pt x="332" y="408"/>
                  </a:lnTo>
                  <a:lnTo>
                    <a:pt x="314" y="422"/>
                  </a:lnTo>
                  <a:lnTo>
                    <a:pt x="302" y="418"/>
                  </a:lnTo>
                  <a:lnTo>
                    <a:pt x="282" y="436"/>
                  </a:lnTo>
                  <a:lnTo>
                    <a:pt x="282" y="448"/>
                  </a:lnTo>
                  <a:lnTo>
                    <a:pt x="266" y="458"/>
                  </a:lnTo>
                  <a:lnTo>
                    <a:pt x="258" y="448"/>
                  </a:lnTo>
                  <a:lnTo>
                    <a:pt x="240" y="486"/>
                  </a:lnTo>
                  <a:lnTo>
                    <a:pt x="236" y="484"/>
                  </a:lnTo>
                  <a:lnTo>
                    <a:pt x="224" y="478"/>
                  </a:lnTo>
                  <a:lnTo>
                    <a:pt x="210" y="470"/>
                  </a:lnTo>
                  <a:lnTo>
                    <a:pt x="202" y="464"/>
                  </a:lnTo>
                  <a:lnTo>
                    <a:pt x="196" y="452"/>
                  </a:lnTo>
                  <a:lnTo>
                    <a:pt x="190" y="436"/>
                  </a:lnTo>
                  <a:lnTo>
                    <a:pt x="188" y="430"/>
                  </a:lnTo>
                  <a:lnTo>
                    <a:pt x="182" y="426"/>
                  </a:lnTo>
                  <a:lnTo>
                    <a:pt x="176" y="422"/>
                  </a:lnTo>
                  <a:lnTo>
                    <a:pt x="172" y="418"/>
                  </a:lnTo>
                  <a:lnTo>
                    <a:pt x="166" y="406"/>
                  </a:lnTo>
                  <a:lnTo>
                    <a:pt x="160" y="392"/>
                  </a:lnTo>
                  <a:lnTo>
                    <a:pt x="156" y="386"/>
                  </a:lnTo>
                  <a:lnTo>
                    <a:pt x="146" y="38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5" name="Freeform 50"/>
            <p:cNvSpPr>
              <a:spLocks/>
            </p:cNvSpPr>
            <p:nvPr/>
          </p:nvSpPr>
          <p:spPr bwMode="auto">
            <a:xfrm>
              <a:off x="5867394" y="1914525"/>
              <a:ext cx="1293812" cy="812800"/>
            </a:xfrm>
            <a:custGeom>
              <a:avLst/>
              <a:gdLst>
                <a:gd name="T0" fmla="*/ 95838 w 810"/>
                <a:gd name="T1" fmla="*/ 493373 h 514"/>
                <a:gd name="T2" fmla="*/ 0 w 810"/>
                <a:gd name="T3" fmla="*/ 632529 h 514"/>
                <a:gd name="T4" fmla="*/ 28751 w 810"/>
                <a:gd name="T5" fmla="*/ 638854 h 514"/>
                <a:gd name="T6" fmla="*/ 51114 w 810"/>
                <a:gd name="T7" fmla="*/ 673643 h 514"/>
                <a:gd name="T8" fmla="*/ 115006 w 810"/>
                <a:gd name="T9" fmla="*/ 717920 h 514"/>
                <a:gd name="T10" fmla="*/ 159730 w 810"/>
                <a:gd name="T11" fmla="*/ 740059 h 514"/>
                <a:gd name="T12" fmla="*/ 214038 w 810"/>
                <a:gd name="T13" fmla="*/ 768523 h 514"/>
                <a:gd name="T14" fmla="*/ 255568 w 810"/>
                <a:gd name="T15" fmla="*/ 784336 h 514"/>
                <a:gd name="T16" fmla="*/ 303487 w 810"/>
                <a:gd name="T17" fmla="*/ 790661 h 514"/>
                <a:gd name="T18" fmla="*/ 354600 w 810"/>
                <a:gd name="T19" fmla="*/ 812800 h 514"/>
                <a:gd name="T20" fmla="*/ 335433 w 810"/>
                <a:gd name="T21" fmla="*/ 711595 h 514"/>
                <a:gd name="T22" fmla="*/ 421687 w 810"/>
                <a:gd name="T23" fmla="*/ 683131 h 514"/>
                <a:gd name="T24" fmla="*/ 565444 w 810"/>
                <a:gd name="T25" fmla="*/ 635692 h 514"/>
                <a:gd name="T26" fmla="*/ 817817 w 810"/>
                <a:gd name="T27" fmla="*/ 736896 h 514"/>
                <a:gd name="T28" fmla="*/ 910460 w 810"/>
                <a:gd name="T29" fmla="*/ 695782 h 514"/>
                <a:gd name="T30" fmla="*/ 996715 w 810"/>
                <a:gd name="T31" fmla="*/ 654668 h 514"/>
                <a:gd name="T32" fmla="*/ 1223531 w 810"/>
                <a:gd name="T33" fmla="*/ 613553 h 514"/>
                <a:gd name="T34" fmla="*/ 1293812 w 810"/>
                <a:gd name="T35" fmla="*/ 581927 h 514"/>
                <a:gd name="T36" fmla="*/ 1220336 w 810"/>
                <a:gd name="T37" fmla="*/ 382680 h 514"/>
                <a:gd name="T38" fmla="*/ 1169223 w 810"/>
                <a:gd name="T39" fmla="*/ 395331 h 514"/>
                <a:gd name="T40" fmla="*/ 1092552 w 810"/>
                <a:gd name="T41" fmla="*/ 344728 h 514"/>
                <a:gd name="T42" fmla="*/ 1092552 w 810"/>
                <a:gd name="T43" fmla="*/ 303614 h 514"/>
                <a:gd name="T44" fmla="*/ 1079774 w 810"/>
                <a:gd name="T45" fmla="*/ 256174 h 514"/>
                <a:gd name="T46" fmla="*/ 1063801 w 810"/>
                <a:gd name="T47" fmla="*/ 202409 h 514"/>
                <a:gd name="T48" fmla="*/ 1041439 w 810"/>
                <a:gd name="T49" fmla="*/ 164458 h 514"/>
                <a:gd name="T50" fmla="*/ 1009493 w 810"/>
                <a:gd name="T51" fmla="*/ 167620 h 514"/>
                <a:gd name="T52" fmla="*/ 961574 w 810"/>
                <a:gd name="T53" fmla="*/ 186596 h 514"/>
                <a:gd name="T54" fmla="*/ 910460 w 810"/>
                <a:gd name="T55" fmla="*/ 158132 h 514"/>
                <a:gd name="T56" fmla="*/ 852958 w 810"/>
                <a:gd name="T57" fmla="*/ 117018 h 514"/>
                <a:gd name="T58" fmla="*/ 814622 w 810"/>
                <a:gd name="T59" fmla="*/ 85391 h 514"/>
                <a:gd name="T60" fmla="*/ 798649 w 810"/>
                <a:gd name="T61" fmla="*/ 41114 h 514"/>
                <a:gd name="T62" fmla="*/ 773093 w 810"/>
                <a:gd name="T63" fmla="*/ 12651 h 514"/>
                <a:gd name="T64" fmla="*/ 747536 w 810"/>
                <a:gd name="T65" fmla="*/ 25301 h 514"/>
                <a:gd name="T66" fmla="*/ 715590 w 810"/>
                <a:gd name="T67" fmla="*/ 44277 h 514"/>
                <a:gd name="T68" fmla="*/ 648503 w 810"/>
                <a:gd name="T69" fmla="*/ 44277 h 514"/>
                <a:gd name="T70" fmla="*/ 616557 w 810"/>
                <a:gd name="T71" fmla="*/ 75903 h 514"/>
                <a:gd name="T72" fmla="*/ 594195 w 810"/>
                <a:gd name="T73" fmla="*/ 88554 h 514"/>
                <a:gd name="T74" fmla="*/ 613363 w 810"/>
                <a:gd name="T75" fmla="*/ 34789 h 514"/>
                <a:gd name="T76" fmla="*/ 699617 w 810"/>
                <a:gd name="T77" fmla="*/ 22139 h 514"/>
                <a:gd name="T78" fmla="*/ 728368 w 810"/>
                <a:gd name="T79" fmla="*/ 9488 h 514"/>
                <a:gd name="T80" fmla="*/ 661282 w 810"/>
                <a:gd name="T81" fmla="*/ 3163 h 514"/>
                <a:gd name="T82" fmla="*/ 594195 w 810"/>
                <a:gd name="T83" fmla="*/ 25301 h 514"/>
                <a:gd name="T84" fmla="*/ 536692 w 810"/>
                <a:gd name="T85" fmla="*/ 120181 h 514"/>
                <a:gd name="T86" fmla="*/ 501552 w 810"/>
                <a:gd name="T87" fmla="*/ 158132 h 514"/>
                <a:gd name="T88" fmla="*/ 424882 w 810"/>
                <a:gd name="T89" fmla="*/ 183433 h 514"/>
                <a:gd name="T90" fmla="*/ 364184 w 810"/>
                <a:gd name="T91" fmla="*/ 183433 h 514"/>
                <a:gd name="T92" fmla="*/ 300292 w 810"/>
                <a:gd name="T93" fmla="*/ 224548 h 514"/>
                <a:gd name="T94" fmla="*/ 316265 w 810"/>
                <a:gd name="T95" fmla="*/ 246686 h 514"/>
                <a:gd name="T96" fmla="*/ 297098 w 810"/>
                <a:gd name="T97" fmla="*/ 303614 h 514"/>
                <a:gd name="T98" fmla="*/ 271541 w 810"/>
                <a:gd name="T99" fmla="*/ 332078 h 514"/>
                <a:gd name="T100" fmla="*/ 226816 w 810"/>
                <a:gd name="T101" fmla="*/ 300451 h 514"/>
                <a:gd name="T102" fmla="*/ 172508 w 810"/>
                <a:gd name="T103" fmla="*/ 265662 h 514"/>
                <a:gd name="T104" fmla="*/ 99033 w 810"/>
                <a:gd name="T105" fmla="*/ 297289 h 5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10"/>
                <a:gd name="T160" fmla="*/ 0 h 514"/>
                <a:gd name="T161" fmla="*/ 810 w 810"/>
                <a:gd name="T162" fmla="*/ 514 h 5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10" h="514">
                  <a:moveTo>
                    <a:pt x="54" y="190"/>
                  </a:moveTo>
                  <a:lnTo>
                    <a:pt x="30" y="234"/>
                  </a:lnTo>
                  <a:lnTo>
                    <a:pt x="32" y="264"/>
                  </a:lnTo>
                  <a:lnTo>
                    <a:pt x="58" y="282"/>
                  </a:lnTo>
                  <a:lnTo>
                    <a:pt x="60" y="312"/>
                  </a:lnTo>
                  <a:lnTo>
                    <a:pt x="38" y="320"/>
                  </a:lnTo>
                  <a:lnTo>
                    <a:pt x="38" y="348"/>
                  </a:lnTo>
                  <a:lnTo>
                    <a:pt x="4" y="368"/>
                  </a:lnTo>
                  <a:lnTo>
                    <a:pt x="0" y="378"/>
                  </a:lnTo>
                  <a:lnTo>
                    <a:pt x="0" y="400"/>
                  </a:lnTo>
                  <a:lnTo>
                    <a:pt x="4" y="400"/>
                  </a:lnTo>
                  <a:lnTo>
                    <a:pt x="10" y="402"/>
                  </a:lnTo>
                  <a:lnTo>
                    <a:pt x="18" y="404"/>
                  </a:lnTo>
                  <a:lnTo>
                    <a:pt x="22" y="406"/>
                  </a:lnTo>
                  <a:lnTo>
                    <a:pt x="24" y="410"/>
                  </a:lnTo>
                  <a:lnTo>
                    <a:pt x="26" y="416"/>
                  </a:lnTo>
                  <a:lnTo>
                    <a:pt x="32" y="426"/>
                  </a:lnTo>
                  <a:lnTo>
                    <a:pt x="36" y="430"/>
                  </a:lnTo>
                  <a:lnTo>
                    <a:pt x="40" y="432"/>
                  </a:lnTo>
                  <a:lnTo>
                    <a:pt x="56" y="440"/>
                  </a:lnTo>
                  <a:lnTo>
                    <a:pt x="72" y="454"/>
                  </a:lnTo>
                  <a:lnTo>
                    <a:pt x="86" y="466"/>
                  </a:lnTo>
                  <a:lnTo>
                    <a:pt x="94" y="468"/>
                  </a:lnTo>
                  <a:lnTo>
                    <a:pt x="100" y="468"/>
                  </a:lnTo>
                  <a:lnTo>
                    <a:pt x="112" y="466"/>
                  </a:lnTo>
                  <a:lnTo>
                    <a:pt x="118" y="466"/>
                  </a:lnTo>
                  <a:lnTo>
                    <a:pt x="122" y="470"/>
                  </a:lnTo>
                  <a:lnTo>
                    <a:pt x="134" y="486"/>
                  </a:lnTo>
                  <a:lnTo>
                    <a:pt x="142" y="494"/>
                  </a:lnTo>
                  <a:lnTo>
                    <a:pt x="146" y="496"/>
                  </a:lnTo>
                  <a:lnTo>
                    <a:pt x="152" y="496"/>
                  </a:lnTo>
                  <a:lnTo>
                    <a:pt x="160" y="496"/>
                  </a:lnTo>
                  <a:lnTo>
                    <a:pt x="168" y="492"/>
                  </a:lnTo>
                  <a:lnTo>
                    <a:pt x="174" y="492"/>
                  </a:lnTo>
                  <a:lnTo>
                    <a:pt x="178" y="494"/>
                  </a:lnTo>
                  <a:lnTo>
                    <a:pt x="190" y="500"/>
                  </a:lnTo>
                  <a:lnTo>
                    <a:pt x="206" y="506"/>
                  </a:lnTo>
                  <a:lnTo>
                    <a:pt x="218" y="510"/>
                  </a:lnTo>
                  <a:lnTo>
                    <a:pt x="222" y="512"/>
                  </a:lnTo>
                  <a:lnTo>
                    <a:pt x="222" y="514"/>
                  </a:lnTo>
                  <a:lnTo>
                    <a:pt x="236" y="504"/>
                  </a:lnTo>
                  <a:lnTo>
                    <a:pt x="224" y="486"/>
                  </a:lnTo>
                  <a:lnTo>
                    <a:pt x="212" y="480"/>
                  </a:lnTo>
                  <a:lnTo>
                    <a:pt x="206" y="462"/>
                  </a:lnTo>
                  <a:lnTo>
                    <a:pt x="210" y="450"/>
                  </a:lnTo>
                  <a:lnTo>
                    <a:pt x="234" y="438"/>
                  </a:lnTo>
                  <a:lnTo>
                    <a:pt x="240" y="442"/>
                  </a:lnTo>
                  <a:lnTo>
                    <a:pt x="252" y="422"/>
                  </a:lnTo>
                  <a:lnTo>
                    <a:pt x="262" y="424"/>
                  </a:lnTo>
                  <a:lnTo>
                    <a:pt x="264" y="432"/>
                  </a:lnTo>
                  <a:lnTo>
                    <a:pt x="308" y="416"/>
                  </a:lnTo>
                  <a:lnTo>
                    <a:pt x="308" y="404"/>
                  </a:lnTo>
                  <a:lnTo>
                    <a:pt x="322" y="394"/>
                  </a:lnTo>
                  <a:lnTo>
                    <a:pt x="330" y="400"/>
                  </a:lnTo>
                  <a:lnTo>
                    <a:pt x="354" y="402"/>
                  </a:lnTo>
                  <a:lnTo>
                    <a:pt x="396" y="432"/>
                  </a:lnTo>
                  <a:lnTo>
                    <a:pt x="442" y="436"/>
                  </a:lnTo>
                  <a:lnTo>
                    <a:pt x="484" y="458"/>
                  </a:lnTo>
                  <a:lnTo>
                    <a:pt x="508" y="454"/>
                  </a:lnTo>
                  <a:lnTo>
                    <a:pt x="512" y="466"/>
                  </a:lnTo>
                  <a:lnTo>
                    <a:pt x="538" y="456"/>
                  </a:lnTo>
                  <a:lnTo>
                    <a:pt x="540" y="438"/>
                  </a:lnTo>
                  <a:lnTo>
                    <a:pt x="556" y="432"/>
                  </a:lnTo>
                  <a:lnTo>
                    <a:pt x="560" y="438"/>
                  </a:lnTo>
                  <a:lnTo>
                    <a:pt x="570" y="440"/>
                  </a:lnTo>
                  <a:lnTo>
                    <a:pt x="576" y="428"/>
                  </a:lnTo>
                  <a:lnTo>
                    <a:pt x="594" y="424"/>
                  </a:lnTo>
                  <a:lnTo>
                    <a:pt x="604" y="430"/>
                  </a:lnTo>
                  <a:lnTo>
                    <a:pt x="614" y="416"/>
                  </a:lnTo>
                  <a:lnTo>
                    <a:pt x="624" y="414"/>
                  </a:lnTo>
                  <a:lnTo>
                    <a:pt x="640" y="372"/>
                  </a:lnTo>
                  <a:lnTo>
                    <a:pt x="700" y="374"/>
                  </a:lnTo>
                  <a:lnTo>
                    <a:pt x="714" y="352"/>
                  </a:lnTo>
                  <a:lnTo>
                    <a:pt x="732" y="352"/>
                  </a:lnTo>
                  <a:lnTo>
                    <a:pt x="766" y="388"/>
                  </a:lnTo>
                  <a:lnTo>
                    <a:pt x="764" y="414"/>
                  </a:lnTo>
                  <a:lnTo>
                    <a:pt x="780" y="414"/>
                  </a:lnTo>
                  <a:lnTo>
                    <a:pt x="796" y="384"/>
                  </a:lnTo>
                  <a:lnTo>
                    <a:pt x="808" y="384"/>
                  </a:lnTo>
                  <a:lnTo>
                    <a:pt x="810" y="368"/>
                  </a:lnTo>
                  <a:lnTo>
                    <a:pt x="802" y="334"/>
                  </a:lnTo>
                  <a:lnTo>
                    <a:pt x="792" y="328"/>
                  </a:lnTo>
                  <a:lnTo>
                    <a:pt x="764" y="242"/>
                  </a:lnTo>
                  <a:lnTo>
                    <a:pt x="762" y="240"/>
                  </a:lnTo>
                  <a:lnTo>
                    <a:pt x="758" y="240"/>
                  </a:lnTo>
                  <a:lnTo>
                    <a:pt x="748" y="246"/>
                  </a:lnTo>
                  <a:lnTo>
                    <a:pt x="738" y="250"/>
                  </a:lnTo>
                  <a:lnTo>
                    <a:pt x="732" y="250"/>
                  </a:lnTo>
                  <a:lnTo>
                    <a:pt x="726" y="248"/>
                  </a:lnTo>
                  <a:lnTo>
                    <a:pt x="706" y="232"/>
                  </a:lnTo>
                  <a:lnTo>
                    <a:pt x="684" y="218"/>
                  </a:lnTo>
                  <a:lnTo>
                    <a:pt x="678" y="214"/>
                  </a:lnTo>
                  <a:lnTo>
                    <a:pt x="676" y="206"/>
                  </a:lnTo>
                  <a:lnTo>
                    <a:pt x="678" y="200"/>
                  </a:lnTo>
                  <a:lnTo>
                    <a:pt x="684" y="192"/>
                  </a:lnTo>
                  <a:lnTo>
                    <a:pt x="690" y="186"/>
                  </a:lnTo>
                  <a:lnTo>
                    <a:pt x="690" y="182"/>
                  </a:lnTo>
                  <a:lnTo>
                    <a:pt x="690" y="178"/>
                  </a:lnTo>
                  <a:lnTo>
                    <a:pt x="686" y="170"/>
                  </a:lnTo>
                  <a:lnTo>
                    <a:pt x="676" y="162"/>
                  </a:lnTo>
                  <a:lnTo>
                    <a:pt x="666" y="154"/>
                  </a:lnTo>
                  <a:lnTo>
                    <a:pt x="664" y="146"/>
                  </a:lnTo>
                  <a:lnTo>
                    <a:pt x="664" y="138"/>
                  </a:lnTo>
                  <a:lnTo>
                    <a:pt x="666" y="128"/>
                  </a:lnTo>
                  <a:lnTo>
                    <a:pt x="666" y="118"/>
                  </a:lnTo>
                  <a:lnTo>
                    <a:pt x="664" y="114"/>
                  </a:lnTo>
                  <a:lnTo>
                    <a:pt x="658" y="110"/>
                  </a:lnTo>
                  <a:lnTo>
                    <a:pt x="652" y="104"/>
                  </a:lnTo>
                  <a:lnTo>
                    <a:pt x="648" y="100"/>
                  </a:lnTo>
                  <a:lnTo>
                    <a:pt x="642" y="100"/>
                  </a:lnTo>
                  <a:lnTo>
                    <a:pt x="638" y="102"/>
                  </a:lnTo>
                  <a:lnTo>
                    <a:pt x="632" y="106"/>
                  </a:lnTo>
                  <a:lnTo>
                    <a:pt x="622" y="112"/>
                  </a:lnTo>
                  <a:lnTo>
                    <a:pt x="614" y="116"/>
                  </a:lnTo>
                  <a:lnTo>
                    <a:pt x="602" y="118"/>
                  </a:lnTo>
                  <a:lnTo>
                    <a:pt x="592" y="118"/>
                  </a:lnTo>
                  <a:lnTo>
                    <a:pt x="586" y="118"/>
                  </a:lnTo>
                  <a:lnTo>
                    <a:pt x="582" y="114"/>
                  </a:lnTo>
                  <a:lnTo>
                    <a:pt x="578" y="110"/>
                  </a:lnTo>
                  <a:lnTo>
                    <a:pt x="570" y="100"/>
                  </a:lnTo>
                  <a:lnTo>
                    <a:pt x="558" y="86"/>
                  </a:lnTo>
                  <a:lnTo>
                    <a:pt x="546" y="76"/>
                  </a:lnTo>
                  <a:lnTo>
                    <a:pt x="540" y="74"/>
                  </a:lnTo>
                  <a:lnTo>
                    <a:pt x="534" y="74"/>
                  </a:lnTo>
                  <a:lnTo>
                    <a:pt x="526" y="72"/>
                  </a:lnTo>
                  <a:lnTo>
                    <a:pt x="518" y="66"/>
                  </a:lnTo>
                  <a:lnTo>
                    <a:pt x="514" y="60"/>
                  </a:lnTo>
                  <a:lnTo>
                    <a:pt x="510" y="54"/>
                  </a:lnTo>
                  <a:lnTo>
                    <a:pt x="508" y="44"/>
                  </a:lnTo>
                  <a:lnTo>
                    <a:pt x="508" y="34"/>
                  </a:lnTo>
                  <a:lnTo>
                    <a:pt x="504" y="30"/>
                  </a:lnTo>
                  <a:lnTo>
                    <a:pt x="500" y="26"/>
                  </a:lnTo>
                  <a:lnTo>
                    <a:pt x="496" y="24"/>
                  </a:lnTo>
                  <a:lnTo>
                    <a:pt x="490" y="20"/>
                  </a:lnTo>
                  <a:lnTo>
                    <a:pt x="488" y="16"/>
                  </a:lnTo>
                  <a:lnTo>
                    <a:pt x="484" y="8"/>
                  </a:lnTo>
                  <a:lnTo>
                    <a:pt x="480" y="6"/>
                  </a:lnTo>
                  <a:lnTo>
                    <a:pt x="474" y="6"/>
                  </a:lnTo>
                  <a:lnTo>
                    <a:pt x="470" y="12"/>
                  </a:lnTo>
                  <a:lnTo>
                    <a:pt x="468" y="16"/>
                  </a:lnTo>
                  <a:lnTo>
                    <a:pt x="466" y="22"/>
                  </a:lnTo>
                  <a:lnTo>
                    <a:pt x="462" y="26"/>
                  </a:lnTo>
                  <a:lnTo>
                    <a:pt x="456" y="28"/>
                  </a:lnTo>
                  <a:lnTo>
                    <a:pt x="448" y="28"/>
                  </a:lnTo>
                  <a:lnTo>
                    <a:pt x="432" y="28"/>
                  </a:lnTo>
                  <a:lnTo>
                    <a:pt x="412" y="28"/>
                  </a:lnTo>
                  <a:lnTo>
                    <a:pt x="406" y="28"/>
                  </a:lnTo>
                  <a:lnTo>
                    <a:pt x="402" y="28"/>
                  </a:lnTo>
                  <a:lnTo>
                    <a:pt x="396" y="32"/>
                  </a:lnTo>
                  <a:lnTo>
                    <a:pt x="392" y="40"/>
                  </a:lnTo>
                  <a:lnTo>
                    <a:pt x="386" y="48"/>
                  </a:lnTo>
                  <a:lnTo>
                    <a:pt x="384" y="52"/>
                  </a:lnTo>
                  <a:lnTo>
                    <a:pt x="380" y="56"/>
                  </a:lnTo>
                  <a:lnTo>
                    <a:pt x="376" y="56"/>
                  </a:lnTo>
                  <a:lnTo>
                    <a:pt x="372" y="56"/>
                  </a:lnTo>
                  <a:lnTo>
                    <a:pt x="370" y="54"/>
                  </a:lnTo>
                  <a:lnTo>
                    <a:pt x="370" y="50"/>
                  </a:lnTo>
                  <a:lnTo>
                    <a:pt x="372" y="42"/>
                  </a:lnTo>
                  <a:lnTo>
                    <a:pt x="376" y="32"/>
                  </a:lnTo>
                  <a:lnTo>
                    <a:pt x="384" y="22"/>
                  </a:lnTo>
                  <a:lnTo>
                    <a:pt x="388" y="20"/>
                  </a:lnTo>
                  <a:lnTo>
                    <a:pt x="392" y="16"/>
                  </a:lnTo>
                  <a:lnTo>
                    <a:pt x="406" y="14"/>
                  </a:lnTo>
                  <a:lnTo>
                    <a:pt x="438" y="14"/>
                  </a:lnTo>
                  <a:lnTo>
                    <a:pt x="448" y="14"/>
                  </a:lnTo>
                  <a:lnTo>
                    <a:pt x="454" y="12"/>
                  </a:lnTo>
                  <a:lnTo>
                    <a:pt x="456" y="10"/>
                  </a:lnTo>
                  <a:lnTo>
                    <a:pt x="456" y="6"/>
                  </a:lnTo>
                  <a:lnTo>
                    <a:pt x="456" y="4"/>
                  </a:lnTo>
                  <a:lnTo>
                    <a:pt x="454" y="4"/>
                  </a:lnTo>
                  <a:lnTo>
                    <a:pt x="446" y="2"/>
                  </a:lnTo>
                  <a:lnTo>
                    <a:pt x="414" y="2"/>
                  </a:lnTo>
                  <a:lnTo>
                    <a:pt x="396" y="0"/>
                  </a:lnTo>
                  <a:lnTo>
                    <a:pt x="386" y="2"/>
                  </a:lnTo>
                  <a:lnTo>
                    <a:pt x="378" y="8"/>
                  </a:lnTo>
                  <a:lnTo>
                    <a:pt x="372" y="16"/>
                  </a:lnTo>
                  <a:lnTo>
                    <a:pt x="354" y="48"/>
                  </a:lnTo>
                  <a:lnTo>
                    <a:pt x="344" y="64"/>
                  </a:lnTo>
                  <a:lnTo>
                    <a:pt x="336" y="76"/>
                  </a:lnTo>
                  <a:lnTo>
                    <a:pt x="330" y="82"/>
                  </a:lnTo>
                  <a:lnTo>
                    <a:pt x="326" y="88"/>
                  </a:lnTo>
                  <a:lnTo>
                    <a:pt x="320" y="94"/>
                  </a:lnTo>
                  <a:lnTo>
                    <a:pt x="314" y="100"/>
                  </a:lnTo>
                  <a:lnTo>
                    <a:pt x="304" y="106"/>
                  </a:lnTo>
                  <a:lnTo>
                    <a:pt x="296" y="110"/>
                  </a:lnTo>
                  <a:lnTo>
                    <a:pt x="278" y="114"/>
                  </a:lnTo>
                  <a:lnTo>
                    <a:pt x="266" y="116"/>
                  </a:lnTo>
                  <a:lnTo>
                    <a:pt x="256" y="118"/>
                  </a:lnTo>
                  <a:lnTo>
                    <a:pt x="246" y="118"/>
                  </a:lnTo>
                  <a:lnTo>
                    <a:pt x="236" y="116"/>
                  </a:lnTo>
                  <a:lnTo>
                    <a:pt x="228" y="116"/>
                  </a:lnTo>
                  <a:lnTo>
                    <a:pt x="218" y="120"/>
                  </a:lnTo>
                  <a:lnTo>
                    <a:pt x="200" y="132"/>
                  </a:lnTo>
                  <a:lnTo>
                    <a:pt x="192" y="136"/>
                  </a:lnTo>
                  <a:lnTo>
                    <a:pt x="188" y="142"/>
                  </a:lnTo>
                  <a:lnTo>
                    <a:pt x="188" y="146"/>
                  </a:lnTo>
                  <a:lnTo>
                    <a:pt x="192" y="150"/>
                  </a:lnTo>
                  <a:lnTo>
                    <a:pt x="196" y="152"/>
                  </a:lnTo>
                  <a:lnTo>
                    <a:pt x="198" y="156"/>
                  </a:lnTo>
                  <a:lnTo>
                    <a:pt x="198" y="162"/>
                  </a:lnTo>
                  <a:lnTo>
                    <a:pt x="196" y="166"/>
                  </a:lnTo>
                  <a:lnTo>
                    <a:pt x="190" y="182"/>
                  </a:lnTo>
                  <a:lnTo>
                    <a:pt x="186" y="192"/>
                  </a:lnTo>
                  <a:lnTo>
                    <a:pt x="180" y="204"/>
                  </a:lnTo>
                  <a:lnTo>
                    <a:pt x="178" y="208"/>
                  </a:lnTo>
                  <a:lnTo>
                    <a:pt x="174" y="210"/>
                  </a:lnTo>
                  <a:lnTo>
                    <a:pt x="170" y="210"/>
                  </a:lnTo>
                  <a:lnTo>
                    <a:pt x="168" y="210"/>
                  </a:lnTo>
                  <a:lnTo>
                    <a:pt x="160" y="206"/>
                  </a:lnTo>
                  <a:lnTo>
                    <a:pt x="150" y="198"/>
                  </a:lnTo>
                  <a:lnTo>
                    <a:pt x="142" y="190"/>
                  </a:lnTo>
                  <a:lnTo>
                    <a:pt x="132" y="184"/>
                  </a:lnTo>
                  <a:lnTo>
                    <a:pt x="122" y="178"/>
                  </a:lnTo>
                  <a:lnTo>
                    <a:pt x="112" y="17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70"/>
                  </a:lnTo>
                  <a:lnTo>
                    <a:pt x="90" y="172"/>
                  </a:lnTo>
                  <a:lnTo>
                    <a:pt x="62" y="188"/>
                  </a:lnTo>
                  <a:lnTo>
                    <a:pt x="54" y="190"/>
                  </a:lnTo>
                </a:path>
              </a:pathLst>
            </a:custGeom>
            <a:solidFill>
              <a:srgbClr val="E3E8EC"/>
            </a:solidFill>
            <a:ln w="3175">
              <a:solidFill>
                <a:srgbClr val="2F52A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6" name="Freeform 51"/>
            <p:cNvSpPr>
              <a:spLocks/>
            </p:cNvSpPr>
            <p:nvPr/>
          </p:nvSpPr>
          <p:spPr bwMode="auto">
            <a:xfrm>
              <a:off x="6349994" y="3471863"/>
              <a:ext cx="1106487" cy="858837"/>
            </a:xfrm>
            <a:custGeom>
              <a:avLst/>
              <a:gdLst>
                <a:gd name="T0" fmla="*/ 988163 w 692"/>
                <a:gd name="T1" fmla="*/ 47537 h 542"/>
                <a:gd name="T2" fmla="*/ 1048924 w 692"/>
                <a:gd name="T3" fmla="*/ 79228 h 542"/>
                <a:gd name="T4" fmla="*/ 1058518 w 692"/>
                <a:gd name="T5" fmla="*/ 91905 h 542"/>
                <a:gd name="T6" fmla="*/ 1064914 w 692"/>
                <a:gd name="T7" fmla="*/ 145780 h 542"/>
                <a:gd name="T8" fmla="*/ 1087299 w 692"/>
                <a:gd name="T9" fmla="*/ 171134 h 542"/>
                <a:gd name="T10" fmla="*/ 1106487 w 692"/>
                <a:gd name="T11" fmla="*/ 196487 h 542"/>
                <a:gd name="T12" fmla="*/ 1096893 w 692"/>
                <a:gd name="T13" fmla="*/ 256700 h 542"/>
                <a:gd name="T14" fmla="*/ 1071310 w 692"/>
                <a:gd name="T15" fmla="*/ 310576 h 542"/>
                <a:gd name="T16" fmla="*/ 1052122 w 692"/>
                <a:gd name="T17" fmla="*/ 361282 h 542"/>
                <a:gd name="T18" fmla="*/ 1048924 w 692"/>
                <a:gd name="T19" fmla="*/ 383466 h 542"/>
                <a:gd name="T20" fmla="*/ 1026539 w 692"/>
                <a:gd name="T21" fmla="*/ 405650 h 542"/>
                <a:gd name="T22" fmla="*/ 1020143 w 692"/>
                <a:gd name="T23" fmla="*/ 421496 h 542"/>
                <a:gd name="T24" fmla="*/ 965778 w 692"/>
                <a:gd name="T25" fmla="*/ 405650 h 542"/>
                <a:gd name="T26" fmla="*/ 905017 w 692"/>
                <a:gd name="T27" fmla="*/ 339098 h 542"/>
                <a:gd name="T28" fmla="*/ 850652 w 692"/>
                <a:gd name="T29" fmla="*/ 380297 h 542"/>
                <a:gd name="T30" fmla="*/ 703547 w 692"/>
                <a:gd name="T31" fmla="*/ 475371 h 542"/>
                <a:gd name="T32" fmla="*/ 575629 w 692"/>
                <a:gd name="T33" fmla="*/ 570445 h 542"/>
                <a:gd name="T34" fmla="*/ 470097 w 692"/>
                <a:gd name="T35" fmla="*/ 611644 h 542"/>
                <a:gd name="T36" fmla="*/ 345377 w 692"/>
                <a:gd name="T37" fmla="*/ 716226 h 542"/>
                <a:gd name="T38" fmla="*/ 249439 w 692"/>
                <a:gd name="T39" fmla="*/ 725733 h 542"/>
                <a:gd name="T40" fmla="*/ 179085 w 692"/>
                <a:gd name="T41" fmla="*/ 836653 h 542"/>
                <a:gd name="T42" fmla="*/ 118324 w 692"/>
                <a:gd name="T43" fmla="*/ 820807 h 542"/>
                <a:gd name="T44" fmla="*/ 51167 w 692"/>
                <a:gd name="T45" fmla="*/ 773270 h 542"/>
                <a:gd name="T46" fmla="*/ 9594 w 692"/>
                <a:gd name="T47" fmla="*/ 697211 h 542"/>
                <a:gd name="T48" fmla="*/ 0 w 692"/>
                <a:gd name="T49" fmla="*/ 649674 h 542"/>
                <a:gd name="T50" fmla="*/ 63959 w 692"/>
                <a:gd name="T51" fmla="*/ 611644 h 542"/>
                <a:gd name="T52" fmla="*/ 99136 w 692"/>
                <a:gd name="T53" fmla="*/ 611644 h 542"/>
                <a:gd name="T54" fmla="*/ 134313 w 692"/>
                <a:gd name="T55" fmla="*/ 589460 h 542"/>
                <a:gd name="T56" fmla="*/ 127918 w 692"/>
                <a:gd name="T57" fmla="*/ 494386 h 542"/>
                <a:gd name="T58" fmla="*/ 198272 w 692"/>
                <a:gd name="T59" fmla="*/ 475371 h 542"/>
                <a:gd name="T60" fmla="*/ 255835 w 692"/>
                <a:gd name="T61" fmla="*/ 443680 h 542"/>
                <a:gd name="T62" fmla="*/ 217460 w 692"/>
                <a:gd name="T63" fmla="*/ 373958 h 542"/>
                <a:gd name="T64" fmla="*/ 134313 w 692"/>
                <a:gd name="T65" fmla="*/ 342267 h 542"/>
                <a:gd name="T66" fmla="*/ 86344 w 692"/>
                <a:gd name="T67" fmla="*/ 266208 h 542"/>
                <a:gd name="T68" fmla="*/ 92740 w 692"/>
                <a:gd name="T69" fmla="*/ 148950 h 542"/>
                <a:gd name="T70" fmla="*/ 147105 w 692"/>
                <a:gd name="T71" fmla="*/ 69721 h 542"/>
                <a:gd name="T72" fmla="*/ 239845 w 692"/>
                <a:gd name="T73" fmla="*/ 41199 h 542"/>
                <a:gd name="T74" fmla="*/ 275023 w 692"/>
                <a:gd name="T75" fmla="*/ 15846 h 542"/>
                <a:gd name="T76" fmla="*/ 361367 w 692"/>
                <a:gd name="T77" fmla="*/ 22184 h 542"/>
                <a:gd name="T78" fmla="*/ 422128 w 692"/>
                <a:gd name="T79" fmla="*/ 50706 h 542"/>
                <a:gd name="T80" fmla="*/ 463701 w 692"/>
                <a:gd name="T81" fmla="*/ 155288 h 542"/>
                <a:gd name="T82" fmla="*/ 598015 w 692"/>
                <a:gd name="T83" fmla="*/ 164795 h 542"/>
                <a:gd name="T84" fmla="*/ 745120 w 692"/>
                <a:gd name="T85" fmla="*/ 148950 h 542"/>
                <a:gd name="T86" fmla="*/ 783495 w 692"/>
                <a:gd name="T87" fmla="*/ 63383 h 542"/>
                <a:gd name="T88" fmla="*/ 981767 w 692"/>
                <a:gd name="T89" fmla="*/ 34861 h 54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92"/>
                <a:gd name="T136" fmla="*/ 0 h 542"/>
                <a:gd name="T137" fmla="*/ 692 w 692"/>
                <a:gd name="T138" fmla="*/ 542 h 54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92" h="542">
                  <a:moveTo>
                    <a:pt x="616" y="24"/>
                  </a:moveTo>
                  <a:lnTo>
                    <a:pt x="616" y="24"/>
                  </a:lnTo>
                  <a:lnTo>
                    <a:pt x="618" y="30"/>
                  </a:lnTo>
                  <a:lnTo>
                    <a:pt x="624" y="34"/>
                  </a:lnTo>
                  <a:lnTo>
                    <a:pt x="634" y="40"/>
                  </a:lnTo>
                  <a:lnTo>
                    <a:pt x="656" y="50"/>
                  </a:lnTo>
                  <a:lnTo>
                    <a:pt x="660" y="52"/>
                  </a:lnTo>
                  <a:lnTo>
                    <a:pt x="662" y="58"/>
                  </a:lnTo>
                  <a:lnTo>
                    <a:pt x="664" y="68"/>
                  </a:lnTo>
                  <a:lnTo>
                    <a:pt x="664" y="80"/>
                  </a:lnTo>
                  <a:lnTo>
                    <a:pt x="666" y="92"/>
                  </a:lnTo>
                  <a:lnTo>
                    <a:pt x="672" y="100"/>
                  </a:lnTo>
                  <a:lnTo>
                    <a:pt x="680" y="108"/>
                  </a:lnTo>
                  <a:lnTo>
                    <a:pt x="688" y="114"/>
                  </a:lnTo>
                  <a:lnTo>
                    <a:pt x="692" y="124"/>
                  </a:lnTo>
                  <a:lnTo>
                    <a:pt x="692" y="132"/>
                  </a:lnTo>
                  <a:lnTo>
                    <a:pt x="692" y="142"/>
                  </a:lnTo>
                  <a:lnTo>
                    <a:pt x="686" y="162"/>
                  </a:lnTo>
                  <a:lnTo>
                    <a:pt x="678" y="184"/>
                  </a:lnTo>
                  <a:lnTo>
                    <a:pt x="670" y="196"/>
                  </a:lnTo>
                  <a:lnTo>
                    <a:pt x="664" y="206"/>
                  </a:lnTo>
                  <a:lnTo>
                    <a:pt x="660" y="216"/>
                  </a:lnTo>
                  <a:lnTo>
                    <a:pt x="658" y="228"/>
                  </a:lnTo>
                  <a:lnTo>
                    <a:pt x="658" y="236"/>
                  </a:lnTo>
                  <a:lnTo>
                    <a:pt x="656" y="242"/>
                  </a:lnTo>
                  <a:lnTo>
                    <a:pt x="654" y="248"/>
                  </a:lnTo>
                  <a:lnTo>
                    <a:pt x="648" y="252"/>
                  </a:lnTo>
                  <a:lnTo>
                    <a:pt x="642" y="256"/>
                  </a:lnTo>
                  <a:lnTo>
                    <a:pt x="638" y="260"/>
                  </a:lnTo>
                  <a:lnTo>
                    <a:pt x="638" y="266"/>
                  </a:lnTo>
                  <a:lnTo>
                    <a:pt x="638" y="272"/>
                  </a:lnTo>
                  <a:lnTo>
                    <a:pt x="624" y="280"/>
                  </a:lnTo>
                  <a:lnTo>
                    <a:pt x="604" y="256"/>
                  </a:lnTo>
                  <a:lnTo>
                    <a:pt x="608" y="238"/>
                  </a:lnTo>
                  <a:lnTo>
                    <a:pt x="592" y="240"/>
                  </a:lnTo>
                  <a:lnTo>
                    <a:pt x="566" y="214"/>
                  </a:lnTo>
                  <a:lnTo>
                    <a:pt x="524" y="216"/>
                  </a:lnTo>
                  <a:lnTo>
                    <a:pt x="510" y="230"/>
                  </a:lnTo>
                  <a:lnTo>
                    <a:pt x="532" y="240"/>
                  </a:lnTo>
                  <a:lnTo>
                    <a:pt x="526" y="264"/>
                  </a:lnTo>
                  <a:lnTo>
                    <a:pt x="528" y="278"/>
                  </a:lnTo>
                  <a:lnTo>
                    <a:pt x="440" y="300"/>
                  </a:lnTo>
                  <a:lnTo>
                    <a:pt x="408" y="340"/>
                  </a:lnTo>
                  <a:lnTo>
                    <a:pt x="362" y="334"/>
                  </a:lnTo>
                  <a:lnTo>
                    <a:pt x="360" y="360"/>
                  </a:lnTo>
                  <a:lnTo>
                    <a:pt x="348" y="374"/>
                  </a:lnTo>
                  <a:lnTo>
                    <a:pt x="322" y="370"/>
                  </a:lnTo>
                  <a:lnTo>
                    <a:pt x="294" y="386"/>
                  </a:lnTo>
                  <a:lnTo>
                    <a:pt x="264" y="416"/>
                  </a:lnTo>
                  <a:lnTo>
                    <a:pt x="248" y="448"/>
                  </a:lnTo>
                  <a:lnTo>
                    <a:pt x="216" y="452"/>
                  </a:lnTo>
                  <a:lnTo>
                    <a:pt x="198" y="442"/>
                  </a:lnTo>
                  <a:lnTo>
                    <a:pt x="168" y="466"/>
                  </a:lnTo>
                  <a:lnTo>
                    <a:pt x="156" y="458"/>
                  </a:lnTo>
                  <a:lnTo>
                    <a:pt x="130" y="490"/>
                  </a:lnTo>
                  <a:lnTo>
                    <a:pt x="100" y="508"/>
                  </a:lnTo>
                  <a:lnTo>
                    <a:pt x="112" y="528"/>
                  </a:lnTo>
                  <a:lnTo>
                    <a:pt x="102" y="542"/>
                  </a:lnTo>
                  <a:lnTo>
                    <a:pt x="90" y="536"/>
                  </a:lnTo>
                  <a:lnTo>
                    <a:pt x="74" y="518"/>
                  </a:lnTo>
                  <a:lnTo>
                    <a:pt x="72" y="490"/>
                  </a:lnTo>
                  <a:lnTo>
                    <a:pt x="48" y="494"/>
                  </a:lnTo>
                  <a:lnTo>
                    <a:pt x="32" y="488"/>
                  </a:lnTo>
                  <a:lnTo>
                    <a:pt x="14" y="456"/>
                  </a:lnTo>
                  <a:lnTo>
                    <a:pt x="4" y="446"/>
                  </a:lnTo>
                  <a:lnTo>
                    <a:pt x="6" y="440"/>
                  </a:lnTo>
                  <a:lnTo>
                    <a:pt x="16" y="434"/>
                  </a:lnTo>
                  <a:lnTo>
                    <a:pt x="18" y="422"/>
                  </a:lnTo>
                  <a:lnTo>
                    <a:pt x="0" y="410"/>
                  </a:lnTo>
                  <a:lnTo>
                    <a:pt x="2" y="398"/>
                  </a:lnTo>
                  <a:lnTo>
                    <a:pt x="28" y="376"/>
                  </a:lnTo>
                  <a:lnTo>
                    <a:pt x="40" y="386"/>
                  </a:lnTo>
                  <a:lnTo>
                    <a:pt x="38" y="396"/>
                  </a:lnTo>
                  <a:lnTo>
                    <a:pt x="46" y="400"/>
                  </a:lnTo>
                  <a:lnTo>
                    <a:pt x="62" y="386"/>
                  </a:lnTo>
                  <a:lnTo>
                    <a:pt x="58" y="376"/>
                  </a:lnTo>
                  <a:lnTo>
                    <a:pt x="62" y="370"/>
                  </a:lnTo>
                  <a:lnTo>
                    <a:pt x="84" y="372"/>
                  </a:lnTo>
                  <a:lnTo>
                    <a:pt x="90" y="362"/>
                  </a:lnTo>
                  <a:lnTo>
                    <a:pt x="68" y="334"/>
                  </a:lnTo>
                  <a:lnTo>
                    <a:pt x="80" y="312"/>
                  </a:lnTo>
                  <a:lnTo>
                    <a:pt x="102" y="306"/>
                  </a:lnTo>
                  <a:lnTo>
                    <a:pt x="110" y="298"/>
                  </a:lnTo>
                  <a:lnTo>
                    <a:pt x="124" y="300"/>
                  </a:lnTo>
                  <a:lnTo>
                    <a:pt x="128" y="288"/>
                  </a:lnTo>
                  <a:lnTo>
                    <a:pt x="146" y="280"/>
                  </a:lnTo>
                  <a:lnTo>
                    <a:pt x="160" y="280"/>
                  </a:lnTo>
                  <a:lnTo>
                    <a:pt x="168" y="270"/>
                  </a:lnTo>
                  <a:lnTo>
                    <a:pt x="158" y="246"/>
                  </a:lnTo>
                  <a:lnTo>
                    <a:pt x="136" y="236"/>
                  </a:lnTo>
                  <a:lnTo>
                    <a:pt x="128" y="222"/>
                  </a:lnTo>
                  <a:lnTo>
                    <a:pt x="116" y="214"/>
                  </a:lnTo>
                  <a:lnTo>
                    <a:pt x="84" y="216"/>
                  </a:lnTo>
                  <a:lnTo>
                    <a:pt x="62" y="196"/>
                  </a:lnTo>
                  <a:lnTo>
                    <a:pt x="62" y="176"/>
                  </a:lnTo>
                  <a:lnTo>
                    <a:pt x="54" y="168"/>
                  </a:lnTo>
                  <a:lnTo>
                    <a:pt x="52" y="134"/>
                  </a:lnTo>
                  <a:lnTo>
                    <a:pt x="62" y="128"/>
                  </a:lnTo>
                  <a:lnTo>
                    <a:pt x="58" y="94"/>
                  </a:lnTo>
                  <a:lnTo>
                    <a:pt x="46" y="76"/>
                  </a:lnTo>
                  <a:lnTo>
                    <a:pt x="64" y="50"/>
                  </a:lnTo>
                  <a:lnTo>
                    <a:pt x="92" y="44"/>
                  </a:lnTo>
                  <a:lnTo>
                    <a:pt x="110" y="30"/>
                  </a:lnTo>
                  <a:lnTo>
                    <a:pt x="142" y="22"/>
                  </a:lnTo>
                  <a:lnTo>
                    <a:pt x="150" y="26"/>
                  </a:lnTo>
                  <a:lnTo>
                    <a:pt x="156" y="24"/>
                  </a:lnTo>
                  <a:lnTo>
                    <a:pt x="160" y="12"/>
                  </a:lnTo>
                  <a:lnTo>
                    <a:pt x="172" y="10"/>
                  </a:lnTo>
                  <a:lnTo>
                    <a:pt x="182" y="12"/>
                  </a:lnTo>
                  <a:lnTo>
                    <a:pt x="202" y="0"/>
                  </a:lnTo>
                  <a:lnTo>
                    <a:pt x="226" y="14"/>
                  </a:lnTo>
                  <a:lnTo>
                    <a:pt x="236" y="8"/>
                  </a:lnTo>
                  <a:lnTo>
                    <a:pt x="258" y="16"/>
                  </a:lnTo>
                  <a:lnTo>
                    <a:pt x="264" y="32"/>
                  </a:lnTo>
                  <a:lnTo>
                    <a:pt x="290" y="54"/>
                  </a:lnTo>
                  <a:lnTo>
                    <a:pt x="280" y="78"/>
                  </a:lnTo>
                  <a:lnTo>
                    <a:pt x="290" y="98"/>
                  </a:lnTo>
                  <a:lnTo>
                    <a:pt x="312" y="86"/>
                  </a:lnTo>
                  <a:lnTo>
                    <a:pt x="346" y="84"/>
                  </a:lnTo>
                  <a:lnTo>
                    <a:pt x="374" y="104"/>
                  </a:lnTo>
                  <a:lnTo>
                    <a:pt x="428" y="100"/>
                  </a:lnTo>
                  <a:lnTo>
                    <a:pt x="448" y="90"/>
                  </a:lnTo>
                  <a:lnTo>
                    <a:pt x="466" y="94"/>
                  </a:lnTo>
                  <a:lnTo>
                    <a:pt x="476" y="76"/>
                  </a:lnTo>
                  <a:lnTo>
                    <a:pt x="472" y="62"/>
                  </a:lnTo>
                  <a:lnTo>
                    <a:pt x="490" y="40"/>
                  </a:lnTo>
                  <a:lnTo>
                    <a:pt x="528" y="46"/>
                  </a:lnTo>
                  <a:lnTo>
                    <a:pt x="552" y="36"/>
                  </a:lnTo>
                  <a:lnTo>
                    <a:pt x="614" y="22"/>
                  </a:lnTo>
                  <a:lnTo>
                    <a:pt x="616" y="24"/>
                  </a:lnTo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7" name="Freeform 52"/>
            <p:cNvSpPr>
              <a:spLocks/>
            </p:cNvSpPr>
            <p:nvPr/>
          </p:nvSpPr>
          <p:spPr bwMode="auto">
            <a:xfrm>
              <a:off x="5270494" y="4149725"/>
              <a:ext cx="1811337" cy="1795463"/>
            </a:xfrm>
            <a:custGeom>
              <a:avLst/>
              <a:gdLst/>
              <a:ahLst/>
              <a:cxnLst>
                <a:cxn ang="0">
                  <a:pos x="736" y="114"/>
                </a:cxn>
                <a:cxn ang="0">
                  <a:pos x="824" y="208"/>
                </a:cxn>
                <a:cxn ang="0">
                  <a:pos x="802" y="264"/>
                </a:cxn>
                <a:cxn ang="0">
                  <a:pos x="850" y="348"/>
                </a:cxn>
                <a:cxn ang="0">
                  <a:pos x="978" y="484"/>
                </a:cxn>
                <a:cxn ang="0">
                  <a:pos x="1074" y="524"/>
                </a:cxn>
                <a:cxn ang="0">
                  <a:pos x="1110" y="600"/>
                </a:cxn>
                <a:cxn ang="0">
                  <a:pos x="1110" y="662"/>
                </a:cxn>
                <a:cxn ang="0">
                  <a:pos x="1072" y="646"/>
                </a:cxn>
                <a:cxn ang="0">
                  <a:pos x="1048" y="688"/>
                </a:cxn>
                <a:cxn ang="0">
                  <a:pos x="1048" y="710"/>
                </a:cxn>
                <a:cxn ang="0">
                  <a:pos x="1032" y="746"/>
                </a:cxn>
                <a:cxn ang="0">
                  <a:pos x="986" y="766"/>
                </a:cxn>
                <a:cxn ang="0">
                  <a:pos x="954" y="780"/>
                </a:cxn>
                <a:cxn ang="0">
                  <a:pos x="926" y="784"/>
                </a:cxn>
                <a:cxn ang="0">
                  <a:pos x="918" y="806"/>
                </a:cxn>
                <a:cxn ang="0">
                  <a:pos x="890" y="830"/>
                </a:cxn>
                <a:cxn ang="0">
                  <a:pos x="924" y="876"/>
                </a:cxn>
                <a:cxn ang="0">
                  <a:pos x="946" y="954"/>
                </a:cxn>
                <a:cxn ang="0">
                  <a:pos x="964" y="1042"/>
                </a:cxn>
                <a:cxn ang="0">
                  <a:pos x="882" y="992"/>
                </a:cxn>
                <a:cxn ang="0">
                  <a:pos x="786" y="968"/>
                </a:cxn>
                <a:cxn ang="0">
                  <a:pos x="662" y="1022"/>
                </a:cxn>
                <a:cxn ang="0">
                  <a:pos x="540" y="1086"/>
                </a:cxn>
                <a:cxn ang="0">
                  <a:pos x="472" y="1056"/>
                </a:cxn>
                <a:cxn ang="0">
                  <a:pos x="376" y="1046"/>
                </a:cxn>
                <a:cxn ang="0">
                  <a:pos x="330" y="1030"/>
                </a:cxn>
                <a:cxn ang="0">
                  <a:pos x="274" y="1134"/>
                </a:cxn>
                <a:cxn ang="0">
                  <a:pos x="244" y="1054"/>
                </a:cxn>
                <a:cxn ang="0">
                  <a:pos x="164" y="1036"/>
                </a:cxn>
                <a:cxn ang="0">
                  <a:pos x="204" y="978"/>
                </a:cxn>
                <a:cxn ang="0">
                  <a:pos x="280" y="970"/>
                </a:cxn>
                <a:cxn ang="0">
                  <a:pos x="278" y="918"/>
                </a:cxn>
                <a:cxn ang="0">
                  <a:pos x="258" y="820"/>
                </a:cxn>
                <a:cxn ang="0">
                  <a:pos x="256" y="718"/>
                </a:cxn>
                <a:cxn ang="0">
                  <a:pos x="304" y="676"/>
                </a:cxn>
                <a:cxn ang="0">
                  <a:pos x="326" y="634"/>
                </a:cxn>
                <a:cxn ang="0">
                  <a:pos x="368" y="624"/>
                </a:cxn>
                <a:cxn ang="0">
                  <a:pos x="316" y="512"/>
                </a:cxn>
                <a:cxn ang="0">
                  <a:pos x="284" y="406"/>
                </a:cxn>
                <a:cxn ang="0">
                  <a:pos x="264" y="312"/>
                </a:cxn>
                <a:cxn ang="0">
                  <a:pos x="224" y="312"/>
                </a:cxn>
                <a:cxn ang="0">
                  <a:pos x="204" y="264"/>
                </a:cxn>
                <a:cxn ang="0">
                  <a:pos x="158" y="270"/>
                </a:cxn>
                <a:cxn ang="0">
                  <a:pos x="132" y="262"/>
                </a:cxn>
                <a:cxn ang="0">
                  <a:pos x="90" y="264"/>
                </a:cxn>
                <a:cxn ang="0">
                  <a:pos x="10" y="308"/>
                </a:cxn>
                <a:cxn ang="0">
                  <a:pos x="0" y="180"/>
                </a:cxn>
                <a:cxn ang="0">
                  <a:pos x="44" y="126"/>
                </a:cxn>
                <a:cxn ang="0">
                  <a:pos x="126" y="120"/>
                </a:cxn>
                <a:cxn ang="0">
                  <a:pos x="188" y="28"/>
                </a:cxn>
                <a:cxn ang="0">
                  <a:pos x="274" y="6"/>
                </a:cxn>
                <a:cxn ang="0">
                  <a:pos x="334" y="44"/>
                </a:cxn>
                <a:cxn ang="0">
                  <a:pos x="428" y="102"/>
                </a:cxn>
                <a:cxn ang="0">
                  <a:pos x="448" y="66"/>
                </a:cxn>
                <a:cxn ang="0">
                  <a:pos x="496" y="96"/>
                </a:cxn>
                <a:cxn ang="0">
                  <a:pos x="566" y="40"/>
                </a:cxn>
                <a:cxn ang="0">
                  <a:pos x="654" y="30"/>
                </a:cxn>
                <a:cxn ang="0">
                  <a:pos x="724" y="66"/>
                </a:cxn>
              </a:cxnLst>
              <a:rect l="0" t="0" r="r" b="b"/>
              <a:pathLst>
                <a:path w="1134" h="1134">
                  <a:moveTo>
                    <a:pt x="724" y="66"/>
                  </a:moveTo>
                  <a:lnTo>
                    <a:pt x="724" y="78"/>
                  </a:lnTo>
                  <a:lnTo>
                    <a:pt x="710" y="78"/>
                  </a:lnTo>
                  <a:lnTo>
                    <a:pt x="710" y="90"/>
                  </a:lnTo>
                  <a:lnTo>
                    <a:pt x="736" y="114"/>
                  </a:lnTo>
                  <a:lnTo>
                    <a:pt x="726" y="128"/>
                  </a:lnTo>
                  <a:lnTo>
                    <a:pt x="752" y="140"/>
                  </a:lnTo>
                  <a:lnTo>
                    <a:pt x="810" y="188"/>
                  </a:lnTo>
                  <a:lnTo>
                    <a:pt x="806" y="198"/>
                  </a:lnTo>
                  <a:lnTo>
                    <a:pt x="824" y="208"/>
                  </a:lnTo>
                  <a:lnTo>
                    <a:pt x="818" y="238"/>
                  </a:lnTo>
                  <a:lnTo>
                    <a:pt x="800" y="232"/>
                  </a:lnTo>
                  <a:lnTo>
                    <a:pt x="798" y="244"/>
                  </a:lnTo>
                  <a:lnTo>
                    <a:pt x="810" y="252"/>
                  </a:lnTo>
                  <a:lnTo>
                    <a:pt x="802" y="264"/>
                  </a:lnTo>
                  <a:lnTo>
                    <a:pt x="792" y="264"/>
                  </a:lnTo>
                  <a:lnTo>
                    <a:pt x="790" y="276"/>
                  </a:lnTo>
                  <a:lnTo>
                    <a:pt x="826" y="302"/>
                  </a:lnTo>
                  <a:lnTo>
                    <a:pt x="832" y="346"/>
                  </a:lnTo>
                  <a:lnTo>
                    <a:pt x="850" y="348"/>
                  </a:lnTo>
                  <a:lnTo>
                    <a:pt x="858" y="380"/>
                  </a:lnTo>
                  <a:lnTo>
                    <a:pt x="876" y="386"/>
                  </a:lnTo>
                  <a:lnTo>
                    <a:pt x="896" y="420"/>
                  </a:lnTo>
                  <a:lnTo>
                    <a:pt x="944" y="444"/>
                  </a:lnTo>
                  <a:lnTo>
                    <a:pt x="978" y="484"/>
                  </a:lnTo>
                  <a:lnTo>
                    <a:pt x="1002" y="484"/>
                  </a:lnTo>
                  <a:lnTo>
                    <a:pt x="1030" y="502"/>
                  </a:lnTo>
                  <a:lnTo>
                    <a:pt x="1040" y="522"/>
                  </a:lnTo>
                  <a:lnTo>
                    <a:pt x="1052" y="530"/>
                  </a:lnTo>
                  <a:lnTo>
                    <a:pt x="1074" y="524"/>
                  </a:lnTo>
                  <a:lnTo>
                    <a:pt x="1084" y="534"/>
                  </a:lnTo>
                  <a:lnTo>
                    <a:pt x="1086" y="556"/>
                  </a:lnTo>
                  <a:lnTo>
                    <a:pt x="1108" y="566"/>
                  </a:lnTo>
                  <a:lnTo>
                    <a:pt x="1120" y="590"/>
                  </a:lnTo>
                  <a:lnTo>
                    <a:pt x="1110" y="600"/>
                  </a:lnTo>
                  <a:lnTo>
                    <a:pt x="1130" y="616"/>
                  </a:lnTo>
                  <a:lnTo>
                    <a:pt x="1134" y="648"/>
                  </a:lnTo>
                  <a:lnTo>
                    <a:pt x="1114" y="668"/>
                  </a:lnTo>
                  <a:lnTo>
                    <a:pt x="1114" y="668"/>
                  </a:lnTo>
                  <a:lnTo>
                    <a:pt x="1110" y="662"/>
                  </a:lnTo>
                  <a:lnTo>
                    <a:pt x="1096" y="654"/>
                  </a:lnTo>
                  <a:lnTo>
                    <a:pt x="1096" y="654"/>
                  </a:lnTo>
                  <a:lnTo>
                    <a:pt x="1088" y="650"/>
                  </a:lnTo>
                  <a:lnTo>
                    <a:pt x="1080" y="648"/>
                  </a:lnTo>
                  <a:lnTo>
                    <a:pt x="1072" y="646"/>
                  </a:lnTo>
                  <a:lnTo>
                    <a:pt x="1066" y="670"/>
                  </a:lnTo>
                  <a:lnTo>
                    <a:pt x="1046" y="668"/>
                  </a:lnTo>
                  <a:lnTo>
                    <a:pt x="1046" y="668"/>
                  </a:lnTo>
                  <a:lnTo>
                    <a:pt x="1050" y="682"/>
                  </a:lnTo>
                  <a:lnTo>
                    <a:pt x="1048" y="688"/>
                  </a:lnTo>
                  <a:lnTo>
                    <a:pt x="1048" y="692"/>
                  </a:lnTo>
                  <a:lnTo>
                    <a:pt x="1048" y="692"/>
                  </a:lnTo>
                  <a:lnTo>
                    <a:pt x="1046" y="696"/>
                  </a:lnTo>
                  <a:lnTo>
                    <a:pt x="1046" y="700"/>
                  </a:lnTo>
                  <a:lnTo>
                    <a:pt x="1048" y="710"/>
                  </a:lnTo>
                  <a:lnTo>
                    <a:pt x="1048" y="710"/>
                  </a:lnTo>
                  <a:lnTo>
                    <a:pt x="1048" y="716"/>
                  </a:lnTo>
                  <a:lnTo>
                    <a:pt x="1046" y="724"/>
                  </a:lnTo>
                  <a:lnTo>
                    <a:pt x="1040" y="734"/>
                  </a:lnTo>
                  <a:lnTo>
                    <a:pt x="1032" y="746"/>
                  </a:lnTo>
                  <a:lnTo>
                    <a:pt x="1032" y="746"/>
                  </a:lnTo>
                  <a:lnTo>
                    <a:pt x="1020" y="754"/>
                  </a:lnTo>
                  <a:lnTo>
                    <a:pt x="1008" y="762"/>
                  </a:lnTo>
                  <a:lnTo>
                    <a:pt x="996" y="764"/>
                  </a:lnTo>
                  <a:lnTo>
                    <a:pt x="986" y="766"/>
                  </a:lnTo>
                  <a:lnTo>
                    <a:pt x="986" y="766"/>
                  </a:lnTo>
                  <a:lnTo>
                    <a:pt x="976" y="768"/>
                  </a:lnTo>
                  <a:lnTo>
                    <a:pt x="966" y="772"/>
                  </a:lnTo>
                  <a:lnTo>
                    <a:pt x="954" y="780"/>
                  </a:lnTo>
                  <a:lnTo>
                    <a:pt x="954" y="780"/>
                  </a:lnTo>
                  <a:lnTo>
                    <a:pt x="950" y="782"/>
                  </a:lnTo>
                  <a:lnTo>
                    <a:pt x="944" y="782"/>
                  </a:lnTo>
                  <a:lnTo>
                    <a:pt x="930" y="784"/>
                  </a:lnTo>
                  <a:lnTo>
                    <a:pt x="930" y="784"/>
                  </a:lnTo>
                  <a:lnTo>
                    <a:pt x="926" y="784"/>
                  </a:lnTo>
                  <a:lnTo>
                    <a:pt x="924" y="786"/>
                  </a:lnTo>
                  <a:lnTo>
                    <a:pt x="922" y="790"/>
                  </a:lnTo>
                  <a:lnTo>
                    <a:pt x="920" y="802"/>
                  </a:lnTo>
                  <a:lnTo>
                    <a:pt x="920" y="802"/>
                  </a:lnTo>
                  <a:lnTo>
                    <a:pt x="918" y="806"/>
                  </a:lnTo>
                  <a:lnTo>
                    <a:pt x="914" y="810"/>
                  </a:lnTo>
                  <a:lnTo>
                    <a:pt x="894" y="820"/>
                  </a:lnTo>
                  <a:lnTo>
                    <a:pt x="894" y="820"/>
                  </a:lnTo>
                  <a:lnTo>
                    <a:pt x="890" y="824"/>
                  </a:lnTo>
                  <a:lnTo>
                    <a:pt x="890" y="830"/>
                  </a:lnTo>
                  <a:lnTo>
                    <a:pt x="894" y="838"/>
                  </a:lnTo>
                  <a:lnTo>
                    <a:pt x="898" y="846"/>
                  </a:lnTo>
                  <a:lnTo>
                    <a:pt x="912" y="862"/>
                  </a:lnTo>
                  <a:lnTo>
                    <a:pt x="924" y="876"/>
                  </a:lnTo>
                  <a:lnTo>
                    <a:pt x="924" y="876"/>
                  </a:lnTo>
                  <a:lnTo>
                    <a:pt x="934" y="890"/>
                  </a:lnTo>
                  <a:lnTo>
                    <a:pt x="942" y="906"/>
                  </a:lnTo>
                  <a:lnTo>
                    <a:pt x="946" y="920"/>
                  </a:lnTo>
                  <a:lnTo>
                    <a:pt x="938" y="934"/>
                  </a:lnTo>
                  <a:lnTo>
                    <a:pt x="946" y="954"/>
                  </a:lnTo>
                  <a:lnTo>
                    <a:pt x="936" y="966"/>
                  </a:lnTo>
                  <a:lnTo>
                    <a:pt x="948" y="978"/>
                  </a:lnTo>
                  <a:lnTo>
                    <a:pt x="966" y="974"/>
                  </a:lnTo>
                  <a:lnTo>
                    <a:pt x="980" y="1002"/>
                  </a:lnTo>
                  <a:lnTo>
                    <a:pt x="964" y="1042"/>
                  </a:lnTo>
                  <a:lnTo>
                    <a:pt x="970" y="1056"/>
                  </a:lnTo>
                  <a:lnTo>
                    <a:pt x="952" y="1064"/>
                  </a:lnTo>
                  <a:lnTo>
                    <a:pt x="900" y="1034"/>
                  </a:lnTo>
                  <a:lnTo>
                    <a:pt x="912" y="1008"/>
                  </a:lnTo>
                  <a:lnTo>
                    <a:pt x="882" y="992"/>
                  </a:lnTo>
                  <a:lnTo>
                    <a:pt x="856" y="996"/>
                  </a:lnTo>
                  <a:lnTo>
                    <a:pt x="832" y="998"/>
                  </a:lnTo>
                  <a:lnTo>
                    <a:pt x="828" y="986"/>
                  </a:lnTo>
                  <a:lnTo>
                    <a:pt x="796" y="980"/>
                  </a:lnTo>
                  <a:lnTo>
                    <a:pt x="786" y="968"/>
                  </a:lnTo>
                  <a:lnTo>
                    <a:pt x="756" y="982"/>
                  </a:lnTo>
                  <a:lnTo>
                    <a:pt x="760" y="1016"/>
                  </a:lnTo>
                  <a:lnTo>
                    <a:pt x="748" y="1028"/>
                  </a:lnTo>
                  <a:lnTo>
                    <a:pt x="740" y="1012"/>
                  </a:lnTo>
                  <a:lnTo>
                    <a:pt x="662" y="1022"/>
                  </a:lnTo>
                  <a:lnTo>
                    <a:pt x="638" y="1012"/>
                  </a:lnTo>
                  <a:lnTo>
                    <a:pt x="632" y="1040"/>
                  </a:lnTo>
                  <a:lnTo>
                    <a:pt x="598" y="1044"/>
                  </a:lnTo>
                  <a:lnTo>
                    <a:pt x="592" y="1068"/>
                  </a:lnTo>
                  <a:lnTo>
                    <a:pt x="540" y="1086"/>
                  </a:lnTo>
                  <a:lnTo>
                    <a:pt x="528" y="1074"/>
                  </a:lnTo>
                  <a:lnTo>
                    <a:pt x="496" y="1076"/>
                  </a:lnTo>
                  <a:lnTo>
                    <a:pt x="490" y="1084"/>
                  </a:lnTo>
                  <a:lnTo>
                    <a:pt x="476" y="1074"/>
                  </a:lnTo>
                  <a:lnTo>
                    <a:pt x="472" y="1056"/>
                  </a:lnTo>
                  <a:lnTo>
                    <a:pt x="480" y="1048"/>
                  </a:lnTo>
                  <a:lnTo>
                    <a:pt x="484" y="1028"/>
                  </a:lnTo>
                  <a:lnTo>
                    <a:pt x="428" y="1044"/>
                  </a:lnTo>
                  <a:lnTo>
                    <a:pt x="382" y="1022"/>
                  </a:lnTo>
                  <a:lnTo>
                    <a:pt x="376" y="1046"/>
                  </a:lnTo>
                  <a:lnTo>
                    <a:pt x="360" y="1046"/>
                  </a:lnTo>
                  <a:lnTo>
                    <a:pt x="358" y="1032"/>
                  </a:lnTo>
                  <a:lnTo>
                    <a:pt x="368" y="1014"/>
                  </a:lnTo>
                  <a:lnTo>
                    <a:pt x="356" y="1004"/>
                  </a:lnTo>
                  <a:lnTo>
                    <a:pt x="330" y="1030"/>
                  </a:lnTo>
                  <a:lnTo>
                    <a:pt x="330" y="1052"/>
                  </a:lnTo>
                  <a:lnTo>
                    <a:pt x="340" y="1054"/>
                  </a:lnTo>
                  <a:lnTo>
                    <a:pt x="340" y="1100"/>
                  </a:lnTo>
                  <a:lnTo>
                    <a:pt x="292" y="1134"/>
                  </a:lnTo>
                  <a:lnTo>
                    <a:pt x="274" y="1134"/>
                  </a:lnTo>
                  <a:lnTo>
                    <a:pt x="276" y="1106"/>
                  </a:lnTo>
                  <a:lnTo>
                    <a:pt x="258" y="1104"/>
                  </a:lnTo>
                  <a:lnTo>
                    <a:pt x="254" y="1090"/>
                  </a:lnTo>
                  <a:lnTo>
                    <a:pt x="266" y="1076"/>
                  </a:lnTo>
                  <a:lnTo>
                    <a:pt x="244" y="1054"/>
                  </a:lnTo>
                  <a:lnTo>
                    <a:pt x="238" y="1032"/>
                  </a:lnTo>
                  <a:lnTo>
                    <a:pt x="214" y="1032"/>
                  </a:lnTo>
                  <a:lnTo>
                    <a:pt x="204" y="1004"/>
                  </a:lnTo>
                  <a:lnTo>
                    <a:pt x="164" y="1036"/>
                  </a:lnTo>
                  <a:lnTo>
                    <a:pt x="164" y="1036"/>
                  </a:lnTo>
                  <a:lnTo>
                    <a:pt x="142" y="1018"/>
                  </a:lnTo>
                  <a:lnTo>
                    <a:pt x="160" y="1000"/>
                  </a:lnTo>
                  <a:lnTo>
                    <a:pt x="172" y="1004"/>
                  </a:lnTo>
                  <a:lnTo>
                    <a:pt x="198" y="990"/>
                  </a:lnTo>
                  <a:lnTo>
                    <a:pt x="204" y="978"/>
                  </a:lnTo>
                  <a:lnTo>
                    <a:pt x="228" y="988"/>
                  </a:lnTo>
                  <a:lnTo>
                    <a:pt x="236" y="976"/>
                  </a:lnTo>
                  <a:lnTo>
                    <a:pt x="252" y="974"/>
                  </a:lnTo>
                  <a:lnTo>
                    <a:pt x="262" y="992"/>
                  </a:lnTo>
                  <a:lnTo>
                    <a:pt x="280" y="970"/>
                  </a:lnTo>
                  <a:lnTo>
                    <a:pt x="276" y="956"/>
                  </a:lnTo>
                  <a:lnTo>
                    <a:pt x="266" y="950"/>
                  </a:lnTo>
                  <a:lnTo>
                    <a:pt x="266" y="940"/>
                  </a:lnTo>
                  <a:lnTo>
                    <a:pt x="278" y="928"/>
                  </a:lnTo>
                  <a:lnTo>
                    <a:pt x="278" y="918"/>
                  </a:lnTo>
                  <a:lnTo>
                    <a:pt x="268" y="912"/>
                  </a:lnTo>
                  <a:lnTo>
                    <a:pt x="268" y="894"/>
                  </a:lnTo>
                  <a:lnTo>
                    <a:pt x="278" y="876"/>
                  </a:lnTo>
                  <a:lnTo>
                    <a:pt x="270" y="832"/>
                  </a:lnTo>
                  <a:lnTo>
                    <a:pt x="258" y="820"/>
                  </a:lnTo>
                  <a:lnTo>
                    <a:pt x="260" y="782"/>
                  </a:lnTo>
                  <a:lnTo>
                    <a:pt x="246" y="756"/>
                  </a:lnTo>
                  <a:lnTo>
                    <a:pt x="238" y="754"/>
                  </a:lnTo>
                  <a:lnTo>
                    <a:pt x="228" y="734"/>
                  </a:lnTo>
                  <a:lnTo>
                    <a:pt x="256" y="718"/>
                  </a:lnTo>
                  <a:lnTo>
                    <a:pt x="258" y="704"/>
                  </a:lnTo>
                  <a:lnTo>
                    <a:pt x="276" y="690"/>
                  </a:lnTo>
                  <a:lnTo>
                    <a:pt x="282" y="698"/>
                  </a:lnTo>
                  <a:lnTo>
                    <a:pt x="308" y="686"/>
                  </a:lnTo>
                  <a:lnTo>
                    <a:pt x="304" y="676"/>
                  </a:lnTo>
                  <a:lnTo>
                    <a:pt x="314" y="674"/>
                  </a:lnTo>
                  <a:lnTo>
                    <a:pt x="300" y="630"/>
                  </a:lnTo>
                  <a:lnTo>
                    <a:pt x="306" y="622"/>
                  </a:lnTo>
                  <a:lnTo>
                    <a:pt x="324" y="626"/>
                  </a:lnTo>
                  <a:lnTo>
                    <a:pt x="326" y="634"/>
                  </a:lnTo>
                  <a:lnTo>
                    <a:pt x="336" y="634"/>
                  </a:lnTo>
                  <a:lnTo>
                    <a:pt x="338" y="626"/>
                  </a:lnTo>
                  <a:lnTo>
                    <a:pt x="348" y="622"/>
                  </a:lnTo>
                  <a:lnTo>
                    <a:pt x="354" y="636"/>
                  </a:lnTo>
                  <a:lnTo>
                    <a:pt x="368" y="624"/>
                  </a:lnTo>
                  <a:lnTo>
                    <a:pt x="366" y="606"/>
                  </a:lnTo>
                  <a:lnTo>
                    <a:pt x="350" y="594"/>
                  </a:lnTo>
                  <a:lnTo>
                    <a:pt x="352" y="570"/>
                  </a:lnTo>
                  <a:lnTo>
                    <a:pt x="350" y="530"/>
                  </a:lnTo>
                  <a:lnTo>
                    <a:pt x="316" y="512"/>
                  </a:lnTo>
                  <a:lnTo>
                    <a:pt x="304" y="478"/>
                  </a:lnTo>
                  <a:lnTo>
                    <a:pt x="306" y="464"/>
                  </a:lnTo>
                  <a:lnTo>
                    <a:pt x="282" y="446"/>
                  </a:lnTo>
                  <a:lnTo>
                    <a:pt x="278" y="418"/>
                  </a:lnTo>
                  <a:lnTo>
                    <a:pt x="284" y="406"/>
                  </a:lnTo>
                  <a:lnTo>
                    <a:pt x="276" y="386"/>
                  </a:lnTo>
                  <a:lnTo>
                    <a:pt x="284" y="376"/>
                  </a:lnTo>
                  <a:lnTo>
                    <a:pt x="276" y="352"/>
                  </a:lnTo>
                  <a:lnTo>
                    <a:pt x="276" y="324"/>
                  </a:lnTo>
                  <a:lnTo>
                    <a:pt x="264" y="312"/>
                  </a:lnTo>
                  <a:lnTo>
                    <a:pt x="248" y="322"/>
                  </a:lnTo>
                  <a:lnTo>
                    <a:pt x="248" y="332"/>
                  </a:lnTo>
                  <a:lnTo>
                    <a:pt x="234" y="338"/>
                  </a:lnTo>
                  <a:lnTo>
                    <a:pt x="224" y="334"/>
                  </a:lnTo>
                  <a:lnTo>
                    <a:pt x="224" y="312"/>
                  </a:lnTo>
                  <a:lnTo>
                    <a:pt x="218" y="308"/>
                  </a:lnTo>
                  <a:lnTo>
                    <a:pt x="206" y="318"/>
                  </a:lnTo>
                  <a:lnTo>
                    <a:pt x="200" y="312"/>
                  </a:lnTo>
                  <a:lnTo>
                    <a:pt x="208" y="292"/>
                  </a:lnTo>
                  <a:lnTo>
                    <a:pt x="204" y="264"/>
                  </a:lnTo>
                  <a:lnTo>
                    <a:pt x="190" y="266"/>
                  </a:lnTo>
                  <a:lnTo>
                    <a:pt x="188" y="278"/>
                  </a:lnTo>
                  <a:lnTo>
                    <a:pt x="178" y="278"/>
                  </a:lnTo>
                  <a:lnTo>
                    <a:pt x="174" y="266"/>
                  </a:lnTo>
                  <a:lnTo>
                    <a:pt x="158" y="270"/>
                  </a:lnTo>
                  <a:lnTo>
                    <a:pt x="158" y="278"/>
                  </a:lnTo>
                  <a:lnTo>
                    <a:pt x="148" y="276"/>
                  </a:lnTo>
                  <a:lnTo>
                    <a:pt x="150" y="246"/>
                  </a:lnTo>
                  <a:lnTo>
                    <a:pt x="142" y="246"/>
                  </a:lnTo>
                  <a:lnTo>
                    <a:pt x="132" y="262"/>
                  </a:lnTo>
                  <a:lnTo>
                    <a:pt x="120" y="264"/>
                  </a:lnTo>
                  <a:lnTo>
                    <a:pt x="112" y="254"/>
                  </a:lnTo>
                  <a:lnTo>
                    <a:pt x="86" y="250"/>
                  </a:lnTo>
                  <a:lnTo>
                    <a:pt x="82" y="264"/>
                  </a:lnTo>
                  <a:lnTo>
                    <a:pt x="90" y="264"/>
                  </a:lnTo>
                  <a:lnTo>
                    <a:pt x="92" y="292"/>
                  </a:lnTo>
                  <a:lnTo>
                    <a:pt x="72" y="294"/>
                  </a:lnTo>
                  <a:lnTo>
                    <a:pt x="62" y="312"/>
                  </a:lnTo>
                  <a:lnTo>
                    <a:pt x="38" y="318"/>
                  </a:lnTo>
                  <a:lnTo>
                    <a:pt x="10" y="308"/>
                  </a:lnTo>
                  <a:lnTo>
                    <a:pt x="12" y="266"/>
                  </a:lnTo>
                  <a:lnTo>
                    <a:pt x="20" y="256"/>
                  </a:lnTo>
                  <a:lnTo>
                    <a:pt x="20" y="242"/>
                  </a:lnTo>
                  <a:lnTo>
                    <a:pt x="2" y="216"/>
                  </a:lnTo>
                  <a:lnTo>
                    <a:pt x="0" y="180"/>
                  </a:lnTo>
                  <a:lnTo>
                    <a:pt x="18" y="166"/>
                  </a:lnTo>
                  <a:lnTo>
                    <a:pt x="6" y="144"/>
                  </a:lnTo>
                  <a:lnTo>
                    <a:pt x="10" y="128"/>
                  </a:lnTo>
                  <a:lnTo>
                    <a:pt x="34" y="116"/>
                  </a:lnTo>
                  <a:lnTo>
                    <a:pt x="44" y="126"/>
                  </a:lnTo>
                  <a:lnTo>
                    <a:pt x="50" y="126"/>
                  </a:lnTo>
                  <a:lnTo>
                    <a:pt x="60" y="114"/>
                  </a:lnTo>
                  <a:lnTo>
                    <a:pt x="98" y="112"/>
                  </a:lnTo>
                  <a:lnTo>
                    <a:pt x="106" y="126"/>
                  </a:lnTo>
                  <a:lnTo>
                    <a:pt x="126" y="120"/>
                  </a:lnTo>
                  <a:lnTo>
                    <a:pt x="126" y="82"/>
                  </a:lnTo>
                  <a:lnTo>
                    <a:pt x="132" y="76"/>
                  </a:lnTo>
                  <a:lnTo>
                    <a:pt x="146" y="82"/>
                  </a:lnTo>
                  <a:lnTo>
                    <a:pt x="190" y="50"/>
                  </a:lnTo>
                  <a:lnTo>
                    <a:pt x="188" y="28"/>
                  </a:lnTo>
                  <a:lnTo>
                    <a:pt x="202" y="24"/>
                  </a:lnTo>
                  <a:lnTo>
                    <a:pt x="212" y="32"/>
                  </a:lnTo>
                  <a:lnTo>
                    <a:pt x="240" y="26"/>
                  </a:lnTo>
                  <a:lnTo>
                    <a:pt x="262" y="2"/>
                  </a:lnTo>
                  <a:lnTo>
                    <a:pt x="274" y="6"/>
                  </a:lnTo>
                  <a:lnTo>
                    <a:pt x="290" y="0"/>
                  </a:lnTo>
                  <a:lnTo>
                    <a:pt x="300" y="8"/>
                  </a:lnTo>
                  <a:lnTo>
                    <a:pt x="300" y="22"/>
                  </a:lnTo>
                  <a:lnTo>
                    <a:pt x="318" y="18"/>
                  </a:lnTo>
                  <a:lnTo>
                    <a:pt x="334" y="44"/>
                  </a:lnTo>
                  <a:lnTo>
                    <a:pt x="386" y="70"/>
                  </a:lnTo>
                  <a:lnTo>
                    <a:pt x="382" y="94"/>
                  </a:lnTo>
                  <a:lnTo>
                    <a:pt x="406" y="114"/>
                  </a:lnTo>
                  <a:lnTo>
                    <a:pt x="424" y="118"/>
                  </a:lnTo>
                  <a:lnTo>
                    <a:pt x="428" y="102"/>
                  </a:lnTo>
                  <a:lnTo>
                    <a:pt x="442" y="102"/>
                  </a:lnTo>
                  <a:lnTo>
                    <a:pt x="446" y="88"/>
                  </a:lnTo>
                  <a:lnTo>
                    <a:pt x="426" y="82"/>
                  </a:lnTo>
                  <a:lnTo>
                    <a:pt x="432" y="66"/>
                  </a:lnTo>
                  <a:lnTo>
                    <a:pt x="448" y="66"/>
                  </a:lnTo>
                  <a:lnTo>
                    <a:pt x="466" y="50"/>
                  </a:lnTo>
                  <a:lnTo>
                    <a:pt x="470" y="52"/>
                  </a:lnTo>
                  <a:lnTo>
                    <a:pt x="470" y="68"/>
                  </a:lnTo>
                  <a:lnTo>
                    <a:pt x="486" y="66"/>
                  </a:lnTo>
                  <a:lnTo>
                    <a:pt x="496" y="96"/>
                  </a:lnTo>
                  <a:lnTo>
                    <a:pt x="542" y="84"/>
                  </a:lnTo>
                  <a:lnTo>
                    <a:pt x="524" y="14"/>
                  </a:lnTo>
                  <a:lnTo>
                    <a:pt x="540" y="8"/>
                  </a:lnTo>
                  <a:lnTo>
                    <a:pt x="558" y="12"/>
                  </a:lnTo>
                  <a:lnTo>
                    <a:pt x="566" y="40"/>
                  </a:lnTo>
                  <a:lnTo>
                    <a:pt x="592" y="48"/>
                  </a:lnTo>
                  <a:lnTo>
                    <a:pt x="624" y="30"/>
                  </a:lnTo>
                  <a:lnTo>
                    <a:pt x="634" y="34"/>
                  </a:lnTo>
                  <a:lnTo>
                    <a:pt x="646" y="26"/>
                  </a:lnTo>
                  <a:lnTo>
                    <a:pt x="654" y="30"/>
                  </a:lnTo>
                  <a:lnTo>
                    <a:pt x="652" y="36"/>
                  </a:lnTo>
                  <a:lnTo>
                    <a:pt x="678" y="36"/>
                  </a:lnTo>
                  <a:lnTo>
                    <a:pt x="690" y="28"/>
                  </a:lnTo>
                  <a:lnTo>
                    <a:pt x="708" y="60"/>
                  </a:lnTo>
                  <a:lnTo>
                    <a:pt x="724" y="66"/>
                  </a:lnTo>
                  <a:lnTo>
                    <a:pt x="724" y="66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108" name="Freeform 53"/>
            <p:cNvSpPr>
              <a:spLocks/>
            </p:cNvSpPr>
            <p:nvPr/>
          </p:nvSpPr>
          <p:spPr bwMode="auto">
            <a:xfrm>
              <a:off x="5270494" y="4149725"/>
              <a:ext cx="1811337" cy="1795463"/>
            </a:xfrm>
            <a:custGeom>
              <a:avLst/>
              <a:gdLst>
                <a:gd name="T0" fmla="*/ 1175612 w 1134"/>
                <a:gd name="T1" fmla="*/ 180496 h 1134"/>
                <a:gd name="T2" fmla="*/ 1316174 w 1134"/>
                <a:gd name="T3" fmla="*/ 329327 h 1134"/>
                <a:gd name="T4" fmla="*/ 1281034 w 1134"/>
                <a:gd name="T5" fmla="*/ 417991 h 1134"/>
                <a:gd name="T6" fmla="*/ 1357704 w 1134"/>
                <a:gd name="T7" fmla="*/ 550989 h 1134"/>
                <a:gd name="T8" fmla="*/ 1562158 w 1134"/>
                <a:gd name="T9" fmla="*/ 766317 h 1134"/>
                <a:gd name="T10" fmla="*/ 1715499 w 1134"/>
                <a:gd name="T11" fmla="*/ 829650 h 1134"/>
                <a:gd name="T12" fmla="*/ 1773002 w 1134"/>
                <a:gd name="T13" fmla="*/ 949980 h 1134"/>
                <a:gd name="T14" fmla="*/ 1773002 w 1134"/>
                <a:gd name="T15" fmla="*/ 1048145 h 1134"/>
                <a:gd name="T16" fmla="*/ 1712305 w 1134"/>
                <a:gd name="T17" fmla="*/ 1022812 h 1134"/>
                <a:gd name="T18" fmla="*/ 1673969 w 1134"/>
                <a:gd name="T19" fmla="*/ 1089311 h 1134"/>
                <a:gd name="T20" fmla="*/ 1673969 w 1134"/>
                <a:gd name="T21" fmla="*/ 1124143 h 1134"/>
                <a:gd name="T22" fmla="*/ 1648413 w 1134"/>
                <a:gd name="T23" fmla="*/ 1181142 h 1134"/>
                <a:gd name="T24" fmla="*/ 1574936 w 1134"/>
                <a:gd name="T25" fmla="*/ 1212808 h 1134"/>
                <a:gd name="T26" fmla="*/ 1523823 w 1134"/>
                <a:gd name="T27" fmla="*/ 1234974 h 1134"/>
                <a:gd name="T28" fmla="*/ 1479099 w 1134"/>
                <a:gd name="T29" fmla="*/ 1241308 h 1134"/>
                <a:gd name="T30" fmla="*/ 1466320 w 1134"/>
                <a:gd name="T31" fmla="*/ 1276140 h 1134"/>
                <a:gd name="T32" fmla="*/ 1421596 w 1134"/>
                <a:gd name="T33" fmla="*/ 1314139 h 1134"/>
                <a:gd name="T34" fmla="*/ 1475904 w 1134"/>
                <a:gd name="T35" fmla="*/ 1386971 h 1134"/>
                <a:gd name="T36" fmla="*/ 1511045 w 1134"/>
                <a:gd name="T37" fmla="*/ 1510469 h 1134"/>
                <a:gd name="T38" fmla="*/ 1539796 w 1134"/>
                <a:gd name="T39" fmla="*/ 1649799 h 1134"/>
                <a:gd name="T40" fmla="*/ 1408817 w 1134"/>
                <a:gd name="T41" fmla="*/ 1570634 h 1134"/>
                <a:gd name="T42" fmla="*/ 1255477 w 1134"/>
                <a:gd name="T43" fmla="*/ 1532635 h 1134"/>
                <a:gd name="T44" fmla="*/ 1057412 w 1134"/>
                <a:gd name="T45" fmla="*/ 1618133 h 1134"/>
                <a:gd name="T46" fmla="*/ 862541 w 1134"/>
                <a:gd name="T47" fmla="*/ 1719465 h 1134"/>
                <a:gd name="T48" fmla="*/ 753925 w 1134"/>
                <a:gd name="T49" fmla="*/ 1671966 h 1134"/>
                <a:gd name="T50" fmla="*/ 600584 w 1134"/>
                <a:gd name="T51" fmla="*/ 1656133 h 1134"/>
                <a:gd name="T52" fmla="*/ 527109 w 1134"/>
                <a:gd name="T53" fmla="*/ 1630800 h 1134"/>
                <a:gd name="T54" fmla="*/ 437660 w 1134"/>
                <a:gd name="T55" fmla="*/ 1795463 h 1134"/>
                <a:gd name="T56" fmla="*/ 389741 w 1134"/>
                <a:gd name="T57" fmla="*/ 1668799 h 1134"/>
                <a:gd name="T58" fmla="*/ 261957 w 1134"/>
                <a:gd name="T59" fmla="*/ 1640300 h 1134"/>
                <a:gd name="T60" fmla="*/ 325849 w 1134"/>
                <a:gd name="T61" fmla="*/ 1548468 h 1134"/>
                <a:gd name="T62" fmla="*/ 447244 w 1134"/>
                <a:gd name="T63" fmla="*/ 1535801 h 1134"/>
                <a:gd name="T64" fmla="*/ 444049 w 1134"/>
                <a:gd name="T65" fmla="*/ 1453470 h 1134"/>
                <a:gd name="T66" fmla="*/ 412103 w 1134"/>
                <a:gd name="T67" fmla="*/ 1298306 h 1134"/>
                <a:gd name="T68" fmla="*/ 408909 w 1134"/>
                <a:gd name="T69" fmla="*/ 1136810 h 1134"/>
                <a:gd name="T70" fmla="*/ 485579 w 1134"/>
                <a:gd name="T71" fmla="*/ 1070311 h 1134"/>
                <a:gd name="T72" fmla="*/ 520719 w 1134"/>
                <a:gd name="T73" fmla="*/ 1003813 h 1134"/>
                <a:gd name="T74" fmla="*/ 587806 w 1134"/>
                <a:gd name="T75" fmla="*/ 987980 h 1134"/>
                <a:gd name="T76" fmla="*/ 504746 w 1134"/>
                <a:gd name="T77" fmla="*/ 810650 h 1134"/>
                <a:gd name="T78" fmla="*/ 453633 w 1134"/>
                <a:gd name="T79" fmla="*/ 642820 h 1134"/>
                <a:gd name="T80" fmla="*/ 421687 w 1134"/>
                <a:gd name="T81" fmla="*/ 493990 h 1134"/>
                <a:gd name="T82" fmla="*/ 357795 w 1134"/>
                <a:gd name="T83" fmla="*/ 493990 h 1134"/>
                <a:gd name="T84" fmla="*/ 325849 w 1134"/>
                <a:gd name="T85" fmla="*/ 417991 h 1134"/>
                <a:gd name="T86" fmla="*/ 252373 w 1134"/>
                <a:gd name="T87" fmla="*/ 427491 h 1134"/>
                <a:gd name="T88" fmla="*/ 210843 w 1134"/>
                <a:gd name="T89" fmla="*/ 414825 h 1134"/>
                <a:gd name="T90" fmla="*/ 143757 w 1134"/>
                <a:gd name="T91" fmla="*/ 417991 h 1134"/>
                <a:gd name="T92" fmla="*/ 15973 w 1134"/>
                <a:gd name="T93" fmla="*/ 487657 h 1134"/>
                <a:gd name="T94" fmla="*/ 0 w 1134"/>
                <a:gd name="T95" fmla="*/ 284994 h 1134"/>
                <a:gd name="T96" fmla="*/ 70281 w 1134"/>
                <a:gd name="T97" fmla="*/ 199496 h 1134"/>
                <a:gd name="T98" fmla="*/ 201260 w 1134"/>
                <a:gd name="T99" fmla="*/ 189996 h 1134"/>
                <a:gd name="T100" fmla="*/ 300292 w 1134"/>
                <a:gd name="T101" fmla="*/ 44332 h 1134"/>
                <a:gd name="T102" fmla="*/ 437660 w 1134"/>
                <a:gd name="T103" fmla="*/ 9500 h 1134"/>
                <a:gd name="T104" fmla="*/ 533498 w 1134"/>
                <a:gd name="T105" fmla="*/ 69665 h 1134"/>
                <a:gd name="T106" fmla="*/ 683644 w 1134"/>
                <a:gd name="T107" fmla="*/ 161497 h 1134"/>
                <a:gd name="T108" fmla="*/ 715590 w 1134"/>
                <a:gd name="T109" fmla="*/ 104498 h 1134"/>
                <a:gd name="T110" fmla="*/ 792260 w 1134"/>
                <a:gd name="T111" fmla="*/ 151997 h 1134"/>
                <a:gd name="T112" fmla="*/ 904071 w 1134"/>
                <a:gd name="T113" fmla="*/ 63332 h 1134"/>
                <a:gd name="T114" fmla="*/ 1044633 w 1134"/>
                <a:gd name="T115" fmla="*/ 47499 h 1134"/>
                <a:gd name="T116" fmla="*/ 1156444 w 1134"/>
                <a:gd name="T117" fmla="*/ 104498 h 11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34"/>
                <a:gd name="T178" fmla="*/ 0 h 1134"/>
                <a:gd name="T179" fmla="*/ 1134 w 1134"/>
                <a:gd name="T180" fmla="*/ 1134 h 11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34" h="1134">
                  <a:moveTo>
                    <a:pt x="724" y="66"/>
                  </a:moveTo>
                  <a:lnTo>
                    <a:pt x="724" y="78"/>
                  </a:lnTo>
                  <a:lnTo>
                    <a:pt x="710" y="78"/>
                  </a:lnTo>
                  <a:lnTo>
                    <a:pt x="710" y="90"/>
                  </a:lnTo>
                  <a:lnTo>
                    <a:pt x="736" y="114"/>
                  </a:lnTo>
                  <a:lnTo>
                    <a:pt x="726" y="128"/>
                  </a:lnTo>
                  <a:lnTo>
                    <a:pt x="752" y="140"/>
                  </a:lnTo>
                  <a:lnTo>
                    <a:pt x="810" y="188"/>
                  </a:lnTo>
                  <a:lnTo>
                    <a:pt x="806" y="198"/>
                  </a:lnTo>
                  <a:lnTo>
                    <a:pt x="824" y="208"/>
                  </a:lnTo>
                  <a:lnTo>
                    <a:pt x="818" y="238"/>
                  </a:lnTo>
                  <a:lnTo>
                    <a:pt x="800" y="232"/>
                  </a:lnTo>
                  <a:lnTo>
                    <a:pt x="798" y="244"/>
                  </a:lnTo>
                  <a:lnTo>
                    <a:pt x="810" y="252"/>
                  </a:lnTo>
                  <a:lnTo>
                    <a:pt x="802" y="264"/>
                  </a:lnTo>
                  <a:lnTo>
                    <a:pt x="792" y="264"/>
                  </a:lnTo>
                  <a:lnTo>
                    <a:pt x="790" y="276"/>
                  </a:lnTo>
                  <a:lnTo>
                    <a:pt x="826" y="302"/>
                  </a:lnTo>
                  <a:lnTo>
                    <a:pt x="832" y="346"/>
                  </a:lnTo>
                  <a:lnTo>
                    <a:pt x="850" y="348"/>
                  </a:lnTo>
                  <a:lnTo>
                    <a:pt x="858" y="380"/>
                  </a:lnTo>
                  <a:lnTo>
                    <a:pt x="876" y="386"/>
                  </a:lnTo>
                  <a:lnTo>
                    <a:pt x="896" y="420"/>
                  </a:lnTo>
                  <a:lnTo>
                    <a:pt x="944" y="444"/>
                  </a:lnTo>
                  <a:lnTo>
                    <a:pt x="978" y="484"/>
                  </a:lnTo>
                  <a:lnTo>
                    <a:pt x="1002" y="484"/>
                  </a:lnTo>
                  <a:lnTo>
                    <a:pt x="1030" y="502"/>
                  </a:lnTo>
                  <a:lnTo>
                    <a:pt x="1040" y="522"/>
                  </a:lnTo>
                  <a:lnTo>
                    <a:pt x="1052" y="530"/>
                  </a:lnTo>
                  <a:lnTo>
                    <a:pt x="1074" y="524"/>
                  </a:lnTo>
                  <a:lnTo>
                    <a:pt x="1084" y="534"/>
                  </a:lnTo>
                  <a:lnTo>
                    <a:pt x="1086" y="556"/>
                  </a:lnTo>
                  <a:lnTo>
                    <a:pt x="1108" y="566"/>
                  </a:lnTo>
                  <a:lnTo>
                    <a:pt x="1120" y="590"/>
                  </a:lnTo>
                  <a:lnTo>
                    <a:pt x="1110" y="600"/>
                  </a:lnTo>
                  <a:lnTo>
                    <a:pt x="1130" y="616"/>
                  </a:lnTo>
                  <a:lnTo>
                    <a:pt x="1134" y="648"/>
                  </a:lnTo>
                  <a:lnTo>
                    <a:pt x="1114" y="668"/>
                  </a:lnTo>
                  <a:lnTo>
                    <a:pt x="1110" y="662"/>
                  </a:lnTo>
                  <a:lnTo>
                    <a:pt x="1096" y="654"/>
                  </a:lnTo>
                  <a:lnTo>
                    <a:pt x="1088" y="650"/>
                  </a:lnTo>
                  <a:lnTo>
                    <a:pt x="1080" y="648"/>
                  </a:lnTo>
                  <a:lnTo>
                    <a:pt x="1072" y="646"/>
                  </a:lnTo>
                  <a:lnTo>
                    <a:pt x="1066" y="670"/>
                  </a:lnTo>
                  <a:lnTo>
                    <a:pt x="1046" y="668"/>
                  </a:lnTo>
                  <a:lnTo>
                    <a:pt x="1050" y="682"/>
                  </a:lnTo>
                  <a:lnTo>
                    <a:pt x="1048" y="688"/>
                  </a:lnTo>
                  <a:lnTo>
                    <a:pt x="1048" y="692"/>
                  </a:lnTo>
                  <a:lnTo>
                    <a:pt x="1046" y="696"/>
                  </a:lnTo>
                  <a:lnTo>
                    <a:pt x="1046" y="700"/>
                  </a:lnTo>
                  <a:lnTo>
                    <a:pt x="1048" y="710"/>
                  </a:lnTo>
                  <a:lnTo>
                    <a:pt x="1048" y="716"/>
                  </a:lnTo>
                  <a:lnTo>
                    <a:pt x="1046" y="724"/>
                  </a:lnTo>
                  <a:lnTo>
                    <a:pt x="1040" y="734"/>
                  </a:lnTo>
                  <a:lnTo>
                    <a:pt x="1032" y="746"/>
                  </a:lnTo>
                  <a:lnTo>
                    <a:pt x="1020" y="754"/>
                  </a:lnTo>
                  <a:lnTo>
                    <a:pt x="1008" y="762"/>
                  </a:lnTo>
                  <a:lnTo>
                    <a:pt x="996" y="764"/>
                  </a:lnTo>
                  <a:lnTo>
                    <a:pt x="986" y="766"/>
                  </a:lnTo>
                  <a:lnTo>
                    <a:pt x="976" y="768"/>
                  </a:lnTo>
                  <a:lnTo>
                    <a:pt x="966" y="772"/>
                  </a:lnTo>
                  <a:lnTo>
                    <a:pt x="954" y="780"/>
                  </a:lnTo>
                  <a:lnTo>
                    <a:pt x="950" y="782"/>
                  </a:lnTo>
                  <a:lnTo>
                    <a:pt x="944" y="782"/>
                  </a:lnTo>
                  <a:lnTo>
                    <a:pt x="930" y="784"/>
                  </a:lnTo>
                  <a:lnTo>
                    <a:pt x="926" y="784"/>
                  </a:lnTo>
                  <a:lnTo>
                    <a:pt x="924" y="786"/>
                  </a:lnTo>
                  <a:lnTo>
                    <a:pt x="922" y="790"/>
                  </a:lnTo>
                  <a:lnTo>
                    <a:pt x="920" y="802"/>
                  </a:lnTo>
                  <a:lnTo>
                    <a:pt x="918" y="806"/>
                  </a:lnTo>
                  <a:lnTo>
                    <a:pt x="914" y="810"/>
                  </a:lnTo>
                  <a:lnTo>
                    <a:pt x="894" y="820"/>
                  </a:lnTo>
                  <a:lnTo>
                    <a:pt x="890" y="824"/>
                  </a:lnTo>
                  <a:lnTo>
                    <a:pt x="890" y="830"/>
                  </a:lnTo>
                  <a:lnTo>
                    <a:pt x="894" y="838"/>
                  </a:lnTo>
                  <a:lnTo>
                    <a:pt x="898" y="846"/>
                  </a:lnTo>
                  <a:lnTo>
                    <a:pt x="912" y="862"/>
                  </a:lnTo>
                  <a:lnTo>
                    <a:pt x="924" y="876"/>
                  </a:lnTo>
                  <a:lnTo>
                    <a:pt x="934" y="890"/>
                  </a:lnTo>
                  <a:lnTo>
                    <a:pt x="942" y="906"/>
                  </a:lnTo>
                  <a:lnTo>
                    <a:pt x="946" y="920"/>
                  </a:lnTo>
                  <a:lnTo>
                    <a:pt x="938" y="934"/>
                  </a:lnTo>
                  <a:lnTo>
                    <a:pt x="946" y="954"/>
                  </a:lnTo>
                  <a:lnTo>
                    <a:pt x="936" y="966"/>
                  </a:lnTo>
                  <a:lnTo>
                    <a:pt x="948" y="978"/>
                  </a:lnTo>
                  <a:lnTo>
                    <a:pt x="966" y="974"/>
                  </a:lnTo>
                  <a:lnTo>
                    <a:pt x="980" y="1002"/>
                  </a:lnTo>
                  <a:lnTo>
                    <a:pt x="964" y="1042"/>
                  </a:lnTo>
                  <a:lnTo>
                    <a:pt x="970" y="1056"/>
                  </a:lnTo>
                  <a:lnTo>
                    <a:pt x="952" y="1064"/>
                  </a:lnTo>
                  <a:lnTo>
                    <a:pt x="900" y="1034"/>
                  </a:lnTo>
                  <a:lnTo>
                    <a:pt x="912" y="1008"/>
                  </a:lnTo>
                  <a:lnTo>
                    <a:pt x="882" y="992"/>
                  </a:lnTo>
                  <a:lnTo>
                    <a:pt x="856" y="996"/>
                  </a:lnTo>
                  <a:lnTo>
                    <a:pt x="832" y="998"/>
                  </a:lnTo>
                  <a:lnTo>
                    <a:pt x="828" y="986"/>
                  </a:lnTo>
                  <a:lnTo>
                    <a:pt x="796" y="980"/>
                  </a:lnTo>
                  <a:lnTo>
                    <a:pt x="786" y="968"/>
                  </a:lnTo>
                  <a:lnTo>
                    <a:pt x="756" y="982"/>
                  </a:lnTo>
                  <a:lnTo>
                    <a:pt x="760" y="1016"/>
                  </a:lnTo>
                  <a:lnTo>
                    <a:pt x="748" y="1028"/>
                  </a:lnTo>
                  <a:lnTo>
                    <a:pt x="740" y="1012"/>
                  </a:lnTo>
                  <a:lnTo>
                    <a:pt x="662" y="1022"/>
                  </a:lnTo>
                  <a:lnTo>
                    <a:pt x="638" y="1012"/>
                  </a:lnTo>
                  <a:lnTo>
                    <a:pt x="632" y="1040"/>
                  </a:lnTo>
                  <a:lnTo>
                    <a:pt x="598" y="1044"/>
                  </a:lnTo>
                  <a:lnTo>
                    <a:pt x="592" y="1068"/>
                  </a:lnTo>
                  <a:lnTo>
                    <a:pt x="540" y="1086"/>
                  </a:lnTo>
                  <a:lnTo>
                    <a:pt x="528" y="1074"/>
                  </a:lnTo>
                  <a:lnTo>
                    <a:pt x="496" y="1076"/>
                  </a:lnTo>
                  <a:lnTo>
                    <a:pt x="490" y="1084"/>
                  </a:lnTo>
                  <a:lnTo>
                    <a:pt x="476" y="1074"/>
                  </a:lnTo>
                  <a:lnTo>
                    <a:pt x="472" y="1056"/>
                  </a:lnTo>
                  <a:lnTo>
                    <a:pt x="480" y="1048"/>
                  </a:lnTo>
                  <a:lnTo>
                    <a:pt x="484" y="1028"/>
                  </a:lnTo>
                  <a:lnTo>
                    <a:pt x="428" y="1044"/>
                  </a:lnTo>
                  <a:lnTo>
                    <a:pt x="382" y="1022"/>
                  </a:lnTo>
                  <a:lnTo>
                    <a:pt x="376" y="1046"/>
                  </a:lnTo>
                  <a:lnTo>
                    <a:pt x="360" y="1046"/>
                  </a:lnTo>
                  <a:lnTo>
                    <a:pt x="358" y="1032"/>
                  </a:lnTo>
                  <a:lnTo>
                    <a:pt x="368" y="1014"/>
                  </a:lnTo>
                  <a:lnTo>
                    <a:pt x="356" y="1004"/>
                  </a:lnTo>
                  <a:lnTo>
                    <a:pt x="330" y="1030"/>
                  </a:lnTo>
                  <a:lnTo>
                    <a:pt x="330" y="1052"/>
                  </a:lnTo>
                  <a:lnTo>
                    <a:pt x="340" y="1054"/>
                  </a:lnTo>
                  <a:lnTo>
                    <a:pt x="340" y="1100"/>
                  </a:lnTo>
                  <a:lnTo>
                    <a:pt x="292" y="1134"/>
                  </a:lnTo>
                  <a:lnTo>
                    <a:pt x="274" y="1134"/>
                  </a:lnTo>
                  <a:lnTo>
                    <a:pt x="276" y="1106"/>
                  </a:lnTo>
                  <a:lnTo>
                    <a:pt x="258" y="1104"/>
                  </a:lnTo>
                  <a:lnTo>
                    <a:pt x="254" y="1090"/>
                  </a:lnTo>
                  <a:lnTo>
                    <a:pt x="266" y="1076"/>
                  </a:lnTo>
                  <a:lnTo>
                    <a:pt x="244" y="1054"/>
                  </a:lnTo>
                  <a:lnTo>
                    <a:pt x="238" y="1032"/>
                  </a:lnTo>
                  <a:lnTo>
                    <a:pt x="214" y="1032"/>
                  </a:lnTo>
                  <a:lnTo>
                    <a:pt x="204" y="1004"/>
                  </a:lnTo>
                  <a:lnTo>
                    <a:pt x="164" y="1036"/>
                  </a:lnTo>
                  <a:lnTo>
                    <a:pt x="142" y="1018"/>
                  </a:lnTo>
                  <a:lnTo>
                    <a:pt x="160" y="1000"/>
                  </a:lnTo>
                  <a:lnTo>
                    <a:pt x="172" y="1004"/>
                  </a:lnTo>
                  <a:lnTo>
                    <a:pt x="198" y="990"/>
                  </a:lnTo>
                  <a:lnTo>
                    <a:pt x="204" y="978"/>
                  </a:lnTo>
                  <a:lnTo>
                    <a:pt x="228" y="988"/>
                  </a:lnTo>
                  <a:lnTo>
                    <a:pt x="236" y="976"/>
                  </a:lnTo>
                  <a:lnTo>
                    <a:pt x="252" y="974"/>
                  </a:lnTo>
                  <a:lnTo>
                    <a:pt x="262" y="992"/>
                  </a:lnTo>
                  <a:lnTo>
                    <a:pt x="280" y="970"/>
                  </a:lnTo>
                  <a:lnTo>
                    <a:pt x="276" y="956"/>
                  </a:lnTo>
                  <a:lnTo>
                    <a:pt x="266" y="950"/>
                  </a:lnTo>
                  <a:lnTo>
                    <a:pt x="266" y="940"/>
                  </a:lnTo>
                  <a:lnTo>
                    <a:pt x="278" y="928"/>
                  </a:lnTo>
                  <a:lnTo>
                    <a:pt x="278" y="918"/>
                  </a:lnTo>
                  <a:lnTo>
                    <a:pt x="268" y="912"/>
                  </a:lnTo>
                  <a:lnTo>
                    <a:pt x="268" y="894"/>
                  </a:lnTo>
                  <a:lnTo>
                    <a:pt x="278" y="876"/>
                  </a:lnTo>
                  <a:lnTo>
                    <a:pt x="270" y="832"/>
                  </a:lnTo>
                  <a:lnTo>
                    <a:pt x="258" y="820"/>
                  </a:lnTo>
                  <a:lnTo>
                    <a:pt x="260" y="782"/>
                  </a:lnTo>
                  <a:lnTo>
                    <a:pt x="246" y="756"/>
                  </a:lnTo>
                  <a:lnTo>
                    <a:pt x="238" y="754"/>
                  </a:lnTo>
                  <a:lnTo>
                    <a:pt x="228" y="734"/>
                  </a:lnTo>
                  <a:lnTo>
                    <a:pt x="256" y="718"/>
                  </a:lnTo>
                  <a:lnTo>
                    <a:pt x="258" y="704"/>
                  </a:lnTo>
                  <a:lnTo>
                    <a:pt x="276" y="690"/>
                  </a:lnTo>
                  <a:lnTo>
                    <a:pt x="282" y="698"/>
                  </a:lnTo>
                  <a:lnTo>
                    <a:pt x="308" y="686"/>
                  </a:lnTo>
                  <a:lnTo>
                    <a:pt x="304" y="676"/>
                  </a:lnTo>
                  <a:lnTo>
                    <a:pt x="314" y="674"/>
                  </a:lnTo>
                  <a:lnTo>
                    <a:pt x="300" y="630"/>
                  </a:lnTo>
                  <a:lnTo>
                    <a:pt x="306" y="622"/>
                  </a:lnTo>
                  <a:lnTo>
                    <a:pt x="324" y="626"/>
                  </a:lnTo>
                  <a:lnTo>
                    <a:pt x="326" y="634"/>
                  </a:lnTo>
                  <a:lnTo>
                    <a:pt x="336" y="634"/>
                  </a:lnTo>
                  <a:lnTo>
                    <a:pt x="338" y="626"/>
                  </a:lnTo>
                  <a:lnTo>
                    <a:pt x="348" y="622"/>
                  </a:lnTo>
                  <a:lnTo>
                    <a:pt x="354" y="636"/>
                  </a:lnTo>
                  <a:lnTo>
                    <a:pt x="368" y="624"/>
                  </a:lnTo>
                  <a:lnTo>
                    <a:pt x="366" y="606"/>
                  </a:lnTo>
                  <a:lnTo>
                    <a:pt x="350" y="594"/>
                  </a:lnTo>
                  <a:lnTo>
                    <a:pt x="352" y="570"/>
                  </a:lnTo>
                  <a:lnTo>
                    <a:pt x="350" y="530"/>
                  </a:lnTo>
                  <a:lnTo>
                    <a:pt x="316" y="512"/>
                  </a:lnTo>
                  <a:lnTo>
                    <a:pt x="304" y="478"/>
                  </a:lnTo>
                  <a:lnTo>
                    <a:pt x="306" y="464"/>
                  </a:lnTo>
                  <a:lnTo>
                    <a:pt x="282" y="446"/>
                  </a:lnTo>
                  <a:lnTo>
                    <a:pt x="278" y="418"/>
                  </a:lnTo>
                  <a:lnTo>
                    <a:pt x="284" y="406"/>
                  </a:lnTo>
                  <a:lnTo>
                    <a:pt x="276" y="386"/>
                  </a:lnTo>
                  <a:lnTo>
                    <a:pt x="284" y="376"/>
                  </a:lnTo>
                  <a:lnTo>
                    <a:pt x="276" y="352"/>
                  </a:lnTo>
                  <a:lnTo>
                    <a:pt x="276" y="324"/>
                  </a:lnTo>
                  <a:lnTo>
                    <a:pt x="264" y="312"/>
                  </a:lnTo>
                  <a:lnTo>
                    <a:pt x="248" y="322"/>
                  </a:lnTo>
                  <a:lnTo>
                    <a:pt x="248" y="332"/>
                  </a:lnTo>
                  <a:lnTo>
                    <a:pt x="234" y="338"/>
                  </a:lnTo>
                  <a:lnTo>
                    <a:pt x="224" y="334"/>
                  </a:lnTo>
                  <a:lnTo>
                    <a:pt x="224" y="312"/>
                  </a:lnTo>
                  <a:lnTo>
                    <a:pt x="218" y="308"/>
                  </a:lnTo>
                  <a:lnTo>
                    <a:pt x="206" y="318"/>
                  </a:lnTo>
                  <a:lnTo>
                    <a:pt x="200" y="312"/>
                  </a:lnTo>
                  <a:lnTo>
                    <a:pt x="208" y="292"/>
                  </a:lnTo>
                  <a:lnTo>
                    <a:pt x="204" y="264"/>
                  </a:lnTo>
                  <a:lnTo>
                    <a:pt x="190" y="266"/>
                  </a:lnTo>
                  <a:lnTo>
                    <a:pt x="188" y="278"/>
                  </a:lnTo>
                  <a:lnTo>
                    <a:pt x="178" y="278"/>
                  </a:lnTo>
                  <a:lnTo>
                    <a:pt x="174" y="266"/>
                  </a:lnTo>
                  <a:lnTo>
                    <a:pt x="158" y="270"/>
                  </a:lnTo>
                  <a:lnTo>
                    <a:pt x="158" y="278"/>
                  </a:lnTo>
                  <a:lnTo>
                    <a:pt x="148" y="276"/>
                  </a:lnTo>
                  <a:lnTo>
                    <a:pt x="150" y="246"/>
                  </a:lnTo>
                  <a:lnTo>
                    <a:pt x="142" y="246"/>
                  </a:lnTo>
                  <a:lnTo>
                    <a:pt x="132" y="262"/>
                  </a:lnTo>
                  <a:lnTo>
                    <a:pt x="120" y="264"/>
                  </a:lnTo>
                  <a:lnTo>
                    <a:pt x="112" y="254"/>
                  </a:lnTo>
                  <a:lnTo>
                    <a:pt x="86" y="250"/>
                  </a:lnTo>
                  <a:lnTo>
                    <a:pt x="82" y="264"/>
                  </a:lnTo>
                  <a:lnTo>
                    <a:pt x="90" y="264"/>
                  </a:lnTo>
                  <a:lnTo>
                    <a:pt x="92" y="292"/>
                  </a:lnTo>
                  <a:lnTo>
                    <a:pt x="72" y="294"/>
                  </a:lnTo>
                  <a:lnTo>
                    <a:pt x="62" y="312"/>
                  </a:lnTo>
                  <a:lnTo>
                    <a:pt x="38" y="318"/>
                  </a:lnTo>
                  <a:lnTo>
                    <a:pt x="10" y="308"/>
                  </a:lnTo>
                  <a:lnTo>
                    <a:pt x="12" y="266"/>
                  </a:lnTo>
                  <a:lnTo>
                    <a:pt x="20" y="256"/>
                  </a:lnTo>
                  <a:lnTo>
                    <a:pt x="20" y="242"/>
                  </a:lnTo>
                  <a:lnTo>
                    <a:pt x="2" y="216"/>
                  </a:lnTo>
                  <a:lnTo>
                    <a:pt x="0" y="180"/>
                  </a:lnTo>
                  <a:lnTo>
                    <a:pt x="18" y="166"/>
                  </a:lnTo>
                  <a:lnTo>
                    <a:pt x="6" y="144"/>
                  </a:lnTo>
                  <a:lnTo>
                    <a:pt x="10" y="128"/>
                  </a:lnTo>
                  <a:lnTo>
                    <a:pt x="34" y="116"/>
                  </a:lnTo>
                  <a:lnTo>
                    <a:pt x="44" y="126"/>
                  </a:lnTo>
                  <a:lnTo>
                    <a:pt x="50" y="126"/>
                  </a:lnTo>
                  <a:lnTo>
                    <a:pt x="60" y="114"/>
                  </a:lnTo>
                  <a:lnTo>
                    <a:pt x="98" y="112"/>
                  </a:lnTo>
                  <a:lnTo>
                    <a:pt x="106" y="126"/>
                  </a:lnTo>
                  <a:lnTo>
                    <a:pt x="126" y="120"/>
                  </a:lnTo>
                  <a:lnTo>
                    <a:pt x="126" y="82"/>
                  </a:lnTo>
                  <a:lnTo>
                    <a:pt x="132" y="76"/>
                  </a:lnTo>
                  <a:lnTo>
                    <a:pt x="146" y="82"/>
                  </a:lnTo>
                  <a:lnTo>
                    <a:pt x="190" y="50"/>
                  </a:lnTo>
                  <a:lnTo>
                    <a:pt x="188" y="28"/>
                  </a:lnTo>
                  <a:lnTo>
                    <a:pt x="202" y="24"/>
                  </a:lnTo>
                  <a:lnTo>
                    <a:pt x="212" y="32"/>
                  </a:lnTo>
                  <a:lnTo>
                    <a:pt x="240" y="26"/>
                  </a:lnTo>
                  <a:lnTo>
                    <a:pt x="262" y="2"/>
                  </a:lnTo>
                  <a:lnTo>
                    <a:pt x="274" y="6"/>
                  </a:lnTo>
                  <a:lnTo>
                    <a:pt x="290" y="0"/>
                  </a:lnTo>
                  <a:lnTo>
                    <a:pt x="300" y="8"/>
                  </a:lnTo>
                  <a:lnTo>
                    <a:pt x="300" y="22"/>
                  </a:lnTo>
                  <a:lnTo>
                    <a:pt x="318" y="18"/>
                  </a:lnTo>
                  <a:lnTo>
                    <a:pt x="334" y="44"/>
                  </a:lnTo>
                  <a:lnTo>
                    <a:pt x="386" y="70"/>
                  </a:lnTo>
                  <a:lnTo>
                    <a:pt x="382" y="94"/>
                  </a:lnTo>
                  <a:lnTo>
                    <a:pt x="406" y="114"/>
                  </a:lnTo>
                  <a:lnTo>
                    <a:pt x="424" y="118"/>
                  </a:lnTo>
                  <a:lnTo>
                    <a:pt x="428" y="102"/>
                  </a:lnTo>
                  <a:lnTo>
                    <a:pt x="442" y="102"/>
                  </a:lnTo>
                  <a:lnTo>
                    <a:pt x="446" y="88"/>
                  </a:lnTo>
                  <a:lnTo>
                    <a:pt x="426" y="82"/>
                  </a:lnTo>
                  <a:lnTo>
                    <a:pt x="432" y="66"/>
                  </a:lnTo>
                  <a:lnTo>
                    <a:pt x="448" y="66"/>
                  </a:lnTo>
                  <a:lnTo>
                    <a:pt x="466" y="50"/>
                  </a:lnTo>
                  <a:lnTo>
                    <a:pt x="470" y="52"/>
                  </a:lnTo>
                  <a:lnTo>
                    <a:pt x="470" y="68"/>
                  </a:lnTo>
                  <a:lnTo>
                    <a:pt x="486" y="66"/>
                  </a:lnTo>
                  <a:lnTo>
                    <a:pt x="496" y="96"/>
                  </a:lnTo>
                  <a:lnTo>
                    <a:pt x="542" y="84"/>
                  </a:lnTo>
                  <a:lnTo>
                    <a:pt x="524" y="14"/>
                  </a:lnTo>
                  <a:lnTo>
                    <a:pt x="540" y="8"/>
                  </a:lnTo>
                  <a:lnTo>
                    <a:pt x="558" y="12"/>
                  </a:lnTo>
                  <a:lnTo>
                    <a:pt x="566" y="40"/>
                  </a:lnTo>
                  <a:lnTo>
                    <a:pt x="592" y="48"/>
                  </a:lnTo>
                  <a:lnTo>
                    <a:pt x="624" y="30"/>
                  </a:lnTo>
                  <a:lnTo>
                    <a:pt x="634" y="34"/>
                  </a:lnTo>
                  <a:lnTo>
                    <a:pt x="646" y="26"/>
                  </a:lnTo>
                  <a:lnTo>
                    <a:pt x="654" y="30"/>
                  </a:lnTo>
                  <a:lnTo>
                    <a:pt x="652" y="36"/>
                  </a:lnTo>
                  <a:lnTo>
                    <a:pt x="678" y="36"/>
                  </a:lnTo>
                  <a:lnTo>
                    <a:pt x="690" y="28"/>
                  </a:lnTo>
                  <a:lnTo>
                    <a:pt x="708" y="60"/>
                  </a:lnTo>
                  <a:lnTo>
                    <a:pt x="724" y="66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09" name="Freeform 54"/>
            <p:cNvSpPr>
              <a:spLocks/>
            </p:cNvSpPr>
            <p:nvPr/>
          </p:nvSpPr>
          <p:spPr bwMode="auto">
            <a:xfrm>
              <a:off x="4697406" y="4538663"/>
              <a:ext cx="1160463" cy="1244600"/>
            </a:xfrm>
            <a:custGeom>
              <a:avLst/>
              <a:gdLst/>
              <a:ahLst/>
              <a:cxnLst>
                <a:cxn ang="0">
                  <a:pos x="476" y="754"/>
                </a:cxn>
                <a:cxn ang="0">
                  <a:pos x="440" y="748"/>
                </a:cxn>
                <a:cxn ang="0">
                  <a:pos x="420" y="728"/>
                </a:cxn>
                <a:cxn ang="0">
                  <a:pos x="402" y="710"/>
                </a:cxn>
                <a:cxn ang="0">
                  <a:pos x="372" y="694"/>
                </a:cxn>
                <a:cxn ang="0">
                  <a:pos x="368" y="704"/>
                </a:cxn>
                <a:cxn ang="0">
                  <a:pos x="404" y="734"/>
                </a:cxn>
                <a:cxn ang="0">
                  <a:pos x="394" y="742"/>
                </a:cxn>
                <a:cxn ang="0">
                  <a:pos x="346" y="718"/>
                </a:cxn>
                <a:cxn ang="0">
                  <a:pos x="346" y="728"/>
                </a:cxn>
                <a:cxn ang="0">
                  <a:pos x="346" y="740"/>
                </a:cxn>
                <a:cxn ang="0">
                  <a:pos x="302" y="738"/>
                </a:cxn>
                <a:cxn ang="0">
                  <a:pos x="220" y="720"/>
                </a:cxn>
                <a:cxn ang="0">
                  <a:pos x="238" y="772"/>
                </a:cxn>
                <a:cxn ang="0">
                  <a:pos x="204" y="778"/>
                </a:cxn>
                <a:cxn ang="0">
                  <a:pos x="156" y="762"/>
                </a:cxn>
                <a:cxn ang="0">
                  <a:pos x="110" y="778"/>
                </a:cxn>
                <a:cxn ang="0">
                  <a:pos x="76" y="774"/>
                </a:cxn>
                <a:cxn ang="0">
                  <a:pos x="40" y="780"/>
                </a:cxn>
                <a:cxn ang="0">
                  <a:pos x="8" y="748"/>
                </a:cxn>
                <a:cxn ang="0">
                  <a:pos x="4" y="708"/>
                </a:cxn>
                <a:cxn ang="0">
                  <a:pos x="6" y="668"/>
                </a:cxn>
                <a:cxn ang="0">
                  <a:pos x="22" y="616"/>
                </a:cxn>
                <a:cxn ang="0">
                  <a:pos x="22" y="582"/>
                </a:cxn>
                <a:cxn ang="0">
                  <a:pos x="58" y="512"/>
                </a:cxn>
                <a:cxn ang="0">
                  <a:pos x="62" y="480"/>
                </a:cxn>
                <a:cxn ang="0">
                  <a:pos x="82" y="426"/>
                </a:cxn>
                <a:cxn ang="0">
                  <a:pos x="96" y="400"/>
                </a:cxn>
                <a:cxn ang="0">
                  <a:pos x="118" y="368"/>
                </a:cxn>
                <a:cxn ang="0">
                  <a:pos x="144" y="346"/>
                </a:cxn>
                <a:cxn ang="0">
                  <a:pos x="158" y="318"/>
                </a:cxn>
                <a:cxn ang="0">
                  <a:pos x="210" y="250"/>
                </a:cxn>
                <a:cxn ang="0">
                  <a:pos x="220" y="218"/>
                </a:cxn>
                <a:cxn ang="0">
                  <a:pos x="242" y="180"/>
                </a:cxn>
                <a:cxn ang="0">
                  <a:pos x="246" y="144"/>
                </a:cxn>
                <a:cxn ang="0">
                  <a:pos x="234" y="118"/>
                </a:cxn>
                <a:cxn ang="0">
                  <a:pos x="270" y="82"/>
                </a:cxn>
                <a:cxn ang="0">
                  <a:pos x="302" y="68"/>
                </a:cxn>
                <a:cxn ang="0">
                  <a:pos x="320" y="130"/>
                </a:cxn>
                <a:cxn ang="0">
                  <a:pos x="360" y="78"/>
                </a:cxn>
                <a:cxn ang="0">
                  <a:pos x="420" y="66"/>
                </a:cxn>
                <a:cxn ang="0">
                  <a:pos x="444" y="4"/>
                </a:cxn>
                <a:cxn ang="0">
                  <a:pos x="508" y="0"/>
                </a:cxn>
                <a:cxn ang="0">
                  <a:pos x="536" y="32"/>
                </a:cxn>
                <a:cxn ang="0">
                  <a:pos x="558" y="66"/>
                </a:cxn>
                <a:cxn ang="0">
                  <a:pos x="592" y="92"/>
                </a:cxn>
                <a:cxn ang="0">
                  <a:pos x="634" y="106"/>
                </a:cxn>
                <a:cxn ang="0">
                  <a:pos x="640" y="200"/>
                </a:cxn>
                <a:cxn ang="0">
                  <a:pos x="710" y="324"/>
                </a:cxn>
                <a:cxn ang="0">
                  <a:pos x="706" y="376"/>
                </a:cxn>
                <a:cxn ang="0">
                  <a:pos x="664" y="376"/>
                </a:cxn>
                <a:cxn ang="0">
                  <a:pos x="640" y="452"/>
                </a:cxn>
                <a:cxn ang="0">
                  <a:pos x="596" y="508"/>
                </a:cxn>
                <a:cxn ang="0">
                  <a:pos x="636" y="630"/>
                </a:cxn>
                <a:cxn ang="0">
                  <a:pos x="624" y="694"/>
                </a:cxn>
                <a:cxn ang="0">
                  <a:pos x="610" y="728"/>
                </a:cxn>
                <a:cxn ang="0">
                  <a:pos x="530" y="758"/>
                </a:cxn>
              </a:cxnLst>
              <a:rect l="0" t="0" r="r" b="b"/>
              <a:pathLst>
                <a:path w="726" h="786">
                  <a:moveTo>
                    <a:pt x="500" y="772"/>
                  </a:moveTo>
                  <a:lnTo>
                    <a:pt x="500" y="772"/>
                  </a:lnTo>
                  <a:lnTo>
                    <a:pt x="486" y="762"/>
                  </a:lnTo>
                  <a:lnTo>
                    <a:pt x="486" y="762"/>
                  </a:lnTo>
                  <a:lnTo>
                    <a:pt x="476" y="754"/>
                  </a:lnTo>
                  <a:lnTo>
                    <a:pt x="466" y="750"/>
                  </a:lnTo>
                  <a:lnTo>
                    <a:pt x="454" y="748"/>
                  </a:lnTo>
                  <a:lnTo>
                    <a:pt x="444" y="748"/>
                  </a:lnTo>
                  <a:lnTo>
                    <a:pt x="444" y="748"/>
                  </a:lnTo>
                  <a:lnTo>
                    <a:pt x="440" y="748"/>
                  </a:lnTo>
                  <a:lnTo>
                    <a:pt x="436" y="746"/>
                  </a:lnTo>
                  <a:lnTo>
                    <a:pt x="430" y="740"/>
                  </a:lnTo>
                  <a:lnTo>
                    <a:pt x="424" y="734"/>
                  </a:lnTo>
                  <a:lnTo>
                    <a:pt x="420" y="728"/>
                  </a:lnTo>
                  <a:lnTo>
                    <a:pt x="420" y="728"/>
                  </a:lnTo>
                  <a:lnTo>
                    <a:pt x="414" y="722"/>
                  </a:lnTo>
                  <a:lnTo>
                    <a:pt x="410" y="716"/>
                  </a:lnTo>
                  <a:lnTo>
                    <a:pt x="406" y="712"/>
                  </a:lnTo>
                  <a:lnTo>
                    <a:pt x="402" y="710"/>
                  </a:lnTo>
                  <a:lnTo>
                    <a:pt x="402" y="710"/>
                  </a:lnTo>
                  <a:lnTo>
                    <a:pt x="396" y="708"/>
                  </a:lnTo>
                  <a:lnTo>
                    <a:pt x="390" y="706"/>
                  </a:lnTo>
                  <a:lnTo>
                    <a:pt x="382" y="700"/>
                  </a:lnTo>
                  <a:lnTo>
                    <a:pt x="382" y="700"/>
                  </a:lnTo>
                  <a:lnTo>
                    <a:pt x="372" y="694"/>
                  </a:lnTo>
                  <a:lnTo>
                    <a:pt x="368" y="694"/>
                  </a:lnTo>
                  <a:lnTo>
                    <a:pt x="366" y="698"/>
                  </a:lnTo>
                  <a:lnTo>
                    <a:pt x="366" y="698"/>
                  </a:lnTo>
                  <a:lnTo>
                    <a:pt x="366" y="700"/>
                  </a:lnTo>
                  <a:lnTo>
                    <a:pt x="368" y="704"/>
                  </a:lnTo>
                  <a:lnTo>
                    <a:pt x="376" y="710"/>
                  </a:lnTo>
                  <a:lnTo>
                    <a:pt x="396" y="722"/>
                  </a:lnTo>
                  <a:lnTo>
                    <a:pt x="396" y="722"/>
                  </a:lnTo>
                  <a:lnTo>
                    <a:pt x="400" y="728"/>
                  </a:lnTo>
                  <a:lnTo>
                    <a:pt x="404" y="734"/>
                  </a:lnTo>
                  <a:lnTo>
                    <a:pt x="402" y="738"/>
                  </a:lnTo>
                  <a:lnTo>
                    <a:pt x="400" y="742"/>
                  </a:lnTo>
                  <a:lnTo>
                    <a:pt x="400" y="742"/>
                  </a:lnTo>
                  <a:lnTo>
                    <a:pt x="398" y="744"/>
                  </a:lnTo>
                  <a:lnTo>
                    <a:pt x="394" y="742"/>
                  </a:lnTo>
                  <a:lnTo>
                    <a:pt x="386" y="738"/>
                  </a:lnTo>
                  <a:lnTo>
                    <a:pt x="370" y="728"/>
                  </a:lnTo>
                  <a:lnTo>
                    <a:pt x="370" y="728"/>
                  </a:lnTo>
                  <a:lnTo>
                    <a:pt x="352" y="718"/>
                  </a:lnTo>
                  <a:lnTo>
                    <a:pt x="346" y="718"/>
                  </a:lnTo>
                  <a:lnTo>
                    <a:pt x="344" y="718"/>
                  </a:lnTo>
                  <a:lnTo>
                    <a:pt x="344" y="720"/>
                  </a:lnTo>
                  <a:lnTo>
                    <a:pt x="344" y="720"/>
                  </a:lnTo>
                  <a:lnTo>
                    <a:pt x="344" y="724"/>
                  </a:lnTo>
                  <a:lnTo>
                    <a:pt x="346" y="728"/>
                  </a:lnTo>
                  <a:lnTo>
                    <a:pt x="348" y="730"/>
                  </a:lnTo>
                  <a:lnTo>
                    <a:pt x="350" y="736"/>
                  </a:lnTo>
                  <a:lnTo>
                    <a:pt x="350" y="736"/>
                  </a:lnTo>
                  <a:lnTo>
                    <a:pt x="348" y="738"/>
                  </a:lnTo>
                  <a:lnTo>
                    <a:pt x="346" y="740"/>
                  </a:lnTo>
                  <a:lnTo>
                    <a:pt x="338" y="742"/>
                  </a:lnTo>
                  <a:lnTo>
                    <a:pt x="328" y="724"/>
                  </a:lnTo>
                  <a:lnTo>
                    <a:pt x="318" y="724"/>
                  </a:lnTo>
                  <a:lnTo>
                    <a:pt x="314" y="738"/>
                  </a:lnTo>
                  <a:lnTo>
                    <a:pt x="302" y="738"/>
                  </a:lnTo>
                  <a:lnTo>
                    <a:pt x="292" y="720"/>
                  </a:lnTo>
                  <a:lnTo>
                    <a:pt x="290" y="700"/>
                  </a:lnTo>
                  <a:lnTo>
                    <a:pt x="252" y="700"/>
                  </a:lnTo>
                  <a:lnTo>
                    <a:pt x="246" y="716"/>
                  </a:lnTo>
                  <a:lnTo>
                    <a:pt x="220" y="720"/>
                  </a:lnTo>
                  <a:lnTo>
                    <a:pt x="230" y="746"/>
                  </a:lnTo>
                  <a:lnTo>
                    <a:pt x="250" y="742"/>
                  </a:lnTo>
                  <a:lnTo>
                    <a:pt x="252" y="752"/>
                  </a:lnTo>
                  <a:lnTo>
                    <a:pt x="234" y="762"/>
                  </a:lnTo>
                  <a:lnTo>
                    <a:pt x="238" y="772"/>
                  </a:lnTo>
                  <a:lnTo>
                    <a:pt x="226" y="780"/>
                  </a:lnTo>
                  <a:lnTo>
                    <a:pt x="226" y="780"/>
                  </a:lnTo>
                  <a:lnTo>
                    <a:pt x="220" y="780"/>
                  </a:lnTo>
                  <a:lnTo>
                    <a:pt x="204" y="778"/>
                  </a:lnTo>
                  <a:lnTo>
                    <a:pt x="204" y="778"/>
                  </a:lnTo>
                  <a:lnTo>
                    <a:pt x="194" y="776"/>
                  </a:lnTo>
                  <a:lnTo>
                    <a:pt x="186" y="772"/>
                  </a:lnTo>
                  <a:lnTo>
                    <a:pt x="162" y="762"/>
                  </a:lnTo>
                  <a:lnTo>
                    <a:pt x="162" y="762"/>
                  </a:lnTo>
                  <a:lnTo>
                    <a:pt x="156" y="762"/>
                  </a:lnTo>
                  <a:lnTo>
                    <a:pt x="148" y="762"/>
                  </a:lnTo>
                  <a:lnTo>
                    <a:pt x="136" y="766"/>
                  </a:lnTo>
                  <a:lnTo>
                    <a:pt x="124" y="774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00" y="780"/>
                  </a:lnTo>
                  <a:lnTo>
                    <a:pt x="90" y="780"/>
                  </a:lnTo>
                  <a:lnTo>
                    <a:pt x="84" y="778"/>
                  </a:lnTo>
                  <a:lnTo>
                    <a:pt x="76" y="774"/>
                  </a:lnTo>
                  <a:lnTo>
                    <a:pt x="76" y="774"/>
                  </a:lnTo>
                  <a:lnTo>
                    <a:pt x="72" y="772"/>
                  </a:lnTo>
                  <a:lnTo>
                    <a:pt x="68" y="774"/>
                  </a:lnTo>
                  <a:lnTo>
                    <a:pt x="58" y="778"/>
                  </a:lnTo>
                  <a:lnTo>
                    <a:pt x="48" y="786"/>
                  </a:lnTo>
                  <a:lnTo>
                    <a:pt x="40" y="780"/>
                  </a:lnTo>
                  <a:lnTo>
                    <a:pt x="60" y="752"/>
                  </a:lnTo>
                  <a:lnTo>
                    <a:pt x="46" y="744"/>
                  </a:lnTo>
                  <a:lnTo>
                    <a:pt x="18" y="766"/>
                  </a:lnTo>
                  <a:lnTo>
                    <a:pt x="18" y="766"/>
                  </a:lnTo>
                  <a:lnTo>
                    <a:pt x="8" y="748"/>
                  </a:lnTo>
                  <a:lnTo>
                    <a:pt x="4" y="736"/>
                  </a:lnTo>
                  <a:lnTo>
                    <a:pt x="4" y="728"/>
                  </a:lnTo>
                  <a:lnTo>
                    <a:pt x="4" y="722"/>
                  </a:lnTo>
                  <a:lnTo>
                    <a:pt x="4" y="722"/>
                  </a:lnTo>
                  <a:lnTo>
                    <a:pt x="4" y="708"/>
                  </a:lnTo>
                  <a:lnTo>
                    <a:pt x="2" y="690"/>
                  </a:lnTo>
                  <a:lnTo>
                    <a:pt x="2" y="690"/>
                  </a:lnTo>
                  <a:lnTo>
                    <a:pt x="0" y="686"/>
                  </a:lnTo>
                  <a:lnTo>
                    <a:pt x="2" y="680"/>
                  </a:lnTo>
                  <a:lnTo>
                    <a:pt x="6" y="668"/>
                  </a:lnTo>
                  <a:lnTo>
                    <a:pt x="18" y="644"/>
                  </a:lnTo>
                  <a:lnTo>
                    <a:pt x="18" y="644"/>
                  </a:lnTo>
                  <a:lnTo>
                    <a:pt x="22" y="634"/>
                  </a:lnTo>
                  <a:lnTo>
                    <a:pt x="24" y="624"/>
                  </a:lnTo>
                  <a:lnTo>
                    <a:pt x="22" y="616"/>
                  </a:lnTo>
                  <a:lnTo>
                    <a:pt x="18" y="608"/>
                  </a:lnTo>
                  <a:lnTo>
                    <a:pt x="18" y="608"/>
                  </a:lnTo>
                  <a:lnTo>
                    <a:pt x="18" y="600"/>
                  </a:lnTo>
                  <a:lnTo>
                    <a:pt x="18" y="594"/>
                  </a:lnTo>
                  <a:lnTo>
                    <a:pt x="22" y="582"/>
                  </a:lnTo>
                  <a:lnTo>
                    <a:pt x="22" y="582"/>
                  </a:lnTo>
                  <a:lnTo>
                    <a:pt x="52" y="528"/>
                  </a:lnTo>
                  <a:lnTo>
                    <a:pt x="52" y="528"/>
                  </a:lnTo>
                  <a:lnTo>
                    <a:pt x="58" y="516"/>
                  </a:lnTo>
                  <a:lnTo>
                    <a:pt x="58" y="512"/>
                  </a:lnTo>
                  <a:lnTo>
                    <a:pt x="56" y="506"/>
                  </a:lnTo>
                  <a:lnTo>
                    <a:pt x="56" y="506"/>
                  </a:lnTo>
                  <a:lnTo>
                    <a:pt x="56" y="502"/>
                  </a:lnTo>
                  <a:lnTo>
                    <a:pt x="56" y="496"/>
                  </a:lnTo>
                  <a:lnTo>
                    <a:pt x="62" y="480"/>
                  </a:lnTo>
                  <a:lnTo>
                    <a:pt x="70" y="460"/>
                  </a:lnTo>
                  <a:lnTo>
                    <a:pt x="70" y="460"/>
                  </a:lnTo>
                  <a:lnTo>
                    <a:pt x="76" y="448"/>
                  </a:lnTo>
                  <a:lnTo>
                    <a:pt x="80" y="438"/>
                  </a:lnTo>
                  <a:lnTo>
                    <a:pt x="82" y="426"/>
                  </a:lnTo>
                  <a:lnTo>
                    <a:pt x="82" y="426"/>
                  </a:lnTo>
                  <a:lnTo>
                    <a:pt x="84" y="416"/>
                  </a:lnTo>
                  <a:lnTo>
                    <a:pt x="86" y="408"/>
                  </a:lnTo>
                  <a:lnTo>
                    <a:pt x="96" y="400"/>
                  </a:lnTo>
                  <a:lnTo>
                    <a:pt x="96" y="400"/>
                  </a:lnTo>
                  <a:lnTo>
                    <a:pt x="102" y="390"/>
                  </a:lnTo>
                  <a:lnTo>
                    <a:pt x="108" y="378"/>
                  </a:lnTo>
                  <a:lnTo>
                    <a:pt x="108" y="378"/>
                  </a:lnTo>
                  <a:lnTo>
                    <a:pt x="112" y="372"/>
                  </a:lnTo>
                  <a:lnTo>
                    <a:pt x="118" y="368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36" y="358"/>
                  </a:lnTo>
                  <a:lnTo>
                    <a:pt x="140" y="352"/>
                  </a:lnTo>
                  <a:lnTo>
                    <a:pt x="144" y="346"/>
                  </a:lnTo>
                  <a:lnTo>
                    <a:pt x="146" y="340"/>
                  </a:lnTo>
                  <a:lnTo>
                    <a:pt x="146" y="340"/>
                  </a:lnTo>
                  <a:lnTo>
                    <a:pt x="146" y="334"/>
                  </a:lnTo>
                  <a:lnTo>
                    <a:pt x="150" y="328"/>
                  </a:lnTo>
                  <a:lnTo>
                    <a:pt x="158" y="318"/>
                  </a:lnTo>
                  <a:lnTo>
                    <a:pt x="158" y="318"/>
                  </a:lnTo>
                  <a:lnTo>
                    <a:pt x="176" y="298"/>
                  </a:lnTo>
                  <a:lnTo>
                    <a:pt x="176" y="298"/>
                  </a:lnTo>
                  <a:lnTo>
                    <a:pt x="192" y="274"/>
                  </a:lnTo>
                  <a:lnTo>
                    <a:pt x="210" y="250"/>
                  </a:lnTo>
                  <a:lnTo>
                    <a:pt x="210" y="250"/>
                  </a:lnTo>
                  <a:lnTo>
                    <a:pt x="216" y="238"/>
                  </a:lnTo>
                  <a:lnTo>
                    <a:pt x="218" y="224"/>
                  </a:lnTo>
                  <a:lnTo>
                    <a:pt x="218" y="224"/>
                  </a:lnTo>
                  <a:lnTo>
                    <a:pt x="220" y="218"/>
                  </a:lnTo>
                  <a:lnTo>
                    <a:pt x="222" y="210"/>
                  </a:lnTo>
                  <a:lnTo>
                    <a:pt x="236" y="194"/>
                  </a:lnTo>
                  <a:lnTo>
                    <a:pt x="236" y="194"/>
                  </a:lnTo>
                  <a:lnTo>
                    <a:pt x="240" y="186"/>
                  </a:lnTo>
                  <a:lnTo>
                    <a:pt x="242" y="180"/>
                  </a:lnTo>
                  <a:lnTo>
                    <a:pt x="242" y="170"/>
                  </a:lnTo>
                  <a:lnTo>
                    <a:pt x="242" y="170"/>
                  </a:lnTo>
                  <a:lnTo>
                    <a:pt x="242" y="158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46" y="134"/>
                  </a:lnTo>
                  <a:lnTo>
                    <a:pt x="238" y="126"/>
                  </a:lnTo>
                  <a:lnTo>
                    <a:pt x="238" y="126"/>
                  </a:lnTo>
                  <a:lnTo>
                    <a:pt x="234" y="11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28" y="54"/>
                  </a:lnTo>
                  <a:lnTo>
                    <a:pt x="264" y="62"/>
                  </a:lnTo>
                  <a:lnTo>
                    <a:pt x="270" y="82"/>
                  </a:lnTo>
                  <a:lnTo>
                    <a:pt x="284" y="80"/>
                  </a:lnTo>
                  <a:lnTo>
                    <a:pt x="286" y="66"/>
                  </a:lnTo>
                  <a:lnTo>
                    <a:pt x="278" y="50"/>
                  </a:lnTo>
                  <a:lnTo>
                    <a:pt x="292" y="44"/>
                  </a:lnTo>
                  <a:lnTo>
                    <a:pt x="302" y="68"/>
                  </a:lnTo>
                  <a:lnTo>
                    <a:pt x="334" y="78"/>
                  </a:lnTo>
                  <a:lnTo>
                    <a:pt x="330" y="94"/>
                  </a:lnTo>
                  <a:lnTo>
                    <a:pt x="320" y="94"/>
                  </a:lnTo>
                  <a:lnTo>
                    <a:pt x="310" y="122"/>
                  </a:lnTo>
                  <a:lnTo>
                    <a:pt x="320" y="130"/>
                  </a:lnTo>
                  <a:lnTo>
                    <a:pt x="332" y="114"/>
                  </a:lnTo>
                  <a:lnTo>
                    <a:pt x="342" y="114"/>
                  </a:lnTo>
                  <a:lnTo>
                    <a:pt x="350" y="96"/>
                  </a:lnTo>
                  <a:lnTo>
                    <a:pt x="346" y="82"/>
                  </a:lnTo>
                  <a:lnTo>
                    <a:pt x="360" y="78"/>
                  </a:lnTo>
                  <a:lnTo>
                    <a:pt x="364" y="90"/>
                  </a:lnTo>
                  <a:lnTo>
                    <a:pt x="378" y="88"/>
                  </a:lnTo>
                  <a:lnTo>
                    <a:pt x="378" y="66"/>
                  </a:lnTo>
                  <a:lnTo>
                    <a:pt x="396" y="72"/>
                  </a:lnTo>
                  <a:lnTo>
                    <a:pt x="420" y="66"/>
                  </a:lnTo>
                  <a:lnTo>
                    <a:pt x="430" y="48"/>
                  </a:lnTo>
                  <a:lnTo>
                    <a:pt x="450" y="46"/>
                  </a:lnTo>
                  <a:lnTo>
                    <a:pt x="448" y="18"/>
                  </a:lnTo>
                  <a:lnTo>
                    <a:pt x="440" y="18"/>
                  </a:lnTo>
                  <a:lnTo>
                    <a:pt x="444" y="4"/>
                  </a:lnTo>
                  <a:lnTo>
                    <a:pt x="470" y="8"/>
                  </a:lnTo>
                  <a:lnTo>
                    <a:pt x="478" y="18"/>
                  </a:lnTo>
                  <a:lnTo>
                    <a:pt x="490" y="16"/>
                  </a:lnTo>
                  <a:lnTo>
                    <a:pt x="500" y="0"/>
                  </a:lnTo>
                  <a:lnTo>
                    <a:pt x="508" y="0"/>
                  </a:lnTo>
                  <a:lnTo>
                    <a:pt x="506" y="30"/>
                  </a:lnTo>
                  <a:lnTo>
                    <a:pt x="516" y="32"/>
                  </a:lnTo>
                  <a:lnTo>
                    <a:pt x="516" y="24"/>
                  </a:lnTo>
                  <a:lnTo>
                    <a:pt x="532" y="20"/>
                  </a:lnTo>
                  <a:lnTo>
                    <a:pt x="536" y="32"/>
                  </a:lnTo>
                  <a:lnTo>
                    <a:pt x="546" y="32"/>
                  </a:lnTo>
                  <a:lnTo>
                    <a:pt x="548" y="20"/>
                  </a:lnTo>
                  <a:lnTo>
                    <a:pt x="562" y="18"/>
                  </a:lnTo>
                  <a:lnTo>
                    <a:pt x="566" y="46"/>
                  </a:lnTo>
                  <a:lnTo>
                    <a:pt x="558" y="66"/>
                  </a:lnTo>
                  <a:lnTo>
                    <a:pt x="564" y="72"/>
                  </a:lnTo>
                  <a:lnTo>
                    <a:pt x="576" y="62"/>
                  </a:lnTo>
                  <a:lnTo>
                    <a:pt x="582" y="66"/>
                  </a:lnTo>
                  <a:lnTo>
                    <a:pt x="582" y="88"/>
                  </a:lnTo>
                  <a:lnTo>
                    <a:pt x="592" y="92"/>
                  </a:lnTo>
                  <a:lnTo>
                    <a:pt x="606" y="86"/>
                  </a:lnTo>
                  <a:lnTo>
                    <a:pt x="606" y="76"/>
                  </a:lnTo>
                  <a:lnTo>
                    <a:pt x="622" y="66"/>
                  </a:lnTo>
                  <a:lnTo>
                    <a:pt x="634" y="78"/>
                  </a:lnTo>
                  <a:lnTo>
                    <a:pt x="634" y="106"/>
                  </a:lnTo>
                  <a:lnTo>
                    <a:pt x="642" y="130"/>
                  </a:lnTo>
                  <a:lnTo>
                    <a:pt x="634" y="140"/>
                  </a:lnTo>
                  <a:lnTo>
                    <a:pt x="642" y="160"/>
                  </a:lnTo>
                  <a:lnTo>
                    <a:pt x="636" y="172"/>
                  </a:lnTo>
                  <a:lnTo>
                    <a:pt x="640" y="200"/>
                  </a:lnTo>
                  <a:lnTo>
                    <a:pt x="664" y="218"/>
                  </a:lnTo>
                  <a:lnTo>
                    <a:pt x="662" y="232"/>
                  </a:lnTo>
                  <a:lnTo>
                    <a:pt x="674" y="266"/>
                  </a:lnTo>
                  <a:lnTo>
                    <a:pt x="708" y="284"/>
                  </a:lnTo>
                  <a:lnTo>
                    <a:pt x="710" y="324"/>
                  </a:lnTo>
                  <a:lnTo>
                    <a:pt x="708" y="348"/>
                  </a:lnTo>
                  <a:lnTo>
                    <a:pt x="724" y="360"/>
                  </a:lnTo>
                  <a:lnTo>
                    <a:pt x="726" y="378"/>
                  </a:lnTo>
                  <a:lnTo>
                    <a:pt x="712" y="390"/>
                  </a:lnTo>
                  <a:lnTo>
                    <a:pt x="706" y="376"/>
                  </a:lnTo>
                  <a:lnTo>
                    <a:pt x="696" y="380"/>
                  </a:lnTo>
                  <a:lnTo>
                    <a:pt x="694" y="388"/>
                  </a:lnTo>
                  <a:lnTo>
                    <a:pt x="684" y="388"/>
                  </a:lnTo>
                  <a:lnTo>
                    <a:pt x="682" y="380"/>
                  </a:lnTo>
                  <a:lnTo>
                    <a:pt x="664" y="376"/>
                  </a:lnTo>
                  <a:lnTo>
                    <a:pt x="658" y="384"/>
                  </a:lnTo>
                  <a:lnTo>
                    <a:pt x="672" y="428"/>
                  </a:lnTo>
                  <a:lnTo>
                    <a:pt x="662" y="430"/>
                  </a:lnTo>
                  <a:lnTo>
                    <a:pt x="666" y="440"/>
                  </a:lnTo>
                  <a:lnTo>
                    <a:pt x="640" y="452"/>
                  </a:lnTo>
                  <a:lnTo>
                    <a:pt x="634" y="444"/>
                  </a:lnTo>
                  <a:lnTo>
                    <a:pt x="616" y="458"/>
                  </a:lnTo>
                  <a:lnTo>
                    <a:pt x="614" y="472"/>
                  </a:lnTo>
                  <a:lnTo>
                    <a:pt x="586" y="488"/>
                  </a:lnTo>
                  <a:lnTo>
                    <a:pt x="596" y="508"/>
                  </a:lnTo>
                  <a:lnTo>
                    <a:pt x="604" y="510"/>
                  </a:lnTo>
                  <a:lnTo>
                    <a:pt x="618" y="536"/>
                  </a:lnTo>
                  <a:lnTo>
                    <a:pt x="616" y="574"/>
                  </a:lnTo>
                  <a:lnTo>
                    <a:pt x="628" y="586"/>
                  </a:lnTo>
                  <a:lnTo>
                    <a:pt x="636" y="630"/>
                  </a:lnTo>
                  <a:lnTo>
                    <a:pt x="626" y="648"/>
                  </a:lnTo>
                  <a:lnTo>
                    <a:pt x="626" y="666"/>
                  </a:lnTo>
                  <a:lnTo>
                    <a:pt x="636" y="672"/>
                  </a:lnTo>
                  <a:lnTo>
                    <a:pt x="636" y="682"/>
                  </a:lnTo>
                  <a:lnTo>
                    <a:pt x="624" y="694"/>
                  </a:lnTo>
                  <a:lnTo>
                    <a:pt x="624" y="704"/>
                  </a:lnTo>
                  <a:lnTo>
                    <a:pt x="634" y="710"/>
                  </a:lnTo>
                  <a:lnTo>
                    <a:pt x="638" y="724"/>
                  </a:lnTo>
                  <a:lnTo>
                    <a:pt x="620" y="746"/>
                  </a:lnTo>
                  <a:lnTo>
                    <a:pt x="610" y="728"/>
                  </a:lnTo>
                  <a:lnTo>
                    <a:pt x="594" y="730"/>
                  </a:lnTo>
                  <a:lnTo>
                    <a:pt x="586" y="742"/>
                  </a:lnTo>
                  <a:lnTo>
                    <a:pt x="562" y="732"/>
                  </a:lnTo>
                  <a:lnTo>
                    <a:pt x="556" y="744"/>
                  </a:lnTo>
                  <a:lnTo>
                    <a:pt x="530" y="758"/>
                  </a:lnTo>
                  <a:lnTo>
                    <a:pt x="518" y="754"/>
                  </a:lnTo>
                  <a:lnTo>
                    <a:pt x="500" y="772"/>
                  </a:lnTo>
                  <a:lnTo>
                    <a:pt x="500" y="772"/>
                  </a:lnTo>
                  <a:close/>
                </a:path>
              </a:pathLst>
            </a:custGeom>
            <a:solidFill>
              <a:srgbClr val="00AAFF"/>
            </a:solidFill>
            <a:ln w="3175">
              <a:solidFill>
                <a:srgbClr val="1D2262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110" name="Freeform 55"/>
            <p:cNvSpPr>
              <a:spLocks/>
            </p:cNvSpPr>
            <p:nvPr/>
          </p:nvSpPr>
          <p:spPr bwMode="auto">
            <a:xfrm>
              <a:off x="4697406" y="4538663"/>
              <a:ext cx="1160463" cy="1244600"/>
            </a:xfrm>
            <a:custGeom>
              <a:avLst/>
              <a:gdLst>
                <a:gd name="T0" fmla="*/ 760854 w 726"/>
                <a:gd name="T1" fmla="*/ 1193929 h 786"/>
                <a:gd name="T2" fmla="*/ 703311 w 726"/>
                <a:gd name="T3" fmla="*/ 1184429 h 786"/>
                <a:gd name="T4" fmla="*/ 671342 w 726"/>
                <a:gd name="T5" fmla="*/ 1152759 h 786"/>
                <a:gd name="T6" fmla="*/ 642570 w 726"/>
                <a:gd name="T7" fmla="*/ 1124257 h 786"/>
                <a:gd name="T8" fmla="*/ 594617 w 726"/>
                <a:gd name="T9" fmla="*/ 1098922 h 786"/>
                <a:gd name="T10" fmla="*/ 588224 w 726"/>
                <a:gd name="T11" fmla="*/ 1114756 h 786"/>
                <a:gd name="T12" fmla="*/ 645767 w 726"/>
                <a:gd name="T13" fmla="*/ 1162260 h 786"/>
                <a:gd name="T14" fmla="*/ 629783 w 726"/>
                <a:gd name="T15" fmla="*/ 1174928 h 786"/>
                <a:gd name="T16" fmla="*/ 553058 w 726"/>
                <a:gd name="T17" fmla="*/ 1136925 h 786"/>
                <a:gd name="T18" fmla="*/ 553058 w 726"/>
                <a:gd name="T19" fmla="*/ 1152759 h 786"/>
                <a:gd name="T20" fmla="*/ 553058 w 726"/>
                <a:gd name="T21" fmla="*/ 1171761 h 786"/>
                <a:gd name="T22" fmla="*/ 482727 w 726"/>
                <a:gd name="T23" fmla="*/ 1168594 h 786"/>
                <a:gd name="T24" fmla="*/ 351655 w 726"/>
                <a:gd name="T25" fmla="*/ 1140092 h 786"/>
                <a:gd name="T26" fmla="*/ 380427 w 726"/>
                <a:gd name="T27" fmla="*/ 1222432 h 786"/>
                <a:gd name="T28" fmla="*/ 326081 w 726"/>
                <a:gd name="T29" fmla="*/ 1231932 h 786"/>
                <a:gd name="T30" fmla="*/ 249356 w 726"/>
                <a:gd name="T31" fmla="*/ 1206597 h 786"/>
                <a:gd name="T32" fmla="*/ 175828 w 726"/>
                <a:gd name="T33" fmla="*/ 1231932 h 786"/>
                <a:gd name="T34" fmla="*/ 121481 w 726"/>
                <a:gd name="T35" fmla="*/ 1225598 h 786"/>
                <a:gd name="T36" fmla="*/ 63937 w 726"/>
                <a:gd name="T37" fmla="*/ 1235099 h 786"/>
                <a:gd name="T38" fmla="*/ 12787 w 726"/>
                <a:gd name="T39" fmla="*/ 1184429 h 786"/>
                <a:gd name="T40" fmla="*/ 6394 w 726"/>
                <a:gd name="T41" fmla="*/ 1121090 h 786"/>
                <a:gd name="T42" fmla="*/ 9591 w 726"/>
                <a:gd name="T43" fmla="*/ 1057752 h 786"/>
                <a:gd name="T44" fmla="*/ 35166 w 726"/>
                <a:gd name="T45" fmla="*/ 975412 h 786"/>
                <a:gd name="T46" fmla="*/ 35166 w 726"/>
                <a:gd name="T47" fmla="*/ 921574 h 786"/>
                <a:gd name="T48" fmla="*/ 92709 w 726"/>
                <a:gd name="T49" fmla="*/ 810732 h 786"/>
                <a:gd name="T50" fmla="*/ 99103 w 726"/>
                <a:gd name="T51" fmla="*/ 760061 h 786"/>
                <a:gd name="T52" fmla="*/ 131072 w 726"/>
                <a:gd name="T53" fmla="*/ 674554 h 786"/>
                <a:gd name="T54" fmla="*/ 153450 w 726"/>
                <a:gd name="T55" fmla="*/ 633384 h 786"/>
                <a:gd name="T56" fmla="*/ 188615 w 726"/>
                <a:gd name="T57" fmla="*/ 582713 h 786"/>
                <a:gd name="T58" fmla="*/ 230174 w 726"/>
                <a:gd name="T59" fmla="*/ 547877 h 786"/>
                <a:gd name="T60" fmla="*/ 252553 w 726"/>
                <a:gd name="T61" fmla="*/ 503540 h 786"/>
                <a:gd name="T62" fmla="*/ 335671 w 726"/>
                <a:gd name="T63" fmla="*/ 395865 h 786"/>
                <a:gd name="T64" fmla="*/ 351655 w 726"/>
                <a:gd name="T65" fmla="*/ 345194 h 786"/>
                <a:gd name="T66" fmla="*/ 386821 w 726"/>
                <a:gd name="T67" fmla="*/ 285023 h 786"/>
                <a:gd name="T68" fmla="*/ 393215 w 726"/>
                <a:gd name="T69" fmla="*/ 228018 h 786"/>
                <a:gd name="T70" fmla="*/ 374034 w 726"/>
                <a:gd name="T71" fmla="*/ 186848 h 786"/>
                <a:gd name="T72" fmla="*/ 431577 w 726"/>
                <a:gd name="T73" fmla="*/ 129844 h 786"/>
                <a:gd name="T74" fmla="*/ 482727 w 726"/>
                <a:gd name="T75" fmla="*/ 107675 h 786"/>
                <a:gd name="T76" fmla="*/ 511499 w 726"/>
                <a:gd name="T77" fmla="*/ 205850 h 786"/>
                <a:gd name="T78" fmla="*/ 575436 w 726"/>
                <a:gd name="T79" fmla="*/ 123510 h 786"/>
                <a:gd name="T80" fmla="*/ 671342 w 726"/>
                <a:gd name="T81" fmla="*/ 104508 h 786"/>
                <a:gd name="T82" fmla="*/ 709705 w 726"/>
                <a:gd name="T83" fmla="*/ 6334 h 786"/>
                <a:gd name="T84" fmla="*/ 812004 w 726"/>
                <a:gd name="T85" fmla="*/ 0 h 786"/>
                <a:gd name="T86" fmla="*/ 856761 w 726"/>
                <a:gd name="T87" fmla="*/ 50671 h 786"/>
                <a:gd name="T88" fmla="*/ 891926 w 726"/>
                <a:gd name="T89" fmla="*/ 104508 h 786"/>
                <a:gd name="T90" fmla="*/ 946273 w 726"/>
                <a:gd name="T91" fmla="*/ 145678 h 786"/>
                <a:gd name="T92" fmla="*/ 1013407 w 726"/>
                <a:gd name="T93" fmla="*/ 167847 h 786"/>
                <a:gd name="T94" fmla="*/ 1022998 w 726"/>
                <a:gd name="T95" fmla="*/ 316692 h 786"/>
                <a:gd name="T96" fmla="*/ 1134888 w 726"/>
                <a:gd name="T97" fmla="*/ 513041 h 786"/>
                <a:gd name="T98" fmla="*/ 1128494 w 726"/>
                <a:gd name="T99" fmla="*/ 595381 h 786"/>
                <a:gd name="T100" fmla="*/ 1061360 w 726"/>
                <a:gd name="T101" fmla="*/ 595381 h 786"/>
                <a:gd name="T102" fmla="*/ 1022998 w 726"/>
                <a:gd name="T103" fmla="*/ 715724 h 786"/>
                <a:gd name="T104" fmla="*/ 952667 w 726"/>
                <a:gd name="T105" fmla="*/ 804398 h 786"/>
                <a:gd name="T106" fmla="*/ 1016604 w 726"/>
                <a:gd name="T107" fmla="*/ 997580 h 786"/>
                <a:gd name="T108" fmla="*/ 997423 w 726"/>
                <a:gd name="T109" fmla="*/ 1098922 h 786"/>
                <a:gd name="T110" fmla="*/ 975045 w 726"/>
                <a:gd name="T111" fmla="*/ 1152759 h 786"/>
                <a:gd name="T112" fmla="*/ 847170 w 726"/>
                <a:gd name="T113" fmla="*/ 1200263 h 7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26"/>
                <a:gd name="T172" fmla="*/ 0 h 786"/>
                <a:gd name="T173" fmla="*/ 726 w 726"/>
                <a:gd name="T174" fmla="*/ 786 h 7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26" h="786">
                  <a:moveTo>
                    <a:pt x="500" y="772"/>
                  </a:moveTo>
                  <a:lnTo>
                    <a:pt x="500" y="772"/>
                  </a:lnTo>
                  <a:lnTo>
                    <a:pt x="486" y="762"/>
                  </a:lnTo>
                  <a:lnTo>
                    <a:pt x="476" y="754"/>
                  </a:lnTo>
                  <a:lnTo>
                    <a:pt x="466" y="750"/>
                  </a:lnTo>
                  <a:lnTo>
                    <a:pt x="454" y="748"/>
                  </a:lnTo>
                  <a:lnTo>
                    <a:pt x="444" y="748"/>
                  </a:lnTo>
                  <a:lnTo>
                    <a:pt x="440" y="748"/>
                  </a:lnTo>
                  <a:lnTo>
                    <a:pt x="436" y="746"/>
                  </a:lnTo>
                  <a:lnTo>
                    <a:pt x="430" y="740"/>
                  </a:lnTo>
                  <a:lnTo>
                    <a:pt x="424" y="734"/>
                  </a:lnTo>
                  <a:lnTo>
                    <a:pt x="420" y="728"/>
                  </a:lnTo>
                  <a:lnTo>
                    <a:pt x="414" y="722"/>
                  </a:lnTo>
                  <a:lnTo>
                    <a:pt x="410" y="716"/>
                  </a:lnTo>
                  <a:lnTo>
                    <a:pt x="406" y="712"/>
                  </a:lnTo>
                  <a:lnTo>
                    <a:pt x="402" y="710"/>
                  </a:lnTo>
                  <a:lnTo>
                    <a:pt x="396" y="708"/>
                  </a:lnTo>
                  <a:lnTo>
                    <a:pt x="390" y="706"/>
                  </a:lnTo>
                  <a:lnTo>
                    <a:pt x="382" y="700"/>
                  </a:lnTo>
                  <a:lnTo>
                    <a:pt x="372" y="694"/>
                  </a:lnTo>
                  <a:lnTo>
                    <a:pt x="368" y="694"/>
                  </a:lnTo>
                  <a:lnTo>
                    <a:pt x="366" y="698"/>
                  </a:lnTo>
                  <a:lnTo>
                    <a:pt x="366" y="700"/>
                  </a:lnTo>
                  <a:lnTo>
                    <a:pt x="368" y="704"/>
                  </a:lnTo>
                  <a:lnTo>
                    <a:pt x="376" y="710"/>
                  </a:lnTo>
                  <a:lnTo>
                    <a:pt x="396" y="722"/>
                  </a:lnTo>
                  <a:lnTo>
                    <a:pt x="400" y="728"/>
                  </a:lnTo>
                  <a:lnTo>
                    <a:pt x="404" y="734"/>
                  </a:lnTo>
                  <a:lnTo>
                    <a:pt x="402" y="738"/>
                  </a:lnTo>
                  <a:lnTo>
                    <a:pt x="400" y="742"/>
                  </a:lnTo>
                  <a:lnTo>
                    <a:pt x="398" y="744"/>
                  </a:lnTo>
                  <a:lnTo>
                    <a:pt x="394" y="742"/>
                  </a:lnTo>
                  <a:lnTo>
                    <a:pt x="386" y="738"/>
                  </a:lnTo>
                  <a:lnTo>
                    <a:pt x="370" y="728"/>
                  </a:lnTo>
                  <a:lnTo>
                    <a:pt x="352" y="718"/>
                  </a:lnTo>
                  <a:lnTo>
                    <a:pt x="346" y="718"/>
                  </a:lnTo>
                  <a:lnTo>
                    <a:pt x="344" y="718"/>
                  </a:lnTo>
                  <a:lnTo>
                    <a:pt x="344" y="720"/>
                  </a:lnTo>
                  <a:lnTo>
                    <a:pt x="344" y="724"/>
                  </a:lnTo>
                  <a:lnTo>
                    <a:pt x="346" y="728"/>
                  </a:lnTo>
                  <a:lnTo>
                    <a:pt x="348" y="730"/>
                  </a:lnTo>
                  <a:lnTo>
                    <a:pt x="350" y="736"/>
                  </a:lnTo>
                  <a:lnTo>
                    <a:pt x="348" y="738"/>
                  </a:lnTo>
                  <a:lnTo>
                    <a:pt x="346" y="740"/>
                  </a:lnTo>
                  <a:lnTo>
                    <a:pt x="338" y="742"/>
                  </a:lnTo>
                  <a:lnTo>
                    <a:pt x="328" y="724"/>
                  </a:lnTo>
                  <a:lnTo>
                    <a:pt x="318" y="724"/>
                  </a:lnTo>
                  <a:lnTo>
                    <a:pt x="314" y="738"/>
                  </a:lnTo>
                  <a:lnTo>
                    <a:pt x="302" y="738"/>
                  </a:lnTo>
                  <a:lnTo>
                    <a:pt x="292" y="720"/>
                  </a:lnTo>
                  <a:lnTo>
                    <a:pt x="290" y="700"/>
                  </a:lnTo>
                  <a:lnTo>
                    <a:pt x="252" y="700"/>
                  </a:lnTo>
                  <a:lnTo>
                    <a:pt x="246" y="716"/>
                  </a:lnTo>
                  <a:lnTo>
                    <a:pt x="220" y="720"/>
                  </a:lnTo>
                  <a:lnTo>
                    <a:pt x="230" y="746"/>
                  </a:lnTo>
                  <a:lnTo>
                    <a:pt x="250" y="742"/>
                  </a:lnTo>
                  <a:lnTo>
                    <a:pt x="252" y="752"/>
                  </a:lnTo>
                  <a:lnTo>
                    <a:pt x="234" y="762"/>
                  </a:lnTo>
                  <a:lnTo>
                    <a:pt x="238" y="772"/>
                  </a:lnTo>
                  <a:lnTo>
                    <a:pt x="226" y="780"/>
                  </a:lnTo>
                  <a:lnTo>
                    <a:pt x="220" y="780"/>
                  </a:lnTo>
                  <a:lnTo>
                    <a:pt x="204" y="778"/>
                  </a:lnTo>
                  <a:lnTo>
                    <a:pt x="194" y="776"/>
                  </a:lnTo>
                  <a:lnTo>
                    <a:pt x="186" y="772"/>
                  </a:lnTo>
                  <a:lnTo>
                    <a:pt x="162" y="762"/>
                  </a:lnTo>
                  <a:lnTo>
                    <a:pt x="156" y="762"/>
                  </a:lnTo>
                  <a:lnTo>
                    <a:pt x="148" y="762"/>
                  </a:lnTo>
                  <a:lnTo>
                    <a:pt x="136" y="766"/>
                  </a:lnTo>
                  <a:lnTo>
                    <a:pt x="124" y="774"/>
                  </a:lnTo>
                  <a:lnTo>
                    <a:pt x="110" y="778"/>
                  </a:lnTo>
                  <a:lnTo>
                    <a:pt x="100" y="780"/>
                  </a:lnTo>
                  <a:lnTo>
                    <a:pt x="90" y="780"/>
                  </a:lnTo>
                  <a:lnTo>
                    <a:pt x="84" y="778"/>
                  </a:lnTo>
                  <a:lnTo>
                    <a:pt x="76" y="774"/>
                  </a:lnTo>
                  <a:lnTo>
                    <a:pt x="72" y="772"/>
                  </a:lnTo>
                  <a:lnTo>
                    <a:pt x="68" y="774"/>
                  </a:lnTo>
                  <a:lnTo>
                    <a:pt x="58" y="778"/>
                  </a:lnTo>
                  <a:lnTo>
                    <a:pt x="48" y="786"/>
                  </a:lnTo>
                  <a:lnTo>
                    <a:pt x="40" y="780"/>
                  </a:lnTo>
                  <a:lnTo>
                    <a:pt x="60" y="752"/>
                  </a:lnTo>
                  <a:lnTo>
                    <a:pt x="46" y="744"/>
                  </a:lnTo>
                  <a:lnTo>
                    <a:pt x="18" y="766"/>
                  </a:lnTo>
                  <a:lnTo>
                    <a:pt x="8" y="748"/>
                  </a:lnTo>
                  <a:lnTo>
                    <a:pt x="4" y="736"/>
                  </a:lnTo>
                  <a:lnTo>
                    <a:pt x="4" y="728"/>
                  </a:lnTo>
                  <a:lnTo>
                    <a:pt x="4" y="722"/>
                  </a:lnTo>
                  <a:lnTo>
                    <a:pt x="4" y="708"/>
                  </a:lnTo>
                  <a:lnTo>
                    <a:pt x="2" y="690"/>
                  </a:lnTo>
                  <a:lnTo>
                    <a:pt x="0" y="686"/>
                  </a:lnTo>
                  <a:lnTo>
                    <a:pt x="2" y="680"/>
                  </a:lnTo>
                  <a:lnTo>
                    <a:pt x="6" y="668"/>
                  </a:lnTo>
                  <a:lnTo>
                    <a:pt x="18" y="644"/>
                  </a:lnTo>
                  <a:lnTo>
                    <a:pt x="22" y="634"/>
                  </a:lnTo>
                  <a:lnTo>
                    <a:pt x="24" y="624"/>
                  </a:lnTo>
                  <a:lnTo>
                    <a:pt x="22" y="616"/>
                  </a:lnTo>
                  <a:lnTo>
                    <a:pt x="18" y="608"/>
                  </a:lnTo>
                  <a:lnTo>
                    <a:pt x="18" y="600"/>
                  </a:lnTo>
                  <a:lnTo>
                    <a:pt x="18" y="594"/>
                  </a:lnTo>
                  <a:lnTo>
                    <a:pt x="22" y="582"/>
                  </a:lnTo>
                  <a:lnTo>
                    <a:pt x="52" y="528"/>
                  </a:lnTo>
                  <a:lnTo>
                    <a:pt x="58" y="516"/>
                  </a:lnTo>
                  <a:lnTo>
                    <a:pt x="58" y="512"/>
                  </a:lnTo>
                  <a:lnTo>
                    <a:pt x="56" y="506"/>
                  </a:lnTo>
                  <a:lnTo>
                    <a:pt x="56" y="502"/>
                  </a:lnTo>
                  <a:lnTo>
                    <a:pt x="56" y="496"/>
                  </a:lnTo>
                  <a:lnTo>
                    <a:pt x="62" y="480"/>
                  </a:lnTo>
                  <a:lnTo>
                    <a:pt x="70" y="460"/>
                  </a:lnTo>
                  <a:lnTo>
                    <a:pt x="76" y="448"/>
                  </a:lnTo>
                  <a:lnTo>
                    <a:pt x="80" y="438"/>
                  </a:lnTo>
                  <a:lnTo>
                    <a:pt x="82" y="426"/>
                  </a:lnTo>
                  <a:lnTo>
                    <a:pt x="84" y="416"/>
                  </a:lnTo>
                  <a:lnTo>
                    <a:pt x="86" y="408"/>
                  </a:lnTo>
                  <a:lnTo>
                    <a:pt x="96" y="400"/>
                  </a:lnTo>
                  <a:lnTo>
                    <a:pt x="102" y="390"/>
                  </a:lnTo>
                  <a:lnTo>
                    <a:pt x="108" y="378"/>
                  </a:lnTo>
                  <a:lnTo>
                    <a:pt x="112" y="372"/>
                  </a:lnTo>
                  <a:lnTo>
                    <a:pt x="118" y="368"/>
                  </a:lnTo>
                  <a:lnTo>
                    <a:pt x="130" y="362"/>
                  </a:lnTo>
                  <a:lnTo>
                    <a:pt x="136" y="358"/>
                  </a:lnTo>
                  <a:lnTo>
                    <a:pt x="140" y="352"/>
                  </a:lnTo>
                  <a:lnTo>
                    <a:pt x="144" y="346"/>
                  </a:lnTo>
                  <a:lnTo>
                    <a:pt x="146" y="340"/>
                  </a:lnTo>
                  <a:lnTo>
                    <a:pt x="146" y="334"/>
                  </a:lnTo>
                  <a:lnTo>
                    <a:pt x="150" y="328"/>
                  </a:lnTo>
                  <a:lnTo>
                    <a:pt x="158" y="318"/>
                  </a:lnTo>
                  <a:lnTo>
                    <a:pt x="176" y="298"/>
                  </a:lnTo>
                  <a:lnTo>
                    <a:pt x="192" y="274"/>
                  </a:lnTo>
                  <a:lnTo>
                    <a:pt x="210" y="250"/>
                  </a:lnTo>
                  <a:lnTo>
                    <a:pt x="216" y="238"/>
                  </a:lnTo>
                  <a:lnTo>
                    <a:pt x="218" y="224"/>
                  </a:lnTo>
                  <a:lnTo>
                    <a:pt x="220" y="218"/>
                  </a:lnTo>
                  <a:lnTo>
                    <a:pt x="222" y="210"/>
                  </a:lnTo>
                  <a:lnTo>
                    <a:pt x="236" y="194"/>
                  </a:lnTo>
                  <a:lnTo>
                    <a:pt x="240" y="186"/>
                  </a:lnTo>
                  <a:lnTo>
                    <a:pt x="242" y="180"/>
                  </a:lnTo>
                  <a:lnTo>
                    <a:pt x="242" y="170"/>
                  </a:lnTo>
                  <a:lnTo>
                    <a:pt x="242" y="158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46" y="134"/>
                  </a:lnTo>
                  <a:lnTo>
                    <a:pt x="238" y="126"/>
                  </a:lnTo>
                  <a:lnTo>
                    <a:pt x="234" y="118"/>
                  </a:lnTo>
                  <a:lnTo>
                    <a:pt x="232" y="108"/>
                  </a:lnTo>
                  <a:lnTo>
                    <a:pt x="228" y="54"/>
                  </a:lnTo>
                  <a:lnTo>
                    <a:pt x="264" y="62"/>
                  </a:lnTo>
                  <a:lnTo>
                    <a:pt x="270" y="82"/>
                  </a:lnTo>
                  <a:lnTo>
                    <a:pt x="284" y="80"/>
                  </a:lnTo>
                  <a:lnTo>
                    <a:pt x="286" y="66"/>
                  </a:lnTo>
                  <a:lnTo>
                    <a:pt x="278" y="50"/>
                  </a:lnTo>
                  <a:lnTo>
                    <a:pt x="292" y="44"/>
                  </a:lnTo>
                  <a:lnTo>
                    <a:pt x="302" y="68"/>
                  </a:lnTo>
                  <a:lnTo>
                    <a:pt x="334" y="78"/>
                  </a:lnTo>
                  <a:lnTo>
                    <a:pt x="330" y="94"/>
                  </a:lnTo>
                  <a:lnTo>
                    <a:pt x="320" y="94"/>
                  </a:lnTo>
                  <a:lnTo>
                    <a:pt x="310" y="122"/>
                  </a:lnTo>
                  <a:lnTo>
                    <a:pt x="320" y="130"/>
                  </a:lnTo>
                  <a:lnTo>
                    <a:pt x="332" y="114"/>
                  </a:lnTo>
                  <a:lnTo>
                    <a:pt x="342" y="114"/>
                  </a:lnTo>
                  <a:lnTo>
                    <a:pt x="350" y="96"/>
                  </a:lnTo>
                  <a:lnTo>
                    <a:pt x="346" y="82"/>
                  </a:lnTo>
                  <a:lnTo>
                    <a:pt x="360" y="78"/>
                  </a:lnTo>
                  <a:lnTo>
                    <a:pt x="364" y="90"/>
                  </a:lnTo>
                  <a:lnTo>
                    <a:pt x="378" y="88"/>
                  </a:lnTo>
                  <a:lnTo>
                    <a:pt x="378" y="66"/>
                  </a:lnTo>
                  <a:lnTo>
                    <a:pt x="396" y="72"/>
                  </a:lnTo>
                  <a:lnTo>
                    <a:pt x="420" y="66"/>
                  </a:lnTo>
                  <a:lnTo>
                    <a:pt x="430" y="48"/>
                  </a:lnTo>
                  <a:lnTo>
                    <a:pt x="450" y="46"/>
                  </a:lnTo>
                  <a:lnTo>
                    <a:pt x="448" y="18"/>
                  </a:lnTo>
                  <a:lnTo>
                    <a:pt x="440" y="18"/>
                  </a:lnTo>
                  <a:lnTo>
                    <a:pt x="444" y="4"/>
                  </a:lnTo>
                  <a:lnTo>
                    <a:pt x="470" y="8"/>
                  </a:lnTo>
                  <a:lnTo>
                    <a:pt x="478" y="18"/>
                  </a:lnTo>
                  <a:lnTo>
                    <a:pt x="490" y="16"/>
                  </a:lnTo>
                  <a:lnTo>
                    <a:pt x="500" y="0"/>
                  </a:lnTo>
                  <a:lnTo>
                    <a:pt x="508" y="0"/>
                  </a:lnTo>
                  <a:lnTo>
                    <a:pt x="506" y="30"/>
                  </a:lnTo>
                  <a:lnTo>
                    <a:pt x="516" y="32"/>
                  </a:lnTo>
                  <a:lnTo>
                    <a:pt x="516" y="24"/>
                  </a:lnTo>
                  <a:lnTo>
                    <a:pt x="532" y="20"/>
                  </a:lnTo>
                  <a:lnTo>
                    <a:pt x="536" y="32"/>
                  </a:lnTo>
                  <a:lnTo>
                    <a:pt x="546" y="32"/>
                  </a:lnTo>
                  <a:lnTo>
                    <a:pt x="548" y="20"/>
                  </a:lnTo>
                  <a:lnTo>
                    <a:pt x="562" y="18"/>
                  </a:lnTo>
                  <a:lnTo>
                    <a:pt x="566" y="46"/>
                  </a:lnTo>
                  <a:lnTo>
                    <a:pt x="558" y="66"/>
                  </a:lnTo>
                  <a:lnTo>
                    <a:pt x="564" y="72"/>
                  </a:lnTo>
                  <a:lnTo>
                    <a:pt x="576" y="62"/>
                  </a:lnTo>
                  <a:lnTo>
                    <a:pt x="582" y="66"/>
                  </a:lnTo>
                  <a:lnTo>
                    <a:pt x="582" y="88"/>
                  </a:lnTo>
                  <a:lnTo>
                    <a:pt x="592" y="92"/>
                  </a:lnTo>
                  <a:lnTo>
                    <a:pt x="606" y="86"/>
                  </a:lnTo>
                  <a:lnTo>
                    <a:pt x="606" y="76"/>
                  </a:lnTo>
                  <a:lnTo>
                    <a:pt x="622" y="66"/>
                  </a:lnTo>
                  <a:lnTo>
                    <a:pt x="634" y="78"/>
                  </a:lnTo>
                  <a:lnTo>
                    <a:pt x="634" y="106"/>
                  </a:lnTo>
                  <a:lnTo>
                    <a:pt x="642" y="130"/>
                  </a:lnTo>
                  <a:lnTo>
                    <a:pt x="634" y="140"/>
                  </a:lnTo>
                  <a:lnTo>
                    <a:pt x="642" y="160"/>
                  </a:lnTo>
                  <a:lnTo>
                    <a:pt x="636" y="172"/>
                  </a:lnTo>
                  <a:lnTo>
                    <a:pt x="640" y="200"/>
                  </a:lnTo>
                  <a:lnTo>
                    <a:pt x="664" y="218"/>
                  </a:lnTo>
                  <a:lnTo>
                    <a:pt x="662" y="232"/>
                  </a:lnTo>
                  <a:lnTo>
                    <a:pt x="674" y="266"/>
                  </a:lnTo>
                  <a:lnTo>
                    <a:pt x="708" y="284"/>
                  </a:lnTo>
                  <a:lnTo>
                    <a:pt x="710" y="324"/>
                  </a:lnTo>
                  <a:lnTo>
                    <a:pt x="708" y="348"/>
                  </a:lnTo>
                  <a:lnTo>
                    <a:pt x="724" y="360"/>
                  </a:lnTo>
                  <a:lnTo>
                    <a:pt x="726" y="378"/>
                  </a:lnTo>
                  <a:lnTo>
                    <a:pt x="712" y="390"/>
                  </a:lnTo>
                  <a:lnTo>
                    <a:pt x="706" y="376"/>
                  </a:lnTo>
                  <a:lnTo>
                    <a:pt x="696" y="380"/>
                  </a:lnTo>
                  <a:lnTo>
                    <a:pt x="694" y="388"/>
                  </a:lnTo>
                  <a:lnTo>
                    <a:pt x="684" y="388"/>
                  </a:lnTo>
                  <a:lnTo>
                    <a:pt x="682" y="380"/>
                  </a:lnTo>
                  <a:lnTo>
                    <a:pt x="664" y="376"/>
                  </a:lnTo>
                  <a:lnTo>
                    <a:pt x="658" y="384"/>
                  </a:lnTo>
                  <a:lnTo>
                    <a:pt x="672" y="428"/>
                  </a:lnTo>
                  <a:lnTo>
                    <a:pt x="662" y="430"/>
                  </a:lnTo>
                  <a:lnTo>
                    <a:pt x="666" y="440"/>
                  </a:lnTo>
                  <a:lnTo>
                    <a:pt x="640" y="452"/>
                  </a:lnTo>
                  <a:lnTo>
                    <a:pt x="634" y="444"/>
                  </a:lnTo>
                  <a:lnTo>
                    <a:pt x="616" y="458"/>
                  </a:lnTo>
                  <a:lnTo>
                    <a:pt x="614" y="472"/>
                  </a:lnTo>
                  <a:lnTo>
                    <a:pt x="586" y="488"/>
                  </a:lnTo>
                  <a:lnTo>
                    <a:pt x="596" y="508"/>
                  </a:lnTo>
                  <a:lnTo>
                    <a:pt x="604" y="510"/>
                  </a:lnTo>
                  <a:lnTo>
                    <a:pt x="618" y="536"/>
                  </a:lnTo>
                  <a:lnTo>
                    <a:pt x="616" y="574"/>
                  </a:lnTo>
                  <a:lnTo>
                    <a:pt x="628" y="586"/>
                  </a:lnTo>
                  <a:lnTo>
                    <a:pt x="636" y="630"/>
                  </a:lnTo>
                  <a:lnTo>
                    <a:pt x="626" y="648"/>
                  </a:lnTo>
                  <a:lnTo>
                    <a:pt x="626" y="666"/>
                  </a:lnTo>
                  <a:lnTo>
                    <a:pt x="636" y="672"/>
                  </a:lnTo>
                  <a:lnTo>
                    <a:pt x="636" y="682"/>
                  </a:lnTo>
                  <a:lnTo>
                    <a:pt x="624" y="694"/>
                  </a:lnTo>
                  <a:lnTo>
                    <a:pt x="624" y="704"/>
                  </a:lnTo>
                  <a:lnTo>
                    <a:pt x="634" y="710"/>
                  </a:lnTo>
                  <a:lnTo>
                    <a:pt x="638" y="724"/>
                  </a:lnTo>
                  <a:lnTo>
                    <a:pt x="620" y="746"/>
                  </a:lnTo>
                  <a:lnTo>
                    <a:pt x="610" y="728"/>
                  </a:lnTo>
                  <a:lnTo>
                    <a:pt x="594" y="730"/>
                  </a:lnTo>
                  <a:lnTo>
                    <a:pt x="586" y="742"/>
                  </a:lnTo>
                  <a:lnTo>
                    <a:pt x="562" y="732"/>
                  </a:lnTo>
                  <a:lnTo>
                    <a:pt x="556" y="744"/>
                  </a:lnTo>
                  <a:lnTo>
                    <a:pt x="530" y="758"/>
                  </a:lnTo>
                  <a:lnTo>
                    <a:pt x="518" y="754"/>
                  </a:lnTo>
                  <a:lnTo>
                    <a:pt x="500" y="772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1" name="Freeform 56"/>
            <p:cNvSpPr>
              <a:spLocks/>
            </p:cNvSpPr>
            <p:nvPr/>
          </p:nvSpPr>
          <p:spPr bwMode="auto">
            <a:xfrm>
              <a:off x="4289419" y="4586288"/>
              <a:ext cx="433387" cy="314325"/>
            </a:xfrm>
            <a:custGeom>
              <a:avLst/>
              <a:gdLst>
                <a:gd name="T0" fmla="*/ 404707 w 272"/>
                <a:gd name="T1" fmla="*/ 263525 h 198"/>
                <a:gd name="T2" fmla="*/ 353720 w 272"/>
                <a:gd name="T3" fmla="*/ 263525 h 198"/>
                <a:gd name="T4" fmla="*/ 337787 w 272"/>
                <a:gd name="T5" fmla="*/ 314325 h 198"/>
                <a:gd name="T6" fmla="*/ 286800 w 272"/>
                <a:gd name="T7" fmla="*/ 282575 h 198"/>
                <a:gd name="T8" fmla="*/ 258120 w 272"/>
                <a:gd name="T9" fmla="*/ 285750 h 198"/>
                <a:gd name="T10" fmla="*/ 261307 w 272"/>
                <a:gd name="T11" fmla="*/ 260350 h 198"/>
                <a:gd name="T12" fmla="*/ 219880 w 272"/>
                <a:gd name="T13" fmla="*/ 269875 h 198"/>
                <a:gd name="T14" fmla="*/ 216694 w 272"/>
                <a:gd name="T15" fmla="*/ 244475 h 198"/>
                <a:gd name="T16" fmla="*/ 178453 w 272"/>
                <a:gd name="T17" fmla="*/ 238125 h 198"/>
                <a:gd name="T18" fmla="*/ 162520 w 272"/>
                <a:gd name="T19" fmla="*/ 276225 h 198"/>
                <a:gd name="T20" fmla="*/ 121093 w 272"/>
                <a:gd name="T21" fmla="*/ 260350 h 198"/>
                <a:gd name="T22" fmla="*/ 98787 w 272"/>
                <a:gd name="T23" fmla="*/ 203200 h 198"/>
                <a:gd name="T24" fmla="*/ 117907 w 272"/>
                <a:gd name="T25" fmla="*/ 177800 h 198"/>
                <a:gd name="T26" fmla="*/ 114720 w 272"/>
                <a:gd name="T27" fmla="*/ 146050 h 198"/>
                <a:gd name="T28" fmla="*/ 98787 w 272"/>
                <a:gd name="T29" fmla="*/ 139700 h 198"/>
                <a:gd name="T30" fmla="*/ 82853 w 272"/>
                <a:gd name="T31" fmla="*/ 104775 h 198"/>
                <a:gd name="T32" fmla="*/ 0 w 272"/>
                <a:gd name="T33" fmla="*/ 76200 h 198"/>
                <a:gd name="T34" fmla="*/ 6373 w 272"/>
                <a:gd name="T35" fmla="*/ 34925 h 198"/>
                <a:gd name="T36" fmla="*/ 22307 w 272"/>
                <a:gd name="T37" fmla="*/ 38100 h 198"/>
                <a:gd name="T38" fmla="*/ 50987 w 272"/>
                <a:gd name="T39" fmla="*/ 60325 h 198"/>
                <a:gd name="T40" fmla="*/ 76480 w 272"/>
                <a:gd name="T41" fmla="*/ 57150 h 198"/>
                <a:gd name="T42" fmla="*/ 82853 w 272"/>
                <a:gd name="T43" fmla="*/ 44450 h 198"/>
                <a:gd name="T44" fmla="*/ 117907 w 272"/>
                <a:gd name="T45" fmla="*/ 38100 h 198"/>
                <a:gd name="T46" fmla="*/ 130653 w 272"/>
                <a:gd name="T47" fmla="*/ 50800 h 198"/>
                <a:gd name="T48" fmla="*/ 159333 w 272"/>
                <a:gd name="T49" fmla="*/ 44450 h 198"/>
                <a:gd name="T50" fmla="*/ 165707 w 272"/>
                <a:gd name="T51" fmla="*/ 25400 h 198"/>
                <a:gd name="T52" fmla="*/ 223067 w 272"/>
                <a:gd name="T53" fmla="*/ 0 h 198"/>
                <a:gd name="T54" fmla="*/ 261307 w 272"/>
                <a:gd name="T55" fmla="*/ 22225 h 198"/>
                <a:gd name="T56" fmla="*/ 305920 w 272"/>
                <a:gd name="T57" fmla="*/ 31750 h 198"/>
                <a:gd name="T58" fmla="*/ 305920 w 272"/>
                <a:gd name="T59" fmla="*/ 44450 h 198"/>
                <a:gd name="T60" fmla="*/ 337787 w 272"/>
                <a:gd name="T61" fmla="*/ 50800 h 198"/>
                <a:gd name="T62" fmla="*/ 350534 w 272"/>
                <a:gd name="T63" fmla="*/ 41275 h 198"/>
                <a:gd name="T64" fmla="*/ 372840 w 272"/>
                <a:gd name="T65" fmla="*/ 50800 h 198"/>
                <a:gd name="T66" fmla="*/ 379214 w 272"/>
                <a:gd name="T67" fmla="*/ 73025 h 198"/>
                <a:gd name="T68" fmla="*/ 369654 w 272"/>
                <a:gd name="T69" fmla="*/ 111125 h 198"/>
                <a:gd name="T70" fmla="*/ 398334 w 272"/>
                <a:gd name="T71" fmla="*/ 149225 h 198"/>
                <a:gd name="T72" fmla="*/ 423827 w 272"/>
                <a:gd name="T73" fmla="*/ 146050 h 198"/>
                <a:gd name="T74" fmla="*/ 433387 w 272"/>
                <a:gd name="T75" fmla="*/ 165100 h 198"/>
                <a:gd name="T76" fmla="*/ 411080 w 272"/>
                <a:gd name="T77" fmla="*/ 225425 h 198"/>
                <a:gd name="T78" fmla="*/ 388774 w 272"/>
                <a:gd name="T79" fmla="*/ 222250 h 198"/>
                <a:gd name="T80" fmla="*/ 379214 w 272"/>
                <a:gd name="T81" fmla="*/ 241300 h 198"/>
                <a:gd name="T82" fmla="*/ 404707 w 272"/>
                <a:gd name="T83" fmla="*/ 263525 h 19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72"/>
                <a:gd name="T127" fmla="*/ 0 h 198"/>
                <a:gd name="T128" fmla="*/ 272 w 272"/>
                <a:gd name="T129" fmla="*/ 198 h 19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72" h="198">
                  <a:moveTo>
                    <a:pt x="254" y="166"/>
                  </a:moveTo>
                  <a:lnTo>
                    <a:pt x="222" y="166"/>
                  </a:lnTo>
                  <a:lnTo>
                    <a:pt x="212" y="198"/>
                  </a:lnTo>
                  <a:lnTo>
                    <a:pt x="180" y="178"/>
                  </a:lnTo>
                  <a:lnTo>
                    <a:pt x="162" y="180"/>
                  </a:lnTo>
                  <a:lnTo>
                    <a:pt x="164" y="164"/>
                  </a:lnTo>
                  <a:lnTo>
                    <a:pt x="138" y="170"/>
                  </a:lnTo>
                  <a:lnTo>
                    <a:pt x="136" y="154"/>
                  </a:lnTo>
                  <a:lnTo>
                    <a:pt x="112" y="150"/>
                  </a:lnTo>
                  <a:lnTo>
                    <a:pt x="102" y="174"/>
                  </a:lnTo>
                  <a:lnTo>
                    <a:pt x="76" y="164"/>
                  </a:lnTo>
                  <a:lnTo>
                    <a:pt x="62" y="128"/>
                  </a:lnTo>
                  <a:lnTo>
                    <a:pt x="74" y="112"/>
                  </a:lnTo>
                  <a:lnTo>
                    <a:pt x="72" y="92"/>
                  </a:lnTo>
                  <a:lnTo>
                    <a:pt x="62" y="88"/>
                  </a:lnTo>
                  <a:lnTo>
                    <a:pt x="52" y="66"/>
                  </a:lnTo>
                  <a:lnTo>
                    <a:pt x="0" y="48"/>
                  </a:lnTo>
                  <a:lnTo>
                    <a:pt x="4" y="22"/>
                  </a:lnTo>
                  <a:lnTo>
                    <a:pt x="14" y="24"/>
                  </a:lnTo>
                  <a:lnTo>
                    <a:pt x="32" y="38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74" y="24"/>
                  </a:lnTo>
                  <a:lnTo>
                    <a:pt x="82" y="32"/>
                  </a:lnTo>
                  <a:lnTo>
                    <a:pt x="100" y="28"/>
                  </a:lnTo>
                  <a:lnTo>
                    <a:pt x="104" y="16"/>
                  </a:lnTo>
                  <a:lnTo>
                    <a:pt x="140" y="0"/>
                  </a:lnTo>
                  <a:lnTo>
                    <a:pt x="164" y="14"/>
                  </a:lnTo>
                  <a:lnTo>
                    <a:pt x="192" y="20"/>
                  </a:lnTo>
                  <a:lnTo>
                    <a:pt x="192" y="28"/>
                  </a:lnTo>
                  <a:lnTo>
                    <a:pt x="212" y="32"/>
                  </a:lnTo>
                  <a:lnTo>
                    <a:pt x="220" y="26"/>
                  </a:lnTo>
                  <a:lnTo>
                    <a:pt x="234" y="32"/>
                  </a:lnTo>
                  <a:lnTo>
                    <a:pt x="238" y="46"/>
                  </a:lnTo>
                  <a:lnTo>
                    <a:pt x="232" y="70"/>
                  </a:lnTo>
                  <a:lnTo>
                    <a:pt x="250" y="94"/>
                  </a:lnTo>
                  <a:lnTo>
                    <a:pt x="266" y="92"/>
                  </a:lnTo>
                  <a:lnTo>
                    <a:pt x="272" y="104"/>
                  </a:lnTo>
                  <a:lnTo>
                    <a:pt x="258" y="142"/>
                  </a:lnTo>
                  <a:lnTo>
                    <a:pt x="244" y="140"/>
                  </a:lnTo>
                  <a:lnTo>
                    <a:pt x="238" y="152"/>
                  </a:lnTo>
                  <a:lnTo>
                    <a:pt x="254" y="166"/>
                  </a:lnTo>
                </a:path>
              </a:pathLst>
            </a:custGeom>
            <a:solidFill>
              <a:srgbClr val="E3E8EC"/>
            </a:solidFill>
            <a:ln w="4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2" name="Freeform 57"/>
            <p:cNvSpPr>
              <a:spLocks/>
            </p:cNvSpPr>
            <p:nvPr/>
          </p:nvSpPr>
          <p:spPr bwMode="auto">
            <a:xfrm>
              <a:off x="4257669" y="3852863"/>
              <a:ext cx="833437" cy="1155700"/>
            </a:xfrm>
            <a:custGeom>
              <a:avLst/>
              <a:gdLst>
                <a:gd name="T0" fmla="*/ 95797 w 522"/>
                <a:gd name="T1" fmla="*/ 319796 h 730"/>
                <a:gd name="T2" fmla="*/ 172435 w 522"/>
                <a:gd name="T3" fmla="*/ 348293 h 730"/>
                <a:gd name="T4" fmla="*/ 204368 w 522"/>
                <a:gd name="T5" fmla="*/ 291300 h 730"/>
                <a:gd name="T6" fmla="*/ 274619 w 522"/>
                <a:gd name="T7" fmla="*/ 272302 h 730"/>
                <a:gd name="T8" fmla="*/ 383189 w 522"/>
                <a:gd name="T9" fmla="*/ 186812 h 730"/>
                <a:gd name="T10" fmla="*/ 463021 w 522"/>
                <a:gd name="T11" fmla="*/ 129818 h 730"/>
                <a:gd name="T12" fmla="*/ 542852 w 522"/>
                <a:gd name="T13" fmla="*/ 113987 h 730"/>
                <a:gd name="T14" fmla="*/ 587557 w 522"/>
                <a:gd name="T15" fmla="*/ 56993 h 730"/>
                <a:gd name="T16" fmla="*/ 606717 w 522"/>
                <a:gd name="T17" fmla="*/ 0 h 730"/>
                <a:gd name="T18" fmla="*/ 638649 w 522"/>
                <a:gd name="T19" fmla="*/ 63326 h 730"/>
                <a:gd name="T20" fmla="*/ 670581 w 522"/>
                <a:gd name="T21" fmla="*/ 110821 h 730"/>
                <a:gd name="T22" fmla="*/ 712094 w 522"/>
                <a:gd name="T23" fmla="*/ 170980 h 730"/>
                <a:gd name="T24" fmla="*/ 702514 w 522"/>
                <a:gd name="T25" fmla="*/ 237473 h 730"/>
                <a:gd name="T26" fmla="*/ 654615 w 522"/>
                <a:gd name="T27" fmla="*/ 259637 h 730"/>
                <a:gd name="T28" fmla="*/ 667388 w 522"/>
                <a:gd name="T29" fmla="*/ 319796 h 730"/>
                <a:gd name="T30" fmla="*/ 715287 w 522"/>
                <a:gd name="T31" fmla="*/ 379956 h 730"/>
                <a:gd name="T32" fmla="*/ 689741 w 522"/>
                <a:gd name="T33" fmla="*/ 398954 h 730"/>
                <a:gd name="T34" fmla="*/ 629069 w 522"/>
                <a:gd name="T35" fmla="*/ 436950 h 730"/>
                <a:gd name="T36" fmla="*/ 609910 w 522"/>
                <a:gd name="T37" fmla="*/ 459114 h 730"/>
                <a:gd name="T38" fmla="*/ 574784 w 522"/>
                <a:gd name="T39" fmla="*/ 509775 h 730"/>
                <a:gd name="T40" fmla="*/ 600330 w 522"/>
                <a:gd name="T41" fmla="*/ 541438 h 730"/>
                <a:gd name="T42" fmla="*/ 635456 w 522"/>
                <a:gd name="T43" fmla="*/ 554103 h 730"/>
                <a:gd name="T44" fmla="*/ 721673 w 522"/>
                <a:gd name="T45" fmla="*/ 516107 h 730"/>
                <a:gd name="T46" fmla="*/ 750412 w 522"/>
                <a:gd name="T47" fmla="*/ 512941 h 730"/>
                <a:gd name="T48" fmla="*/ 772765 w 522"/>
                <a:gd name="T49" fmla="*/ 531939 h 730"/>
                <a:gd name="T50" fmla="*/ 795118 w 522"/>
                <a:gd name="T51" fmla="*/ 576267 h 730"/>
                <a:gd name="T52" fmla="*/ 798311 w 522"/>
                <a:gd name="T53" fmla="*/ 626928 h 730"/>
                <a:gd name="T54" fmla="*/ 807891 w 522"/>
                <a:gd name="T55" fmla="*/ 658591 h 730"/>
                <a:gd name="T56" fmla="*/ 830244 w 522"/>
                <a:gd name="T57" fmla="*/ 699753 h 730"/>
                <a:gd name="T58" fmla="*/ 827051 w 522"/>
                <a:gd name="T59" fmla="*/ 721917 h 730"/>
                <a:gd name="T60" fmla="*/ 804698 w 522"/>
                <a:gd name="T61" fmla="*/ 731416 h 730"/>
                <a:gd name="T62" fmla="*/ 801504 w 522"/>
                <a:gd name="T63" fmla="*/ 747247 h 730"/>
                <a:gd name="T64" fmla="*/ 814277 w 522"/>
                <a:gd name="T65" fmla="*/ 873899 h 730"/>
                <a:gd name="T66" fmla="*/ 833437 w 522"/>
                <a:gd name="T67" fmla="*/ 899230 h 730"/>
                <a:gd name="T68" fmla="*/ 833437 w 522"/>
                <a:gd name="T69" fmla="*/ 915061 h 730"/>
                <a:gd name="T70" fmla="*/ 827051 w 522"/>
                <a:gd name="T71" fmla="*/ 956223 h 730"/>
                <a:gd name="T72" fmla="*/ 817471 w 522"/>
                <a:gd name="T73" fmla="*/ 994219 h 730"/>
                <a:gd name="T74" fmla="*/ 791925 w 522"/>
                <a:gd name="T75" fmla="*/ 1032214 h 730"/>
                <a:gd name="T76" fmla="*/ 785538 w 522"/>
                <a:gd name="T77" fmla="*/ 1063877 h 730"/>
                <a:gd name="T78" fmla="*/ 747219 w 522"/>
                <a:gd name="T79" fmla="*/ 1120871 h 730"/>
                <a:gd name="T80" fmla="*/ 638649 w 522"/>
                <a:gd name="T81" fmla="*/ 1108205 h 730"/>
                <a:gd name="T82" fmla="*/ 565204 w 522"/>
                <a:gd name="T83" fmla="*/ 1095540 h 730"/>
                <a:gd name="T84" fmla="*/ 437475 w 522"/>
                <a:gd name="T85" fmla="*/ 997385 h 730"/>
                <a:gd name="T86" fmla="*/ 443861 w 522"/>
                <a:gd name="T87" fmla="*/ 959389 h 730"/>
                <a:gd name="T88" fmla="*/ 431088 w 522"/>
                <a:gd name="T89" fmla="*/ 883398 h 730"/>
                <a:gd name="T90" fmla="*/ 405542 w 522"/>
                <a:gd name="T91" fmla="*/ 785243 h 730"/>
                <a:gd name="T92" fmla="*/ 338484 w 522"/>
                <a:gd name="T93" fmla="*/ 778910 h 730"/>
                <a:gd name="T94" fmla="*/ 255460 w 522"/>
                <a:gd name="T95" fmla="*/ 734582 h 730"/>
                <a:gd name="T96" fmla="*/ 162855 w 522"/>
                <a:gd name="T97" fmla="*/ 785243 h 730"/>
                <a:gd name="T98" fmla="*/ 108570 w 522"/>
                <a:gd name="T99" fmla="*/ 791575 h 730"/>
                <a:gd name="T100" fmla="*/ 38319 w 522"/>
                <a:gd name="T101" fmla="*/ 769411 h 730"/>
                <a:gd name="T102" fmla="*/ 92604 w 522"/>
                <a:gd name="T103" fmla="*/ 690254 h 730"/>
                <a:gd name="T104" fmla="*/ 38319 w 522"/>
                <a:gd name="T105" fmla="*/ 614262 h 730"/>
                <a:gd name="T106" fmla="*/ 28739 w 522"/>
                <a:gd name="T107" fmla="*/ 398954 h 730"/>
                <a:gd name="T108" fmla="*/ 86218 w 522"/>
                <a:gd name="T109" fmla="*/ 354626 h 7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2"/>
                <a:gd name="T166" fmla="*/ 0 h 730"/>
                <a:gd name="T167" fmla="*/ 522 w 522"/>
                <a:gd name="T168" fmla="*/ 730 h 7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2" h="730">
                  <a:moveTo>
                    <a:pt x="54" y="224"/>
                  </a:moveTo>
                  <a:lnTo>
                    <a:pt x="50" y="206"/>
                  </a:lnTo>
                  <a:lnTo>
                    <a:pt x="60" y="202"/>
                  </a:lnTo>
                  <a:lnTo>
                    <a:pt x="66" y="224"/>
                  </a:lnTo>
                  <a:lnTo>
                    <a:pt x="80" y="214"/>
                  </a:lnTo>
                  <a:lnTo>
                    <a:pt x="108" y="220"/>
                  </a:lnTo>
                  <a:lnTo>
                    <a:pt x="114" y="230"/>
                  </a:lnTo>
                  <a:lnTo>
                    <a:pt x="140" y="220"/>
                  </a:lnTo>
                  <a:lnTo>
                    <a:pt x="128" y="184"/>
                  </a:lnTo>
                  <a:lnTo>
                    <a:pt x="144" y="172"/>
                  </a:lnTo>
                  <a:lnTo>
                    <a:pt x="152" y="178"/>
                  </a:lnTo>
                  <a:lnTo>
                    <a:pt x="172" y="172"/>
                  </a:lnTo>
                  <a:lnTo>
                    <a:pt x="168" y="162"/>
                  </a:lnTo>
                  <a:lnTo>
                    <a:pt x="180" y="144"/>
                  </a:lnTo>
                  <a:lnTo>
                    <a:pt x="240" y="118"/>
                  </a:lnTo>
                  <a:lnTo>
                    <a:pt x="250" y="118"/>
                  </a:lnTo>
                  <a:lnTo>
                    <a:pt x="282" y="108"/>
                  </a:lnTo>
                  <a:lnTo>
                    <a:pt x="290" y="82"/>
                  </a:lnTo>
                  <a:lnTo>
                    <a:pt x="300" y="78"/>
                  </a:lnTo>
                  <a:lnTo>
                    <a:pt x="310" y="82"/>
                  </a:lnTo>
                  <a:lnTo>
                    <a:pt x="340" y="72"/>
                  </a:lnTo>
                  <a:lnTo>
                    <a:pt x="348" y="58"/>
                  </a:lnTo>
                  <a:lnTo>
                    <a:pt x="348" y="46"/>
                  </a:lnTo>
                  <a:lnTo>
                    <a:pt x="368" y="36"/>
                  </a:lnTo>
                  <a:lnTo>
                    <a:pt x="372" y="24"/>
                  </a:lnTo>
                  <a:lnTo>
                    <a:pt x="368" y="6"/>
                  </a:lnTo>
                  <a:lnTo>
                    <a:pt x="380" y="0"/>
                  </a:lnTo>
                  <a:lnTo>
                    <a:pt x="396" y="18"/>
                  </a:lnTo>
                  <a:lnTo>
                    <a:pt x="392" y="34"/>
                  </a:lnTo>
                  <a:lnTo>
                    <a:pt x="400" y="40"/>
                  </a:lnTo>
                  <a:lnTo>
                    <a:pt x="408" y="40"/>
                  </a:lnTo>
                  <a:lnTo>
                    <a:pt x="420" y="54"/>
                  </a:lnTo>
                  <a:lnTo>
                    <a:pt x="420" y="70"/>
                  </a:lnTo>
                  <a:lnTo>
                    <a:pt x="440" y="94"/>
                  </a:lnTo>
                  <a:lnTo>
                    <a:pt x="448" y="94"/>
                  </a:lnTo>
                  <a:lnTo>
                    <a:pt x="446" y="108"/>
                  </a:lnTo>
                  <a:lnTo>
                    <a:pt x="454" y="122"/>
                  </a:lnTo>
                  <a:lnTo>
                    <a:pt x="452" y="148"/>
                  </a:lnTo>
                  <a:lnTo>
                    <a:pt x="440" y="150"/>
                  </a:lnTo>
                  <a:lnTo>
                    <a:pt x="434" y="136"/>
                  </a:lnTo>
                  <a:lnTo>
                    <a:pt x="416" y="144"/>
                  </a:lnTo>
                  <a:lnTo>
                    <a:pt x="410" y="164"/>
                  </a:lnTo>
                  <a:lnTo>
                    <a:pt x="420" y="172"/>
                  </a:lnTo>
                  <a:lnTo>
                    <a:pt x="414" y="188"/>
                  </a:lnTo>
                  <a:lnTo>
                    <a:pt x="418" y="202"/>
                  </a:lnTo>
                  <a:lnTo>
                    <a:pt x="432" y="202"/>
                  </a:lnTo>
                  <a:lnTo>
                    <a:pt x="454" y="228"/>
                  </a:lnTo>
                  <a:lnTo>
                    <a:pt x="448" y="240"/>
                  </a:lnTo>
                  <a:lnTo>
                    <a:pt x="436" y="236"/>
                  </a:lnTo>
                  <a:lnTo>
                    <a:pt x="430" y="240"/>
                  </a:lnTo>
                  <a:lnTo>
                    <a:pt x="432" y="252"/>
                  </a:lnTo>
                  <a:lnTo>
                    <a:pt x="422" y="260"/>
                  </a:lnTo>
                  <a:lnTo>
                    <a:pt x="412" y="250"/>
                  </a:lnTo>
                  <a:lnTo>
                    <a:pt x="394" y="276"/>
                  </a:lnTo>
                  <a:lnTo>
                    <a:pt x="398" y="286"/>
                  </a:lnTo>
                  <a:lnTo>
                    <a:pt x="390" y="294"/>
                  </a:lnTo>
                  <a:lnTo>
                    <a:pt x="382" y="290"/>
                  </a:lnTo>
                  <a:lnTo>
                    <a:pt x="356" y="316"/>
                  </a:lnTo>
                  <a:lnTo>
                    <a:pt x="360" y="322"/>
                  </a:lnTo>
                  <a:lnTo>
                    <a:pt x="370" y="336"/>
                  </a:lnTo>
                  <a:lnTo>
                    <a:pt x="376" y="342"/>
                  </a:lnTo>
                  <a:lnTo>
                    <a:pt x="384" y="348"/>
                  </a:lnTo>
                  <a:lnTo>
                    <a:pt x="392" y="350"/>
                  </a:lnTo>
                  <a:lnTo>
                    <a:pt x="398" y="350"/>
                  </a:lnTo>
                  <a:lnTo>
                    <a:pt x="402" y="348"/>
                  </a:lnTo>
                  <a:lnTo>
                    <a:pt x="452" y="326"/>
                  </a:lnTo>
                  <a:lnTo>
                    <a:pt x="462" y="324"/>
                  </a:lnTo>
                  <a:lnTo>
                    <a:pt x="470" y="324"/>
                  </a:lnTo>
                  <a:lnTo>
                    <a:pt x="478" y="328"/>
                  </a:lnTo>
                  <a:lnTo>
                    <a:pt x="484" y="336"/>
                  </a:lnTo>
                  <a:lnTo>
                    <a:pt x="490" y="344"/>
                  </a:lnTo>
                  <a:lnTo>
                    <a:pt x="494" y="354"/>
                  </a:lnTo>
                  <a:lnTo>
                    <a:pt x="498" y="364"/>
                  </a:lnTo>
                  <a:lnTo>
                    <a:pt x="498" y="376"/>
                  </a:lnTo>
                  <a:lnTo>
                    <a:pt x="500" y="396"/>
                  </a:lnTo>
                  <a:lnTo>
                    <a:pt x="502" y="404"/>
                  </a:lnTo>
                  <a:lnTo>
                    <a:pt x="506" y="416"/>
                  </a:lnTo>
                  <a:lnTo>
                    <a:pt x="512" y="426"/>
                  </a:lnTo>
                  <a:lnTo>
                    <a:pt x="518" y="434"/>
                  </a:lnTo>
                  <a:lnTo>
                    <a:pt x="520" y="442"/>
                  </a:lnTo>
                  <a:lnTo>
                    <a:pt x="522" y="448"/>
                  </a:lnTo>
                  <a:lnTo>
                    <a:pt x="518" y="456"/>
                  </a:lnTo>
                  <a:lnTo>
                    <a:pt x="510" y="460"/>
                  </a:lnTo>
                  <a:lnTo>
                    <a:pt x="504" y="462"/>
                  </a:lnTo>
                  <a:lnTo>
                    <a:pt x="502" y="466"/>
                  </a:lnTo>
                  <a:lnTo>
                    <a:pt x="502" y="472"/>
                  </a:lnTo>
                  <a:lnTo>
                    <a:pt x="508" y="542"/>
                  </a:lnTo>
                  <a:lnTo>
                    <a:pt x="510" y="552"/>
                  </a:lnTo>
                  <a:lnTo>
                    <a:pt x="514" y="560"/>
                  </a:lnTo>
                  <a:lnTo>
                    <a:pt x="522" y="568"/>
                  </a:lnTo>
                  <a:lnTo>
                    <a:pt x="522" y="572"/>
                  </a:lnTo>
                  <a:lnTo>
                    <a:pt x="522" y="578"/>
                  </a:lnTo>
                  <a:lnTo>
                    <a:pt x="518" y="592"/>
                  </a:lnTo>
                  <a:lnTo>
                    <a:pt x="518" y="604"/>
                  </a:lnTo>
                  <a:lnTo>
                    <a:pt x="518" y="614"/>
                  </a:lnTo>
                  <a:lnTo>
                    <a:pt x="516" y="620"/>
                  </a:lnTo>
                  <a:lnTo>
                    <a:pt x="512" y="628"/>
                  </a:lnTo>
                  <a:lnTo>
                    <a:pt x="498" y="644"/>
                  </a:lnTo>
                  <a:lnTo>
                    <a:pt x="496" y="652"/>
                  </a:lnTo>
                  <a:lnTo>
                    <a:pt x="494" y="658"/>
                  </a:lnTo>
                  <a:lnTo>
                    <a:pt x="492" y="672"/>
                  </a:lnTo>
                  <a:lnTo>
                    <a:pt x="486" y="684"/>
                  </a:lnTo>
                  <a:lnTo>
                    <a:pt x="468" y="708"/>
                  </a:lnTo>
                  <a:lnTo>
                    <a:pt x="452" y="730"/>
                  </a:lnTo>
                  <a:lnTo>
                    <a:pt x="418" y="696"/>
                  </a:lnTo>
                  <a:lnTo>
                    <a:pt x="400" y="700"/>
                  </a:lnTo>
                  <a:lnTo>
                    <a:pt x="388" y="688"/>
                  </a:lnTo>
                  <a:lnTo>
                    <a:pt x="372" y="694"/>
                  </a:lnTo>
                  <a:lnTo>
                    <a:pt x="354" y="692"/>
                  </a:lnTo>
                  <a:lnTo>
                    <a:pt x="344" y="672"/>
                  </a:lnTo>
                  <a:lnTo>
                    <a:pt x="314" y="674"/>
                  </a:lnTo>
                  <a:lnTo>
                    <a:pt x="274" y="630"/>
                  </a:lnTo>
                  <a:lnTo>
                    <a:pt x="258" y="616"/>
                  </a:lnTo>
                  <a:lnTo>
                    <a:pt x="264" y="604"/>
                  </a:lnTo>
                  <a:lnTo>
                    <a:pt x="278" y="606"/>
                  </a:lnTo>
                  <a:lnTo>
                    <a:pt x="292" y="568"/>
                  </a:lnTo>
                  <a:lnTo>
                    <a:pt x="286" y="556"/>
                  </a:lnTo>
                  <a:lnTo>
                    <a:pt x="270" y="558"/>
                  </a:lnTo>
                  <a:lnTo>
                    <a:pt x="252" y="534"/>
                  </a:lnTo>
                  <a:lnTo>
                    <a:pt x="258" y="510"/>
                  </a:lnTo>
                  <a:lnTo>
                    <a:pt x="254" y="496"/>
                  </a:lnTo>
                  <a:lnTo>
                    <a:pt x="240" y="490"/>
                  </a:lnTo>
                  <a:lnTo>
                    <a:pt x="232" y="496"/>
                  </a:lnTo>
                  <a:lnTo>
                    <a:pt x="212" y="492"/>
                  </a:lnTo>
                  <a:lnTo>
                    <a:pt x="212" y="484"/>
                  </a:lnTo>
                  <a:lnTo>
                    <a:pt x="184" y="478"/>
                  </a:lnTo>
                  <a:lnTo>
                    <a:pt x="160" y="464"/>
                  </a:lnTo>
                  <a:lnTo>
                    <a:pt x="124" y="480"/>
                  </a:lnTo>
                  <a:lnTo>
                    <a:pt x="120" y="492"/>
                  </a:lnTo>
                  <a:lnTo>
                    <a:pt x="102" y="496"/>
                  </a:lnTo>
                  <a:lnTo>
                    <a:pt x="94" y="488"/>
                  </a:lnTo>
                  <a:lnTo>
                    <a:pt x="72" y="492"/>
                  </a:lnTo>
                  <a:lnTo>
                    <a:pt x="68" y="500"/>
                  </a:lnTo>
                  <a:lnTo>
                    <a:pt x="52" y="502"/>
                  </a:lnTo>
                  <a:lnTo>
                    <a:pt x="34" y="488"/>
                  </a:lnTo>
                  <a:lnTo>
                    <a:pt x="24" y="486"/>
                  </a:lnTo>
                  <a:lnTo>
                    <a:pt x="24" y="478"/>
                  </a:lnTo>
                  <a:lnTo>
                    <a:pt x="36" y="442"/>
                  </a:lnTo>
                  <a:lnTo>
                    <a:pt x="58" y="436"/>
                  </a:lnTo>
                  <a:lnTo>
                    <a:pt x="64" y="406"/>
                  </a:lnTo>
                  <a:lnTo>
                    <a:pt x="42" y="386"/>
                  </a:lnTo>
                  <a:lnTo>
                    <a:pt x="24" y="388"/>
                  </a:lnTo>
                  <a:lnTo>
                    <a:pt x="0" y="330"/>
                  </a:lnTo>
                  <a:lnTo>
                    <a:pt x="6" y="282"/>
                  </a:lnTo>
                  <a:lnTo>
                    <a:pt x="18" y="252"/>
                  </a:lnTo>
                  <a:lnTo>
                    <a:pt x="44" y="238"/>
                  </a:lnTo>
                  <a:lnTo>
                    <a:pt x="42" y="230"/>
                  </a:lnTo>
                  <a:lnTo>
                    <a:pt x="54" y="224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3" name="Freeform 58"/>
            <p:cNvSpPr>
              <a:spLocks/>
            </p:cNvSpPr>
            <p:nvPr/>
          </p:nvSpPr>
          <p:spPr bwMode="auto">
            <a:xfrm>
              <a:off x="4257669" y="3852863"/>
              <a:ext cx="833437" cy="1155700"/>
            </a:xfrm>
            <a:custGeom>
              <a:avLst/>
              <a:gdLst>
                <a:gd name="T0" fmla="*/ 95797 w 522"/>
                <a:gd name="T1" fmla="*/ 319796 h 730"/>
                <a:gd name="T2" fmla="*/ 172435 w 522"/>
                <a:gd name="T3" fmla="*/ 348293 h 730"/>
                <a:gd name="T4" fmla="*/ 204368 w 522"/>
                <a:gd name="T5" fmla="*/ 291300 h 730"/>
                <a:gd name="T6" fmla="*/ 274619 w 522"/>
                <a:gd name="T7" fmla="*/ 272302 h 730"/>
                <a:gd name="T8" fmla="*/ 383189 w 522"/>
                <a:gd name="T9" fmla="*/ 186812 h 730"/>
                <a:gd name="T10" fmla="*/ 463021 w 522"/>
                <a:gd name="T11" fmla="*/ 129818 h 730"/>
                <a:gd name="T12" fmla="*/ 542852 w 522"/>
                <a:gd name="T13" fmla="*/ 113987 h 730"/>
                <a:gd name="T14" fmla="*/ 587557 w 522"/>
                <a:gd name="T15" fmla="*/ 56993 h 730"/>
                <a:gd name="T16" fmla="*/ 606717 w 522"/>
                <a:gd name="T17" fmla="*/ 0 h 730"/>
                <a:gd name="T18" fmla="*/ 638649 w 522"/>
                <a:gd name="T19" fmla="*/ 63326 h 730"/>
                <a:gd name="T20" fmla="*/ 670581 w 522"/>
                <a:gd name="T21" fmla="*/ 110821 h 730"/>
                <a:gd name="T22" fmla="*/ 712094 w 522"/>
                <a:gd name="T23" fmla="*/ 170980 h 730"/>
                <a:gd name="T24" fmla="*/ 702514 w 522"/>
                <a:gd name="T25" fmla="*/ 237473 h 730"/>
                <a:gd name="T26" fmla="*/ 654615 w 522"/>
                <a:gd name="T27" fmla="*/ 259637 h 730"/>
                <a:gd name="T28" fmla="*/ 667388 w 522"/>
                <a:gd name="T29" fmla="*/ 319796 h 730"/>
                <a:gd name="T30" fmla="*/ 715287 w 522"/>
                <a:gd name="T31" fmla="*/ 379956 h 730"/>
                <a:gd name="T32" fmla="*/ 689741 w 522"/>
                <a:gd name="T33" fmla="*/ 398954 h 730"/>
                <a:gd name="T34" fmla="*/ 629069 w 522"/>
                <a:gd name="T35" fmla="*/ 436950 h 730"/>
                <a:gd name="T36" fmla="*/ 609910 w 522"/>
                <a:gd name="T37" fmla="*/ 459114 h 730"/>
                <a:gd name="T38" fmla="*/ 574784 w 522"/>
                <a:gd name="T39" fmla="*/ 509775 h 730"/>
                <a:gd name="T40" fmla="*/ 600330 w 522"/>
                <a:gd name="T41" fmla="*/ 541438 h 730"/>
                <a:gd name="T42" fmla="*/ 635456 w 522"/>
                <a:gd name="T43" fmla="*/ 554103 h 730"/>
                <a:gd name="T44" fmla="*/ 721673 w 522"/>
                <a:gd name="T45" fmla="*/ 516107 h 730"/>
                <a:gd name="T46" fmla="*/ 750412 w 522"/>
                <a:gd name="T47" fmla="*/ 512941 h 730"/>
                <a:gd name="T48" fmla="*/ 772765 w 522"/>
                <a:gd name="T49" fmla="*/ 531939 h 730"/>
                <a:gd name="T50" fmla="*/ 795118 w 522"/>
                <a:gd name="T51" fmla="*/ 576267 h 730"/>
                <a:gd name="T52" fmla="*/ 798311 w 522"/>
                <a:gd name="T53" fmla="*/ 626928 h 730"/>
                <a:gd name="T54" fmla="*/ 807891 w 522"/>
                <a:gd name="T55" fmla="*/ 658591 h 730"/>
                <a:gd name="T56" fmla="*/ 830244 w 522"/>
                <a:gd name="T57" fmla="*/ 699753 h 730"/>
                <a:gd name="T58" fmla="*/ 827051 w 522"/>
                <a:gd name="T59" fmla="*/ 721917 h 730"/>
                <a:gd name="T60" fmla="*/ 804698 w 522"/>
                <a:gd name="T61" fmla="*/ 731416 h 730"/>
                <a:gd name="T62" fmla="*/ 801504 w 522"/>
                <a:gd name="T63" fmla="*/ 747247 h 730"/>
                <a:gd name="T64" fmla="*/ 814277 w 522"/>
                <a:gd name="T65" fmla="*/ 873899 h 730"/>
                <a:gd name="T66" fmla="*/ 833437 w 522"/>
                <a:gd name="T67" fmla="*/ 899230 h 730"/>
                <a:gd name="T68" fmla="*/ 833437 w 522"/>
                <a:gd name="T69" fmla="*/ 915061 h 730"/>
                <a:gd name="T70" fmla="*/ 827051 w 522"/>
                <a:gd name="T71" fmla="*/ 956223 h 730"/>
                <a:gd name="T72" fmla="*/ 817471 w 522"/>
                <a:gd name="T73" fmla="*/ 994219 h 730"/>
                <a:gd name="T74" fmla="*/ 791925 w 522"/>
                <a:gd name="T75" fmla="*/ 1032214 h 730"/>
                <a:gd name="T76" fmla="*/ 785538 w 522"/>
                <a:gd name="T77" fmla="*/ 1063877 h 730"/>
                <a:gd name="T78" fmla="*/ 747219 w 522"/>
                <a:gd name="T79" fmla="*/ 1120871 h 730"/>
                <a:gd name="T80" fmla="*/ 638649 w 522"/>
                <a:gd name="T81" fmla="*/ 1108205 h 730"/>
                <a:gd name="T82" fmla="*/ 565204 w 522"/>
                <a:gd name="T83" fmla="*/ 1095540 h 730"/>
                <a:gd name="T84" fmla="*/ 437475 w 522"/>
                <a:gd name="T85" fmla="*/ 997385 h 730"/>
                <a:gd name="T86" fmla="*/ 443861 w 522"/>
                <a:gd name="T87" fmla="*/ 959389 h 730"/>
                <a:gd name="T88" fmla="*/ 431088 w 522"/>
                <a:gd name="T89" fmla="*/ 883398 h 730"/>
                <a:gd name="T90" fmla="*/ 405542 w 522"/>
                <a:gd name="T91" fmla="*/ 785243 h 730"/>
                <a:gd name="T92" fmla="*/ 338484 w 522"/>
                <a:gd name="T93" fmla="*/ 778910 h 730"/>
                <a:gd name="T94" fmla="*/ 255460 w 522"/>
                <a:gd name="T95" fmla="*/ 734582 h 730"/>
                <a:gd name="T96" fmla="*/ 162855 w 522"/>
                <a:gd name="T97" fmla="*/ 785243 h 730"/>
                <a:gd name="T98" fmla="*/ 108570 w 522"/>
                <a:gd name="T99" fmla="*/ 791575 h 730"/>
                <a:gd name="T100" fmla="*/ 38319 w 522"/>
                <a:gd name="T101" fmla="*/ 769411 h 730"/>
                <a:gd name="T102" fmla="*/ 92604 w 522"/>
                <a:gd name="T103" fmla="*/ 690254 h 730"/>
                <a:gd name="T104" fmla="*/ 38319 w 522"/>
                <a:gd name="T105" fmla="*/ 614262 h 730"/>
                <a:gd name="T106" fmla="*/ 28739 w 522"/>
                <a:gd name="T107" fmla="*/ 398954 h 730"/>
                <a:gd name="T108" fmla="*/ 86218 w 522"/>
                <a:gd name="T109" fmla="*/ 354626 h 7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2"/>
                <a:gd name="T166" fmla="*/ 0 h 730"/>
                <a:gd name="T167" fmla="*/ 522 w 522"/>
                <a:gd name="T168" fmla="*/ 730 h 7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2" h="730">
                  <a:moveTo>
                    <a:pt x="54" y="224"/>
                  </a:moveTo>
                  <a:lnTo>
                    <a:pt x="50" y="206"/>
                  </a:lnTo>
                  <a:lnTo>
                    <a:pt x="60" y="202"/>
                  </a:lnTo>
                  <a:lnTo>
                    <a:pt x="66" y="224"/>
                  </a:lnTo>
                  <a:lnTo>
                    <a:pt x="80" y="214"/>
                  </a:lnTo>
                  <a:lnTo>
                    <a:pt x="108" y="220"/>
                  </a:lnTo>
                  <a:lnTo>
                    <a:pt x="114" y="230"/>
                  </a:lnTo>
                  <a:lnTo>
                    <a:pt x="140" y="220"/>
                  </a:lnTo>
                  <a:lnTo>
                    <a:pt x="128" y="184"/>
                  </a:lnTo>
                  <a:lnTo>
                    <a:pt x="144" y="172"/>
                  </a:lnTo>
                  <a:lnTo>
                    <a:pt x="152" y="178"/>
                  </a:lnTo>
                  <a:lnTo>
                    <a:pt x="172" y="172"/>
                  </a:lnTo>
                  <a:lnTo>
                    <a:pt x="168" y="162"/>
                  </a:lnTo>
                  <a:lnTo>
                    <a:pt x="180" y="144"/>
                  </a:lnTo>
                  <a:lnTo>
                    <a:pt x="240" y="118"/>
                  </a:lnTo>
                  <a:lnTo>
                    <a:pt x="250" y="118"/>
                  </a:lnTo>
                  <a:lnTo>
                    <a:pt x="282" y="108"/>
                  </a:lnTo>
                  <a:lnTo>
                    <a:pt x="290" y="82"/>
                  </a:lnTo>
                  <a:lnTo>
                    <a:pt x="300" y="78"/>
                  </a:lnTo>
                  <a:lnTo>
                    <a:pt x="310" y="82"/>
                  </a:lnTo>
                  <a:lnTo>
                    <a:pt x="340" y="72"/>
                  </a:lnTo>
                  <a:lnTo>
                    <a:pt x="348" y="58"/>
                  </a:lnTo>
                  <a:lnTo>
                    <a:pt x="348" y="46"/>
                  </a:lnTo>
                  <a:lnTo>
                    <a:pt x="368" y="36"/>
                  </a:lnTo>
                  <a:lnTo>
                    <a:pt x="372" y="24"/>
                  </a:lnTo>
                  <a:lnTo>
                    <a:pt x="368" y="6"/>
                  </a:lnTo>
                  <a:lnTo>
                    <a:pt x="380" y="0"/>
                  </a:lnTo>
                  <a:lnTo>
                    <a:pt x="396" y="18"/>
                  </a:lnTo>
                  <a:lnTo>
                    <a:pt x="392" y="34"/>
                  </a:lnTo>
                  <a:lnTo>
                    <a:pt x="400" y="40"/>
                  </a:lnTo>
                  <a:lnTo>
                    <a:pt x="408" y="40"/>
                  </a:lnTo>
                  <a:lnTo>
                    <a:pt x="420" y="54"/>
                  </a:lnTo>
                  <a:lnTo>
                    <a:pt x="420" y="70"/>
                  </a:lnTo>
                  <a:lnTo>
                    <a:pt x="440" y="94"/>
                  </a:lnTo>
                  <a:lnTo>
                    <a:pt x="448" y="94"/>
                  </a:lnTo>
                  <a:lnTo>
                    <a:pt x="446" y="108"/>
                  </a:lnTo>
                  <a:lnTo>
                    <a:pt x="454" y="122"/>
                  </a:lnTo>
                  <a:lnTo>
                    <a:pt x="452" y="148"/>
                  </a:lnTo>
                  <a:lnTo>
                    <a:pt x="440" y="150"/>
                  </a:lnTo>
                  <a:lnTo>
                    <a:pt x="434" y="136"/>
                  </a:lnTo>
                  <a:lnTo>
                    <a:pt x="416" y="144"/>
                  </a:lnTo>
                  <a:lnTo>
                    <a:pt x="410" y="164"/>
                  </a:lnTo>
                  <a:lnTo>
                    <a:pt x="420" y="172"/>
                  </a:lnTo>
                  <a:lnTo>
                    <a:pt x="414" y="188"/>
                  </a:lnTo>
                  <a:lnTo>
                    <a:pt x="418" y="202"/>
                  </a:lnTo>
                  <a:lnTo>
                    <a:pt x="432" y="202"/>
                  </a:lnTo>
                  <a:lnTo>
                    <a:pt x="454" y="228"/>
                  </a:lnTo>
                  <a:lnTo>
                    <a:pt x="448" y="240"/>
                  </a:lnTo>
                  <a:lnTo>
                    <a:pt x="436" y="236"/>
                  </a:lnTo>
                  <a:lnTo>
                    <a:pt x="430" y="240"/>
                  </a:lnTo>
                  <a:lnTo>
                    <a:pt x="432" y="252"/>
                  </a:lnTo>
                  <a:lnTo>
                    <a:pt x="422" y="260"/>
                  </a:lnTo>
                  <a:lnTo>
                    <a:pt x="412" y="250"/>
                  </a:lnTo>
                  <a:lnTo>
                    <a:pt x="394" y="276"/>
                  </a:lnTo>
                  <a:lnTo>
                    <a:pt x="398" y="286"/>
                  </a:lnTo>
                  <a:lnTo>
                    <a:pt x="390" y="294"/>
                  </a:lnTo>
                  <a:lnTo>
                    <a:pt x="382" y="290"/>
                  </a:lnTo>
                  <a:lnTo>
                    <a:pt x="356" y="316"/>
                  </a:lnTo>
                  <a:lnTo>
                    <a:pt x="360" y="322"/>
                  </a:lnTo>
                  <a:lnTo>
                    <a:pt x="370" y="336"/>
                  </a:lnTo>
                  <a:lnTo>
                    <a:pt x="376" y="342"/>
                  </a:lnTo>
                  <a:lnTo>
                    <a:pt x="384" y="348"/>
                  </a:lnTo>
                  <a:lnTo>
                    <a:pt x="392" y="350"/>
                  </a:lnTo>
                  <a:lnTo>
                    <a:pt x="398" y="350"/>
                  </a:lnTo>
                  <a:lnTo>
                    <a:pt x="402" y="348"/>
                  </a:lnTo>
                  <a:lnTo>
                    <a:pt x="452" y="326"/>
                  </a:lnTo>
                  <a:lnTo>
                    <a:pt x="462" y="324"/>
                  </a:lnTo>
                  <a:lnTo>
                    <a:pt x="470" y="324"/>
                  </a:lnTo>
                  <a:lnTo>
                    <a:pt x="478" y="328"/>
                  </a:lnTo>
                  <a:lnTo>
                    <a:pt x="484" y="336"/>
                  </a:lnTo>
                  <a:lnTo>
                    <a:pt x="490" y="344"/>
                  </a:lnTo>
                  <a:lnTo>
                    <a:pt x="494" y="354"/>
                  </a:lnTo>
                  <a:lnTo>
                    <a:pt x="498" y="364"/>
                  </a:lnTo>
                  <a:lnTo>
                    <a:pt x="498" y="376"/>
                  </a:lnTo>
                  <a:lnTo>
                    <a:pt x="500" y="396"/>
                  </a:lnTo>
                  <a:lnTo>
                    <a:pt x="502" y="404"/>
                  </a:lnTo>
                  <a:lnTo>
                    <a:pt x="506" y="416"/>
                  </a:lnTo>
                  <a:lnTo>
                    <a:pt x="512" y="426"/>
                  </a:lnTo>
                  <a:lnTo>
                    <a:pt x="518" y="434"/>
                  </a:lnTo>
                  <a:lnTo>
                    <a:pt x="520" y="442"/>
                  </a:lnTo>
                  <a:lnTo>
                    <a:pt x="522" y="448"/>
                  </a:lnTo>
                  <a:lnTo>
                    <a:pt x="518" y="456"/>
                  </a:lnTo>
                  <a:lnTo>
                    <a:pt x="510" y="460"/>
                  </a:lnTo>
                  <a:lnTo>
                    <a:pt x="504" y="462"/>
                  </a:lnTo>
                  <a:lnTo>
                    <a:pt x="502" y="466"/>
                  </a:lnTo>
                  <a:lnTo>
                    <a:pt x="502" y="472"/>
                  </a:lnTo>
                  <a:lnTo>
                    <a:pt x="508" y="542"/>
                  </a:lnTo>
                  <a:lnTo>
                    <a:pt x="510" y="552"/>
                  </a:lnTo>
                  <a:lnTo>
                    <a:pt x="514" y="560"/>
                  </a:lnTo>
                  <a:lnTo>
                    <a:pt x="522" y="568"/>
                  </a:lnTo>
                  <a:lnTo>
                    <a:pt x="522" y="572"/>
                  </a:lnTo>
                  <a:lnTo>
                    <a:pt x="522" y="578"/>
                  </a:lnTo>
                  <a:lnTo>
                    <a:pt x="518" y="592"/>
                  </a:lnTo>
                  <a:lnTo>
                    <a:pt x="518" y="604"/>
                  </a:lnTo>
                  <a:lnTo>
                    <a:pt x="518" y="614"/>
                  </a:lnTo>
                  <a:lnTo>
                    <a:pt x="516" y="620"/>
                  </a:lnTo>
                  <a:lnTo>
                    <a:pt x="512" y="628"/>
                  </a:lnTo>
                  <a:lnTo>
                    <a:pt x="498" y="644"/>
                  </a:lnTo>
                  <a:lnTo>
                    <a:pt x="496" y="652"/>
                  </a:lnTo>
                  <a:lnTo>
                    <a:pt x="494" y="658"/>
                  </a:lnTo>
                  <a:lnTo>
                    <a:pt x="492" y="672"/>
                  </a:lnTo>
                  <a:lnTo>
                    <a:pt x="486" y="684"/>
                  </a:lnTo>
                  <a:lnTo>
                    <a:pt x="468" y="708"/>
                  </a:lnTo>
                  <a:lnTo>
                    <a:pt x="452" y="730"/>
                  </a:lnTo>
                  <a:lnTo>
                    <a:pt x="418" y="696"/>
                  </a:lnTo>
                  <a:lnTo>
                    <a:pt x="400" y="700"/>
                  </a:lnTo>
                  <a:lnTo>
                    <a:pt x="388" y="688"/>
                  </a:lnTo>
                  <a:lnTo>
                    <a:pt x="372" y="694"/>
                  </a:lnTo>
                  <a:lnTo>
                    <a:pt x="354" y="692"/>
                  </a:lnTo>
                  <a:lnTo>
                    <a:pt x="344" y="672"/>
                  </a:lnTo>
                  <a:lnTo>
                    <a:pt x="314" y="674"/>
                  </a:lnTo>
                  <a:lnTo>
                    <a:pt x="274" y="630"/>
                  </a:lnTo>
                  <a:lnTo>
                    <a:pt x="258" y="616"/>
                  </a:lnTo>
                  <a:lnTo>
                    <a:pt x="264" y="604"/>
                  </a:lnTo>
                  <a:lnTo>
                    <a:pt x="278" y="606"/>
                  </a:lnTo>
                  <a:lnTo>
                    <a:pt x="292" y="568"/>
                  </a:lnTo>
                  <a:lnTo>
                    <a:pt x="286" y="556"/>
                  </a:lnTo>
                  <a:lnTo>
                    <a:pt x="270" y="558"/>
                  </a:lnTo>
                  <a:lnTo>
                    <a:pt x="252" y="534"/>
                  </a:lnTo>
                  <a:lnTo>
                    <a:pt x="258" y="510"/>
                  </a:lnTo>
                  <a:lnTo>
                    <a:pt x="254" y="496"/>
                  </a:lnTo>
                  <a:lnTo>
                    <a:pt x="240" y="490"/>
                  </a:lnTo>
                  <a:lnTo>
                    <a:pt x="232" y="496"/>
                  </a:lnTo>
                  <a:lnTo>
                    <a:pt x="212" y="492"/>
                  </a:lnTo>
                  <a:lnTo>
                    <a:pt x="212" y="484"/>
                  </a:lnTo>
                  <a:lnTo>
                    <a:pt x="184" y="478"/>
                  </a:lnTo>
                  <a:lnTo>
                    <a:pt x="160" y="464"/>
                  </a:lnTo>
                  <a:lnTo>
                    <a:pt x="124" y="480"/>
                  </a:lnTo>
                  <a:lnTo>
                    <a:pt x="120" y="492"/>
                  </a:lnTo>
                  <a:lnTo>
                    <a:pt x="102" y="496"/>
                  </a:lnTo>
                  <a:lnTo>
                    <a:pt x="94" y="488"/>
                  </a:lnTo>
                  <a:lnTo>
                    <a:pt x="72" y="492"/>
                  </a:lnTo>
                  <a:lnTo>
                    <a:pt x="68" y="500"/>
                  </a:lnTo>
                  <a:lnTo>
                    <a:pt x="52" y="502"/>
                  </a:lnTo>
                  <a:lnTo>
                    <a:pt x="34" y="488"/>
                  </a:lnTo>
                  <a:lnTo>
                    <a:pt x="24" y="486"/>
                  </a:lnTo>
                  <a:lnTo>
                    <a:pt x="24" y="478"/>
                  </a:lnTo>
                  <a:lnTo>
                    <a:pt x="36" y="442"/>
                  </a:lnTo>
                  <a:lnTo>
                    <a:pt x="58" y="436"/>
                  </a:lnTo>
                  <a:lnTo>
                    <a:pt x="64" y="406"/>
                  </a:lnTo>
                  <a:lnTo>
                    <a:pt x="42" y="386"/>
                  </a:lnTo>
                  <a:lnTo>
                    <a:pt x="24" y="388"/>
                  </a:lnTo>
                  <a:lnTo>
                    <a:pt x="0" y="330"/>
                  </a:lnTo>
                  <a:lnTo>
                    <a:pt x="6" y="282"/>
                  </a:lnTo>
                  <a:lnTo>
                    <a:pt x="18" y="252"/>
                  </a:lnTo>
                  <a:lnTo>
                    <a:pt x="44" y="238"/>
                  </a:lnTo>
                  <a:lnTo>
                    <a:pt x="42" y="230"/>
                  </a:lnTo>
                  <a:lnTo>
                    <a:pt x="54" y="224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4" name="Freeform 59"/>
            <p:cNvSpPr>
              <a:spLocks/>
            </p:cNvSpPr>
            <p:nvPr/>
          </p:nvSpPr>
          <p:spPr bwMode="auto">
            <a:xfrm>
              <a:off x="4179881" y="2962275"/>
              <a:ext cx="1252538" cy="1254125"/>
            </a:xfrm>
            <a:custGeom>
              <a:avLst/>
              <a:gdLst>
                <a:gd name="T0" fmla="*/ 607098 w 784"/>
                <a:gd name="T1" fmla="*/ 98176 h 792"/>
                <a:gd name="T2" fmla="*/ 603902 w 784"/>
                <a:gd name="T3" fmla="*/ 31670 h 792"/>
                <a:gd name="T4" fmla="*/ 680588 w 784"/>
                <a:gd name="T5" fmla="*/ 41171 h 792"/>
                <a:gd name="T6" fmla="*/ 776446 w 784"/>
                <a:gd name="T7" fmla="*/ 76008 h 792"/>
                <a:gd name="T8" fmla="*/ 754079 w 784"/>
                <a:gd name="T9" fmla="*/ 167850 h 792"/>
                <a:gd name="T10" fmla="*/ 779641 w 784"/>
                <a:gd name="T11" fmla="*/ 205854 h 792"/>
                <a:gd name="T12" fmla="*/ 725322 w 784"/>
                <a:gd name="T13" fmla="*/ 240691 h 792"/>
                <a:gd name="T14" fmla="*/ 792422 w 784"/>
                <a:gd name="T15" fmla="*/ 250192 h 792"/>
                <a:gd name="T16" fmla="*/ 865913 w 784"/>
                <a:gd name="T17" fmla="*/ 231190 h 792"/>
                <a:gd name="T18" fmla="*/ 955380 w 784"/>
                <a:gd name="T19" fmla="*/ 205854 h 792"/>
                <a:gd name="T20" fmla="*/ 936208 w 784"/>
                <a:gd name="T21" fmla="*/ 114011 h 792"/>
                <a:gd name="T22" fmla="*/ 885084 w 784"/>
                <a:gd name="T23" fmla="*/ 44338 h 792"/>
                <a:gd name="T24" fmla="*/ 929818 w 784"/>
                <a:gd name="T25" fmla="*/ 28503 h 792"/>
                <a:gd name="T26" fmla="*/ 993723 w 784"/>
                <a:gd name="T27" fmla="*/ 6334 h 792"/>
                <a:gd name="T28" fmla="*/ 1022480 w 784"/>
                <a:gd name="T29" fmla="*/ 76008 h 792"/>
                <a:gd name="T30" fmla="*/ 1105557 w 784"/>
                <a:gd name="T31" fmla="*/ 66507 h 792"/>
                <a:gd name="T32" fmla="*/ 1182243 w 784"/>
                <a:gd name="T33" fmla="*/ 25336 h 792"/>
                <a:gd name="T34" fmla="*/ 1169462 w 784"/>
                <a:gd name="T35" fmla="*/ 107677 h 792"/>
                <a:gd name="T36" fmla="*/ 1172657 w 784"/>
                <a:gd name="T37" fmla="*/ 190019 h 792"/>
                <a:gd name="T38" fmla="*/ 1143900 w 784"/>
                <a:gd name="T39" fmla="*/ 266027 h 792"/>
                <a:gd name="T40" fmla="*/ 1191828 w 784"/>
                <a:gd name="T41" fmla="*/ 326199 h 792"/>
                <a:gd name="T42" fmla="*/ 1239757 w 784"/>
                <a:gd name="T43" fmla="*/ 392706 h 792"/>
                <a:gd name="T44" fmla="*/ 1252538 w 784"/>
                <a:gd name="T45" fmla="*/ 449712 h 792"/>
                <a:gd name="T46" fmla="*/ 1211000 w 784"/>
                <a:gd name="T47" fmla="*/ 557389 h 792"/>
                <a:gd name="T48" fmla="*/ 1140704 w 784"/>
                <a:gd name="T49" fmla="*/ 646064 h 792"/>
                <a:gd name="T50" fmla="*/ 1073604 w 784"/>
                <a:gd name="T51" fmla="*/ 630229 h 792"/>
                <a:gd name="T52" fmla="*/ 993723 w 784"/>
                <a:gd name="T53" fmla="*/ 684068 h 792"/>
                <a:gd name="T54" fmla="*/ 1006504 w 784"/>
                <a:gd name="T55" fmla="*/ 731573 h 792"/>
                <a:gd name="T56" fmla="*/ 1003309 w 784"/>
                <a:gd name="T57" fmla="*/ 794913 h 792"/>
                <a:gd name="T58" fmla="*/ 936208 w 784"/>
                <a:gd name="T59" fmla="*/ 810748 h 792"/>
                <a:gd name="T60" fmla="*/ 910646 w 784"/>
                <a:gd name="T61" fmla="*/ 877254 h 792"/>
                <a:gd name="T62" fmla="*/ 843546 w 784"/>
                <a:gd name="T63" fmla="*/ 937427 h 792"/>
                <a:gd name="T64" fmla="*/ 792422 w 784"/>
                <a:gd name="T65" fmla="*/ 1038770 h 792"/>
                <a:gd name="T66" fmla="*/ 747688 w 784"/>
                <a:gd name="T67" fmla="*/ 975431 h 792"/>
                <a:gd name="T68" fmla="*/ 702955 w 784"/>
                <a:gd name="T69" fmla="*/ 943761 h 792"/>
                <a:gd name="T70" fmla="*/ 664612 w 784"/>
                <a:gd name="T71" fmla="*/ 899423 h 792"/>
                <a:gd name="T72" fmla="*/ 632659 w 784"/>
                <a:gd name="T73" fmla="*/ 962763 h 792"/>
                <a:gd name="T74" fmla="*/ 571950 w 784"/>
                <a:gd name="T75" fmla="*/ 1019768 h 792"/>
                <a:gd name="T76" fmla="*/ 527216 w 784"/>
                <a:gd name="T77" fmla="*/ 1060939 h 792"/>
                <a:gd name="T78" fmla="*/ 364258 w 784"/>
                <a:gd name="T79" fmla="*/ 1117945 h 792"/>
                <a:gd name="T80" fmla="*/ 319525 w 784"/>
                <a:gd name="T81" fmla="*/ 1171783 h 792"/>
                <a:gd name="T82" fmla="*/ 300354 w 784"/>
                <a:gd name="T83" fmla="*/ 1238290 h 792"/>
                <a:gd name="T84" fmla="*/ 204496 w 784"/>
                <a:gd name="T85" fmla="*/ 1228789 h 792"/>
                <a:gd name="T86" fmla="*/ 156567 w 784"/>
                <a:gd name="T87" fmla="*/ 1216121 h 792"/>
                <a:gd name="T88" fmla="*/ 124615 w 784"/>
                <a:gd name="T89" fmla="*/ 1181284 h 792"/>
                <a:gd name="T90" fmla="*/ 60710 w 784"/>
                <a:gd name="T91" fmla="*/ 1048271 h 792"/>
                <a:gd name="T92" fmla="*/ 67100 w 784"/>
                <a:gd name="T93" fmla="*/ 959596 h 792"/>
                <a:gd name="T94" fmla="*/ 0 w 784"/>
                <a:gd name="T95" fmla="*/ 893089 h 792"/>
                <a:gd name="T96" fmla="*/ 127810 w 784"/>
                <a:gd name="T97" fmla="*/ 788579 h 792"/>
                <a:gd name="T98" fmla="*/ 156567 w 784"/>
                <a:gd name="T99" fmla="*/ 642897 h 792"/>
                <a:gd name="T100" fmla="*/ 89467 w 784"/>
                <a:gd name="T101" fmla="*/ 452879 h 792"/>
                <a:gd name="T102" fmla="*/ 111834 w 784"/>
                <a:gd name="T103" fmla="*/ 433877 h 792"/>
                <a:gd name="T104" fmla="*/ 156567 w 784"/>
                <a:gd name="T105" fmla="*/ 380038 h 792"/>
                <a:gd name="T106" fmla="*/ 223668 w 784"/>
                <a:gd name="T107" fmla="*/ 392706 h 792"/>
                <a:gd name="T108" fmla="*/ 361063 w 784"/>
                <a:gd name="T109" fmla="*/ 300863 h 792"/>
                <a:gd name="T110" fmla="*/ 402601 w 784"/>
                <a:gd name="T111" fmla="*/ 215355 h 7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84"/>
                <a:gd name="T169" fmla="*/ 0 h 792"/>
                <a:gd name="T170" fmla="*/ 784 w 784"/>
                <a:gd name="T171" fmla="*/ 792 h 7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84" h="792">
                  <a:moveTo>
                    <a:pt x="292" y="100"/>
                  </a:moveTo>
                  <a:lnTo>
                    <a:pt x="326" y="98"/>
                  </a:lnTo>
                  <a:lnTo>
                    <a:pt x="380" y="62"/>
                  </a:lnTo>
                  <a:lnTo>
                    <a:pt x="378" y="50"/>
                  </a:lnTo>
                  <a:lnTo>
                    <a:pt x="394" y="28"/>
                  </a:lnTo>
                  <a:lnTo>
                    <a:pt x="378" y="20"/>
                  </a:lnTo>
                  <a:lnTo>
                    <a:pt x="396" y="0"/>
                  </a:lnTo>
                  <a:lnTo>
                    <a:pt x="422" y="12"/>
                  </a:lnTo>
                  <a:lnTo>
                    <a:pt x="426" y="26"/>
                  </a:lnTo>
                  <a:lnTo>
                    <a:pt x="452" y="38"/>
                  </a:lnTo>
                  <a:lnTo>
                    <a:pt x="468" y="36"/>
                  </a:lnTo>
                  <a:lnTo>
                    <a:pt x="486" y="48"/>
                  </a:lnTo>
                  <a:lnTo>
                    <a:pt x="488" y="62"/>
                  </a:lnTo>
                  <a:lnTo>
                    <a:pt x="468" y="98"/>
                  </a:lnTo>
                  <a:lnTo>
                    <a:pt x="472" y="106"/>
                  </a:lnTo>
                  <a:lnTo>
                    <a:pt x="492" y="106"/>
                  </a:lnTo>
                  <a:lnTo>
                    <a:pt x="498" y="130"/>
                  </a:lnTo>
                  <a:lnTo>
                    <a:pt x="488" y="130"/>
                  </a:lnTo>
                  <a:lnTo>
                    <a:pt x="482" y="140"/>
                  </a:lnTo>
                  <a:lnTo>
                    <a:pt x="468" y="140"/>
                  </a:lnTo>
                  <a:lnTo>
                    <a:pt x="454" y="152"/>
                  </a:lnTo>
                  <a:lnTo>
                    <a:pt x="456" y="168"/>
                  </a:lnTo>
                  <a:lnTo>
                    <a:pt x="474" y="168"/>
                  </a:lnTo>
                  <a:lnTo>
                    <a:pt x="496" y="158"/>
                  </a:lnTo>
                  <a:lnTo>
                    <a:pt x="506" y="162"/>
                  </a:lnTo>
                  <a:lnTo>
                    <a:pt x="534" y="160"/>
                  </a:lnTo>
                  <a:lnTo>
                    <a:pt x="542" y="146"/>
                  </a:lnTo>
                  <a:lnTo>
                    <a:pt x="554" y="140"/>
                  </a:lnTo>
                  <a:lnTo>
                    <a:pt x="574" y="152"/>
                  </a:lnTo>
                  <a:lnTo>
                    <a:pt x="598" y="130"/>
                  </a:lnTo>
                  <a:lnTo>
                    <a:pt x="596" y="120"/>
                  </a:lnTo>
                  <a:lnTo>
                    <a:pt x="582" y="116"/>
                  </a:lnTo>
                  <a:lnTo>
                    <a:pt x="586" y="72"/>
                  </a:lnTo>
                  <a:lnTo>
                    <a:pt x="562" y="48"/>
                  </a:lnTo>
                  <a:lnTo>
                    <a:pt x="548" y="44"/>
                  </a:lnTo>
                  <a:lnTo>
                    <a:pt x="554" y="28"/>
                  </a:lnTo>
                  <a:lnTo>
                    <a:pt x="566" y="34"/>
                  </a:lnTo>
                  <a:lnTo>
                    <a:pt x="580" y="26"/>
                  </a:lnTo>
                  <a:lnTo>
                    <a:pt x="582" y="18"/>
                  </a:lnTo>
                  <a:lnTo>
                    <a:pt x="592" y="12"/>
                  </a:lnTo>
                  <a:lnTo>
                    <a:pt x="606" y="14"/>
                  </a:lnTo>
                  <a:lnTo>
                    <a:pt x="622" y="4"/>
                  </a:lnTo>
                  <a:lnTo>
                    <a:pt x="632" y="12"/>
                  </a:lnTo>
                  <a:lnTo>
                    <a:pt x="634" y="40"/>
                  </a:lnTo>
                  <a:lnTo>
                    <a:pt x="640" y="48"/>
                  </a:lnTo>
                  <a:lnTo>
                    <a:pt x="670" y="42"/>
                  </a:lnTo>
                  <a:lnTo>
                    <a:pt x="680" y="46"/>
                  </a:lnTo>
                  <a:lnTo>
                    <a:pt x="692" y="42"/>
                  </a:lnTo>
                  <a:lnTo>
                    <a:pt x="692" y="30"/>
                  </a:lnTo>
                  <a:lnTo>
                    <a:pt x="720" y="4"/>
                  </a:lnTo>
                  <a:lnTo>
                    <a:pt x="740" y="16"/>
                  </a:lnTo>
                  <a:lnTo>
                    <a:pt x="734" y="32"/>
                  </a:lnTo>
                  <a:lnTo>
                    <a:pt x="740" y="40"/>
                  </a:lnTo>
                  <a:lnTo>
                    <a:pt x="732" y="68"/>
                  </a:lnTo>
                  <a:lnTo>
                    <a:pt x="718" y="76"/>
                  </a:lnTo>
                  <a:lnTo>
                    <a:pt x="708" y="116"/>
                  </a:lnTo>
                  <a:lnTo>
                    <a:pt x="734" y="120"/>
                  </a:lnTo>
                  <a:lnTo>
                    <a:pt x="732" y="144"/>
                  </a:lnTo>
                  <a:lnTo>
                    <a:pt x="712" y="140"/>
                  </a:lnTo>
                  <a:lnTo>
                    <a:pt x="716" y="168"/>
                  </a:lnTo>
                  <a:lnTo>
                    <a:pt x="736" y="174"/>
                  </a:lnTo>
                  <a:lnTo>
                    <a:pt x="754" y="190"/>
                  </a:lnTo>
                  <a:lnTo>
                    <a:pt x="746" y="206"/>
                  </a:lnTo>
                  <a:lnTo>
                    <a:pt x="748" y="228"/>
                  </a:lnTo>
                  <a:lnTo>
                    <a:pt x="762" y="224"/>
                  </a:lnTo>
                  <a:lnTo>
                    <a:pt x="776" y="248"/>
                  </a:lnTo>
                  <a:lnTo>
                    <a:pt x="768" y="264"/>
                  </a:lnTo>
                  <a:lnTo>
                    <a:pt x="782" y="270"/>
                  </a:lnTo>
                  <a:lnTo>
                    <a:pt x="784" y="284"/>
                  </a:lnTo>
                  <a:lnTo>
                    <a:pt x="774" y="306"/>
                  </a:lnTo>
                  <a:lnTo>
                    <a:pt x="772" y="344"/>
                  </a:lnTo>
                  <a:lnTo>
                    <a:pt x="758" y="352"/>
                  </a:lnTo>
                  <a:lnTo>
                    <a:pt x="766" y="364"/>
                  </a:lnTo>
                  <a:lnTo>
                    <a:pt x="732" y="408"/>
                  </a:lnTo>
                  <a:lnTo>
                    <a:pt x="714" y="408"/>
                  </a:lnTo>
                  <a:lnTo>
                    <a:pt x="712" y="394"/>
                  </a:lnTo>
                  <a:lnTo>
                    <a:pt x="690" y="386"/>
                  </a:lnTo>
                  <a:lnTo>
                    <a:pt x="672" y="398"/>
                  </a:lnTo>
                  <a:lnTo>
                    <a:pt x="680" y="414"/>
                  </a:lnTo>
                  <a:lnTo>
                    <a:pt x="670" y="432"/>
                  </a:lnTo>
                  <a:lnTo>
                    <a:pt x="622" y="432"/>
                  </a:lnTo>
                  <a:lnTo>
                    <a:pt x="602" y="460"/>
                  </a:lnTo>
                  <a:lnTo>
                    <a:pt x="610" y="474"/>
                  </a:lnTo>
                  <a:lnTo>
                    <a:pt x="630" y="462"/>
                  </a:lnTo>
                  <a:lnTo>
                    <a:pt x="640" y="466"/>
                  </a:lnTo>
                  <a:lnTo>
                    <a:pt x="636" y="494"/>
                  </a:lnTo>
                  <a:lnTo>
                    <a:pt x="628" y="502"/>
                  </a:lnTo>
                  <a:lnTo>
                    <a:pt x="630" y="512"/>
                  </a:lnTo>
                  <a:lnTo>
                    <a:pt x="622" y="518"/>
                  </a:lnTo>
                  <a:lnTo>
                    <a:pt x="586" y="512"/>
                  </a:lnTo>
                  <a:lnTo>
                    <a:pt x="574" y="526"/>
                  </a:lnTo>
                  <a:lnTo>
                    <a:pt x="580" y="538"/>
                  </a:lnTo>
                  <a:lnTo>
                    <a:pt x="570" y="554"/>
                  </a:lnTo>
                  <a:lnTo>
                    <a:pt x="566" y="578"/>
                  </a:lnTo>
                  <a:lnTo>
                    <a:pt x="544" y="596"/>
                  </a:lnTo>
                  <a:lnTo>
                    <a:pt x="528" y="592"/>
                  </a:lnTo>
                  <a:lnTo>
                    <a:pt x="502" y="620"/>
                  </a:lnTo>
                  <a:lnTo>
                    <a:pt x="504" y="640"/>
                  </a:lnTo>
                  <a:lnTo>
                    <a:pt x="496" y="656"/>
                  </a:lnTo>
                  <a:lnTo>
                    <a:pt x="488" y="656"/>
                  </a:lnTo>
                  <a:lnTo>
                    <a:pt x="468" y="632"/>
                  </a:lnTo>
                  <a:lnTo>
                    <a:pt x="468" y="616"/>
                  </a:lnTo>
                  <a:lnTo>
                    <a:pt x="456" y="602"/>
                  </a:lnTo>
                  <a:lnTo>
                    <a:pt x="448" y="602"/>
                  </a:lnTo>
                  <a:lnTo>
                    <a:pt x="440" y="596"/>
                  </a:lnTo>
                  <a:lnTo>
                    <a:pt x="444" y="580"/>
                  </a:lnTo>
                  <a:lnTo>
                    <a:pt x="428" y="562"/>
                  </a:lnTo>
                  <a:lnTo>
                    <a:pt x="416" y="568"/>
                  </a:lnTo>
                  <a:lnTo>
                    <a:pt x="420" y="586"/>
                  </a:lnTo>
                  <a:lnTo>
                    <a:pt x="416" y="598"/>
                  </a:lnTo>
                  <a:lnTo>
                    <a:pt x="396" y="608"/>
                  </a:lnTo>
                  <a:lnTo>
                    <a:pt x="396" y="620"/>
                  </a:lnTo>
                  <a:lnTo>
                    <a:pt x="388" y="634"/>
                  </a:lnTo>
                  <a:lnTo>
                    <a:pt x="358" y="644"/>
                  </a:lnTo>
                  <a:lnTo>
                    <a:pt x="348" y="640"/>
                  </a:lnTo>
                  <a:lnTo>
                    <a:pt x="338" y="644"/>
                  </a:lnTo>
                  <a:lnTo>
                    <a:pt x="330" y="670"/>
                  </a:lnTo>
                  <a:lnTo>
                    <a:pt x="298" y="680"/>
                  </a:lnTo>
                  <a:lnTo>
                    <a:pt x="288" y="680"/>
                  </a:lnTo>
                  <a:lnTo>
                    <a:pt x="228" y="706"/>
                  </a:lnTo>
                  <a:lnTo>
                    <a:pt x="216" y="724"/>
                  </a:lnTo>
                  <a:lnTo>
                    <a:pt x="220" y="734"/>
                  </a:lnTo>
                  <a:lnTo>
                    <a:pt x="200" y="740"/>
                  </a:lnTo>
                  <a:lnTo>
                    <a:pt x="192" y="734"/>
                  </a:lnTo>
                  <a:lnTo>
                    <a:pt x="176" y="746"/>
                  </a:lnTo>
                  <a:lnTo>
                    <a:pt x="188" y="782"/>
                  </a:lnTo>
                  <a:lnTo>
                    <a:pt x="162" y="792"/>
                  </a:lnTo>
                  <a:lnTo>
                    <a:pt x="156" y="782"/>
                  </a:lnTo>
                  <a:lnTo>
                    <a:pt x="128" y="776"/>
                  </a:lnTo>
                  <a:lnTo>
                    <a:pt x="114" y="786"/>
                  </a:lnTo>
                  <a:lnTo>
                    <a:pt x="108" y="764"/>
                  </a:lnTo>
                  <a:lnTo>
                    <a:pt x="98" y="768"/>
                  </a:lnTo>
                  <a:lnTo>
                    <a:pt x="102" y="786"/>
                  </a:lnTo>
                  <a:lnTo>
                    <a:pt x="90" y="792"/>
                  </a:lnTo>
                  <a:lnTo>
                    <a:pt x="78" y="746"/>
                  </a:lnTo>
                  <a:lnTo>
                    <a:pt x="56" y="704"/>
                  </a:lnTo>
                  <a:lnTo>
                    <a:pt x="68" y="682"/>
                  </a:lnTo>
                  <a:lnTo>
                    <a:pt x="38" y="662"/>
                  </a:lnTo>
                  <a:lnTo>
                    <a:pt x="22" y="640"/>
                  </a:lnTo>
                  <a:lnTo>
                    <a:pt x="26" y="616"/>
                  </a:lnTo>
                  <a:lnTo>
                    <a:pt x="42" y="606"/>
                  </a:lnTo>
                  <a:lnTo>
                    <a:pt x="42" y="586"/>
                  </a:lnTo>
                  <a:lnTo>
                    <a:pt x="20" y="564"/>
                  </a:lnTo>
                  <a:lnTo>
                    <a:pt x="0" y="564"/>
                  </a:lnTo>
                  <a:lnTo>
                    <a:pt x="0" y="542"/>
                  </a:lnTo>
                  <a:lnTo>
                    <a:pt x="68" y="514"/>
                  </a:lnTo>
                  <a:lnTo>
                    <a:pt x="80" y="498"/>
                  </a:lnTo>
                  <a:lnTo>
                    <a:pt x="62" y="474"/>
                  </a:lnTo>
                  <a:lnTo>
                    <a:pt x="84" y="442"/>
                  </a:lnTo>
                  <a:lnTo>
                    <a:pt x="98" y="406"/>
                  </a:lnTo>
                  <a:lnTo>
                    <a:pt x="94" y="358"/>
                  </a:lnTo>
                  <a:lnTo>
                    <a:pt x="82" y="348"/>
                  </a:lnTo>
                  <a:lnTo>
                    <a:pt x="56" y="286"/>
                  </a:lnTo>
                  <a:lnTo>
                    <a:pt x="40" y="280"/>
                  </a:lnTo>
                  <a:lnTo>
                    <a:pt x="46" y="266"/>
                  </a:lnTo>
                  <a:lnTo>
                    <a:pt x="70" y="274"/>
                  </a:lnTo>
                  <a:lnTo>
                    <a:pt x="88" y="262"/>
                  </a:lnTo>
                  <a:lnTo>
                    <a:pt x="88" y="246"/>
                  </a:lnTo>
                  <a:lnTo>
                    <a:pt x="98" y="240"/>
                  </a:lnTo>
                  <a:lnTo>
                    <a:pt x="120" y="266"/>
                  </a:lnTo>
                  <a:lnTo>
                    <a:pt x="134" y="264"/>
                  </a:lnTo>
                  <a:lnTo>
                    <a:pt x="140" y="248"/>
                  </a:lnTo>
                  <a:lnTo>
                    <a:pt x="214" y="240"/>
                  </a:lnTo>
                  <a:lnTo>
                    <a:pt x="238" y="208"/>
                  </a:lnTo>
                  <a:lnTo>
                    <a:pt x="226" y="190"/>
                  </a:lnTo>
                  <a:lnTo>
                    <a:pt x="234" y="156"/>
                  </a:lnTo>
                  <a:lnTo>
                    <a:pt x="250" y="154"/>
                  </a:lnTo>
                  <a:lnTo>
                    <a:pt x="252" y="136"/>
                  </a:lnTo>
                  <a:lnTo>
                    <a:pt x="292" y="100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5" name="Freeform 60"/>
            <p:cNvSpPr>
              <a:spLocks/>
            </p:cNvSpPr>
            <p:nvPr/>
          </p:nvSpPr>
          <p:spPr bwMode="auto">
            <a:xfrm>
              <a:off x="4179881" y="2962275"/>
              <a:ext cx="1252538" cy="1254125"/>
            </a:xfrm>
            <a:custGeom>
              <a:avLst/>
              <a:gdLst>
                <a:gd name="T0" fmla="*/ 607098 w 784"/>
                <a:gd name="T1" fmla="*/ 98176 h 792"/>
                <a:gd name="T2" fmla="*/ 603902 w 784"/>
                <a:gd name="T3" fmla="*/ 31670 h 792"/>
                <a:gd name="T4" fmla="*/ 680588 w 784"/>
                <a:gd name="T5" fmla="*/ 41171 h 792"/>
                <a:gd name="T6" fmla="*/ 776446 w 784"/>
                <a:gd name="T7" fmla="*/ 76008 h 792"/>
                <a:gd name="T8" fmla="*/ 754079 w 784"/>
                <a:gd name="T9" fmla="*/ 167850 h 792"/>
                <a:gd name="T10" fmla="*/ 779641 w 784"/>
                <a:gd name="T11" fmla="*/ 205854 h 792"/>
                <a:gd name="T12" fmla="*/ 725322 w 784"/>
                <a:gd name="T13" fmla="*/ 240691 h 792"/>
                <a:gd name="T14" fmla="*/ 792422 w 784"/>
                <a:gd name="T15" fmla="*/ 250192 h 792"/>
                <a:gd name="T16" fmla="*/ 865913 w 784"/>
                <a:gd name="T17" fmla="*/ 231190 h 792"/>
                <a:gd name="T18" fmla="*/ 955380 w 784"/>
                <a:gd name="T19" fmla="*/ 205854 h 792"/>
                <a:gd name="T20" fmla="*/ 936208 w 784"/>
                <a:gd name="T21" fmla="*/ 114011 h 792"/>
                <a:gd name="T22" fmla="*/ 885084 w 784"/>
                <a:gd name="T23" fmla="*/ 44338 h 792"/>
                <a:gd name="T24" fmla="*/ 929818 w 784"/>
                <a:gd name="T25" fmla="*/ 28503 h 792"/>
                <a:gd name="T26" fmla="*/ 993723 w 784"/>
                <a:gd name="T27" fmla="*/ 6334 h 792"/>
                <a:gd name="T28" fmla="*/ 1022480 w 784"/>
                <a:gd name="T29" fmla="*/ 76008 h 792"/>
                <a:gd name="T30" fmla="*/ 1105557 w 784"/>
                <a:gd name="T31" fmla="*/ 66507 h 792"/>
                <a:gd name="T32" fmla="*/ 1182243 w 784"/>
                <a:gd name="T33" fmla="*/ 25336 h 792"/>
                <a:gd name="T34" fmla="*/ 1169462 w 784"/>
                <a:gd name="T35" fmla="*/ 107677 h 792"/>
                <a:gd name="T36" fmla="*/ 1172657 w 784"/>
                <a:gd name="T37" fmla="*/ 190019 h 792"/>
                <a:gd name="T38" fmla="*/ 1143900 w 784"/>
                <a:gd name="T39" fmla="*/ 266027 h 792"/>
                <a:gd name="T40" fmla="*/ 1191828 w 784"/>
                <a:gd name="T41" fmla="*/ 326199 h 792"/>
                <a:gd name="T42" fmla="*/ 1239757 w 784"/>
                <a:gd name="T43" fmla="*/ 392706 h 792"/>
                <a:gd name="T44" fmla="*/ 1252538 w 784"/>
                <a:gd name="T45" fmla="*/ 449712 h 792"/>
                <a:gd name="T46" fmla="*/ 1211000 w 784"/>
                <a:gd name="T47" fmla="*/ 557389 h 792"/>
                <a:gd name="T48" fmla="*/ 1140704 w 784"/>
                <a:gd name="T49" fmla="*/ 646064 h 792"/>
                <a:gd name="T50" fmla="*/ 1073604 w 784"/>
                <a:gd name="T51" fmla="*/ 630229 h 792"/>
                <a:gd name="T52" fmla="*/ 993723 w 784"/>
                <a:gd name="T53" fmla="*/ 684068 h 792"/>
                <a:gd name="T54" fmla="*/ 1006504 w 784"/>
                <a:gd name="T55" fmla="*/ 731573 h 792"/>
                <a:gd name="T56" fmla="*/ 1003309 w 784"/>
                <a:gd name="T57" fmla="*/ 794913 h 792"/>
                <a:gd name="T58" fmla="*/ 936208 w 784"/>
                <a:gd name="T59" fmla="*/ 810748 h 792"/>
                <a:gd name="T60" fmla="*/ 910646 w 784"/>
                <a:gd name="T61" fmla="*/ 877254 h 792"/>
                <a:gd name="T62" fmla="*/ 843546 w 784"/>
                <a:gd name="T63" fmla="*/ 937427 h 792"/>
                <a:gd name="T64" fmla="*/ 792422 w 784"/>
                <a:gd name="T65" fmla="*/ 1038770 h 792"/>
                <a:gd name="T66" fmla="*/ 747688 w 784"/>
                <a:gd name="T67" fmla="*/ 975431 h 792"/>
                <a:gd name="T68" fmla="*/ 702955 w 784"/>
                <a:gd name="T69" fmla="*/ 943761 h 792"/>
                <a:gd name="T70" fmla="*/ 664612 w 784"/>
                <a:gd name="T71" fmla="*/ 899423 h 792"/>
                <a:gd name="T72" fmla="*/ 632659 w 784"/>
                <a:gd name="T73" fmla="*/ 962763 h 792"/>
                <a:gd name="T74" fmla="*/ 571950 w 784"/>
                <a:gd name="T75" fmla="*/ 1019768 h 792"/>
                <a:gd name="T76" fmla="*/ 527216 w 784"/>
                <a:gd name="T77" fmla="*/ 1060939 h 792"/>
                <a:gd name="T78" fmla="*/ 364258 w 784"/>
                <a:gd name="T79" fmla="*/ 1117945 h 792"/>
                <a:gd name="T80" fmla="*/ 319525 w 784"/>
                <a:gd name="T81" fmla="*/ 1171783 h 792"/>
                <a:gd name="T82" fmla="*/ 300354 w 784"/>
                <a:gd name="T83" fmla="*/ 1238290 h 792"/>
                <a:gd name="T84" fmla="*/ 204496 w 784"/>
                <a:gd name="T85" fmla="*/ 1228789 h 792"/>
                <a:gd name="T86" fmla="*/ 156567 w 784"/>
                <a:gd name="T87" fmla="*/ 1216121 h 792"/>
                <a:gd name="T88" fmla="*/ 124615 w 784"/>
                <a:gd name="T89" fmla="*/ 1181284 h 792"/>
                <a:gd name="T90" fmla="*/ 60710 w 784"/>
                <a:gd name="T91" fmla="*/ 1048271 h 792"/>
                <a:gd name="T92" fmla="*/ 67100 w 784"/>
                <a:gd name="T93" fmla="*/ 959596 h 792"/>
                <a:gd name="T94" fmla="*/ 0 w 784"/>
                <a:gd name="T95" fmla="*/ 893089 h 792"/>
                <a:gd name="T96" fmla="*/ 127810 w 784"/>
                <a:gd name="T97" fmla="*/ 788579 h 792"/>
                <a:gd name="T98" fmla="*/ 156567 w 784"/>
                <a:gd name="T99" fmla="*/ 642897 h 792"/>
                <a:gd name="T100" fmla="*/ 89467 w 784"/>
                <a:gd name="T101" fmla="*/ 452879 h 792"/>
                <a:gd name="T102" fmla="*/ 111834 w 784"/>
                <a:gd name="T103" fmla="*/ 433877 h 792"/>
                <a:gd name="T104" fmla="*/ 156567 w 784"/>
                <a:gd name="T105" fmla="*/ 380038 h 792"/>
                <a:gd name="T106" fmla="*/ 223668 w 784"/>
                <a:gd name="T107" fmla="*/ 392706 h 792"/>
                <a:gd name="T108" fmla="*/ 361063 w 784"/>
                <a:gd name="T109" fmla="*/ 300863 h 792"/>
                <a:gd name="T110" fmla="*/ 402601 w 784"/>
                <a:gd name="T111" fmla="*/ 215355 h 7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84"/>
                <a:gd name="T169" fmla="*/ 0 h 792"/>
                <a:gd name="T170" fmla="*/ 784 w 784"/>
                <a:gd name="T171" fmla="*/ 792 h 7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84" h="792">
                  <a:moveTo>
                    <a:pt x="292" y="100"/>
                  </a:moveTo>
                  <a:lnTo>
                    <a:pt x="326" y="98"/>
                  </a:lnTo>
                  <a:lnTo>
                    <a:pt x="380" y="62"/>
                  </a:lnTo>
                  <a:lnTo>
                    <a:pt x="378" y="50"/>
                  </a:lnTo>
                  <a:lnTo>
                    <a:pt x="394" y="28"/>
                  </a:lnTo>
                  <a:lnTo>
                    <a:pt x="378" y="20"/>
                  </a:lnTo>
                  <a:lnTo>
                    <a:pt x="396" y="0"/>
                  </a:lnTo>
                  <a:lnTo>
                    <a:pt x="422" y="12"/>
                  </a:lnTo>
                  <a:lnTo>
                    <a:pt x="426" y="26"/>
                  </a:lnTo>
                  <a:lnTo>
                    <a:pt x="452" y="38"/>
                  </a:lnTo>
                  <a:lnTo>
                    <a:pt x="468" y="36"/>
                  </a:lnTo>
                  <a:lnTo>
                    <a:pt x="486" y="48"/>
                  </a:lnTo>
                  <a:lnTo>
                    <a:pt x="488" y="62"/>
                  </a:lnTo>
                  <a:lnTo>
                    <a:pt x="468" y="98"/>
                  </a:lnTo>
                  <a:lnTo>
                    <a:pt x="472" y="106"/>
                  </a:lnTo>
                  <a:lnTo>
                    <a:pt x="492" y="106"/>
                  </a:lnTo>
                  <a:lnTo>
                    <a:pt x="498" y="130"/>
                  </a:lnTo>
                  <a:lnTo>
                    <a:pt x="488" y="130"/>
                  </a:lnTo>
                  <a:lnTo>
                    <a:pt x="482" y="140"/>
                  </a:lnTo>
                  <a:lnTo>
                    <a:pt x="468" y="140"/>
                  </a:lnTo>
                  <a:lnTo>
                    <a:pt x="454" y="152"/>
                  </a:lnTo>
                  <a:lnTo>
                    <a:pt x="456" y="168"/>
                  </a:lnTo>
                  <a:lnTo>
                    <a:pt x="474" y="168"/>
                  </a:lnTo>
                  <a:lnTo>
                    <a:pt x="496" y="158"/>
                  </a:lnTo>
                  <a:lnTo>
                    <a:pt x="506" y="162"/>
                  </a:lnTo>
                  <a:lnTo>
                    <a:pt x="534" y="160"/>
                  </a:lnTo>
                  <a:lnTo>
                    <a:pt x="542" y="146"/>
                  </a:lnTo>
                  <a:lnTo>
                    <a:pt x="554" y="140"/>
                  </a:lnTo>
                  <a:lnTo>
                    <a:pt x="574" y="152"/>
                  </a:lnTo>
                  <a:lnTo>
                    <a:pt x="598" y="130"/>
                  </a:lnTo>
                  <a:lnTo>
                    <a:pt x="596" y="120"/>
                  </a:lnTo>
                  <a:lnTo>
                    <a:pt x="582" y="116"/>
                  </a:lnTo>
                  <a:lnTo>
                    <a:pt x="586" y="72"/>
                  </a:lnTo>
                  <a:lnTo>
                    <a:pt x="562" y="48"/>
                  </a:lnTo>
                  <a:lnTo>
                    <a:pt x="548" y="44"/>
                  </a:lnTo>
                  <a:lnTo>
                    <a:pt x="554" y="28"/>
                  </a:lnTo>
                  <a:lnTo>
                    <a:pt x="566" y="34"/>
                  </a:lnTo>
                  <a:lnTo>
                    <a:pt x="580" y="26"/>
                  </a:lnTo>
                  <a:lnTo>
                    <a:pt x="582" y="18"/>
                  </a:lnTo>
                  <a:lnTo>
                    <a:pt x="592" y="12"/>
                  </a:lnTo>
                  <a:lnTo>
                    <a:pt x="606" y="14"/>
                  </a:lnTo>
                  <a:lnTo>
                    <a:pt x="622" y="4"/>
                  </a:lnTo>
                  <a:lnTo>
                    <a:pt x="632" y="12"/>
                  </a:lnTo>
                  <a:lnTo>
                    <a:pt x="634" y="40"/>
                  </a:lnTo>
                  <a:lnTo>
                    <a:pt x="640" y="48"/>
                  </a:lnTo>
                  <a:lnTo>
                    <a:pt x="670" y="42"/>
                  </a:lnTo>
                  <a:lnTo>
                    <a:pt x="680" y="46"/>
                  </a:lnTo>
                  <a:lnTo>
                    <a:pt x="692" y="42"/>
                  </a:lnTo>
                  <a:lnTo>
                    <a:pt x="692" y="30"/>
                  </a:lnTo>
                  <a:lnTo>
                    <a:pt x="720" y="4"/>
                  </a:lnTo>
                  <a:lnTo>
                    <a:pt x="740" y="16"/>
                  </a:lnTo>
                  <a:lnTo>
                    <a:pt x="734" y="32"/>
                  </a:lnTo>
                  <a:lnTo>
                    <a:pt x="740" y="40"/>
                  </a:lnTo>
                  <a:lnTo>
                    <a:pt x="732" y="68"/>
                  </a:lnTo>
                  <a:lnTo>
                    <a:pt x="718" y="76"/>
                  </a:lnTo>
                  <a:lnTo>
                    <a:pt x="708" y="116"/>
                  </a:lnTo>
                  <a:lnTo>
                    <a:pt x="734" y="120"/>
                  </a:lnTo>
                  <a:lnTo>
                    <a:pt x="732" y="144"/>
                  </a:lnTo>
                  <a:lnTo>
                    <a:pt x="712" y="140"/>
                  </a:lnTo>
                  <a:lnTo>
                    <a:pt x="716" y="168"/>
                  </a:lnTo>
                  <a:lnTo>
                    <a:pt x="736" y="174"/>
                  </a:lnTo>
                  <a:lnTo>
                    <a:pt x="754" y="190"/>
                  </a:lnTo>
                  <a:lnTo>
                    <a:pt x="746" y="206"/>
                  </a:lnTo>
                  <a:lnTo>
                    <a:pt x="748" y="228"/>
                  </a:lnTo>
                  <a:lnTo>
                    <a:pt x="762" y="224"/>
                  </a:lnTo>
                  <a:lnTo>
                    <a:pt x="776" y="248"/>
                  </a:lnTo>
                  <a:lnTo>
                    <a:pt x="768" y="264"/>
                  </a:lnTo>
                  <a:lnTo>
                    <a:pt x="782" y="270"/>
                  </a:lnTo>
                  <a:lnTo>
                    <a:pt x="784" y="284"/>
                  </a:lnTo>
                  <a:lnTo>
                    <a:pt x="774" y="306"/>
                  </a:lnTo>
                  <a:lnTo>
                    <a:pt x="772" y="344"/>
                  </a:lnTo>
                  <a:lnTo>
                    <a:pt x="758" y="352"/>
                  </a:lnTo>
                  <a:lnTo>
                    <a:pt x="766" y="364"/>
                  </a:lnTo>
                  <a:lnTo>
                    <a:pt x="732" y="408"/>
                  </a:lnTo>
                  <a:lnTo>
                    <a:pt x="714" y="408"/>
                  </a:lnTo>
                  <a:lnTo>
                    <a:pt x="712" y="394"/>
                  </a:lnTo>
                  <a:lnTo>
                    <a:pt x="690" y="386"/>
                  </a:lnTo>
                  <a:lnTo>
                    <a:pt x="672" y="398"/>
                  </a:lnTo>
                  <a:lnTo>
                    <a:pt x="680" y="414"/>
                  </a:lnTo>
                  <a:lnTo>
                    <a:pt x="670" y="432"/>
                  </a:lnTo>
                  <a:lnTo>
                    <a:pt x="622" y="432"/>
                  </a:lnTo>
                  <a:lnTo>
                    <a:pt x="602" y="460"/>
                  </a:lnTo>
                  <a:lnTo>
                    <a:pt x="610" y="474"/>
                  </a:lnTo>
                  <a:lnTo>
                    <a:pt x="630" y="462"/>
                  </a:lnTo>
                  <a:lnTo>
                    <a:pt x="640" y="466"/>
                  </a:lnTo>
                  <a:lnTo>
                    <a:pt x="636" y="494"/>
                  </a:lnTo>
                  <a:lnTo>
                    <a:pt x="628" y="502"/>
                  </a:lnTo>
                  <a:lnTo>
                    <a:pt x="630" y="512"/>
                  </a:lnTo>
                  <a:lnTo>
                    <a:pt x="622" y="518"/>
                  </a:lnTo>
                  <a:lnTo>
                    <a:pt x="586" y="512"/>
                  </a:lnTo>
                  <a:lnTo>
                    <a:pt x="574" y="526"/>
                  </a:lnTo>
                  <a:lnTo>
                    <a:pt x="580" y="538"/>
                  </a:lnTo>
                  <a:lnTo>
                    <a:pt x="570" y="554"/>
                  </a:lnTo>
                  <a:lnTo>
                    <a:pt x="566" y="578"/>
                  </a:lnTo>
                  <a:lnTo>
                    <a:pt x="544" y="596"/>
                  </a:lnTo>
                  <a:lnTo>
                    <a:pt x="528" y="592"/>
                  </a:lnTo>
                  <a:lnTo>
                    <a:pt x="502" y="620"/>
                  </a:lnTo>
                  <a:lnTo>
                    <a:pt x="504" y="640"/>
                  </a:lnTo>
                  <a:lnTo>
                    <a:pt x="496" y="656"/>
                  </a:lnTo>
                  <a:lnTo>
                    <a:pt x="488" y="656"/>
                  </a:lnTo>
                  <a:lnTo>
                    <a:pt x="468" y="632"/>
                  </a:lnTo>
                  <a:lnTo>
                    <a:pt x="468" y="616"/>
                  </a:lnTo>
                  <a:lnTo>
                    <a:pt x="456" y="602"/>
                  </a:lnTo>
                  <a:lnTo>
                    <a:pt x="448" y="602"/>
                  </a:lnTo>
                  <a:lnTo>
                    <a:pt x="440" y="596"/>
                  </a:lnTo>
                  <a:lnTo>
                    <a:pt x="444" y="580"/>
                  </a:lnTo>
                  <a:lnTo>
                    <a:pt x="428" y="562"/>
                  </a:lnTo>
                  <a:lnTo>
                    <a:pt x="416" y="568"/>
                  </a:lnTo>
                  <a:lnTo>
                    <a:pt x="420" y="586"/>
                  </a:lnTo>
                  <a:lnTo>
                    <a:pt x="416" y="598"/>
                  </a:lnTo>
                  <a:lnTo>
                    <a:pt x="396" y="608"/>
                  </a:lnTo>
                  <a:lnTo>
                    <a:pt x="396" y="620"/>
                  </a:lnTo>
                  <a:lnTo>
                    <a:pt x="388" y="634"/>
                  </a:lnTo>
                  <a:lnTo>
                    <a:pt x="358" y="644"/>
                  </a:lnTo>
                  <a:lnTo>
                    <a:pt x="348" y="640"/>
                  </a:lnTo>
                  <a:lnTo>
                    <a:pt x="338" y="644"/>
                  </a:lnTo>
                  <a:lnTo>
                    <a:pt x="330" y="670"/>
                  </a:lnTo>
                  <a:lnTo>
                    <a:pt x="298" y="680"/>
                  </a:lnTo>
                  <a:lnTo>
                    <a:pt x="288" y="680"/>
                  </a:lnTo>
                  <a:lnTo>
                    <a:pt x="228" y="706"/>
                  </a:lnTo>
                  <a:lnTo>
                    <a:pt x="216" y="724"/>
                  </a:lnTo>
                  <a:lnTo>
                    <a:pt x="220" y="734"/>
                  </a:lnTo>
                  <a:lnTo>
                    <a:pt x="200" y="740"/>
                  </a:lnTo>
                  <a:lnTo>
                    <a:pt x="192" y="734"/>
                  </a:lnTo>
                  <a:lnTo>
                    <a:pt x="176" y="746"/>
                  </a:lnTo>
                  <a:lnTo>
                    <a:pt x="188" y="782"/>
                  </a:lnTo>
                  <a:lnTo>
                    <a:pt x="162" y="792"/>
                  </a:lnTo>
                  <a:lnTo>
                    <a:pt x="156" y="782"/>
                  </a:lnTo>
                  <a:lnTo>
                    <a:pt x="128" y="776"/>
                  </a:lnTo>
                  <a:lnTo>
                    <a:pt x="114" y="786"/>
                  </a:lnTo>
                  <a:lnTo>
                    <a:pt x="108" y="764"/>
                  </a:lnTo>
                  <a:lnTo>
                    <a:pt x="98" y="768"/>
                  </a:lnTo>
                  <a:lnTo>
                    <a:pt x="102" y="786"/>
                  </a:lnTo>
                  <a:lnTo>
                    <a:pt x="90" y="792"/>
                  </a:lnTo>
                  <a:lnTo>
                    <a:pt x="78" y="746"/>
                  </a:lnTo>
                  <a:lnTo>
                    <a:pt x="56" y="704"/>
                  </a:lnTo>
                  <a:lnTo>
                    <a:pt x="68" y="682"/>
                  </a:lnTo>
                  <a:lnTo>
                    <a:pt x="38" y="662"/>
                  </a:lnTo>
                  <a:lnTo>
                    <a:pt x="22" y="640"/>
                  </a:lnTo>
                  <a:lnTo>
                    <a:pt x="26" y="616"/>
                  </a:lnTo>
                  <a:lnTo>
                    <a:pt x="42" y="606"/>
                  </a:lnTo>
                  <a:lnTo>
                    <a:pt x="42" y="586"/>
                  </a:lnTo>
                  <a:lnTo>
                    <a:pt x="20" y="564"/>
                  </a:lnTo>
                  <a:lnTo>
                    <a:pt x="0" y="564"/>
                  </a:lnTo>
                  <a:lnTo>
                    <a:pt x="0" y="542"/>
                  </a:lnTo>
                  <a:lnTo>
                    <a:pt x="68" y="514"/>
                  </a:lnTo>
                  <a:lnTo>
                    <a:pt x="80" y="498"/>
                  </a:lnTo>
                  <a:lnTo>
                    <a:pt x="62" y="474"/>
                  </a:lnTo>
                  <a:lnTo>
                    <a:pt x="84" y="442"/>
                  </a:lnTo>
                  <a:lnTo>
                    <a:pt x="98" y="406"/>
                  </a:lnTo>
                  <a:lnTo>
                    <a:pt x="94" y="358"/>
                  </a:lnTo>
                  <a:lnTo>
                    <a:pt x="82" y="348"/>
                  </a:lnTo>
                  <a:lnTo>
                    <a:pt x="56" y="286"/>
                  </a:lnTo>
                  <a:lnTo>
                    <a:pt x="40" y="280"/>
                  </a:lnTo>
                  <a:lnTo>
                    <a:pt x="46" y="266"/>
                  </a:lnTo>
                  <a:lnTo>
                    <a:pt x="70" y="274"/>
                  </a:lnTo>
                  <a:lnTo>
                    <a:pt x="88" y="262"/>
                  </a:lnTo>
                  <a:lnTo>
                    <a:pt x="88" y="246"/>
                  </a:lnTo>
                  <a:lnTo>
                    <a:pt x="98" y="240"/>
                  </a:lnTo>
                  <a:lnTo>
                    <a:pt x="120" y="266"/>
                  </a:lnTo>
                  <a:lnTo>
                    <a:pt x="134" y="264"/>
                  </a:lnTo>
                  <a:lnTo>
                    <a:pt x="140" y="248"/>
                  </a:lnTo>
                  <a:lnTo>
                    <a:pt x="214" y="240"/>
                  </a:lnTo>
                  <a:lnTo>
                    <a:pt x="238" y="208"/>
                  </a:lnTo>
                  <a:lnTo>
                    <a:pt x="226" y="190"/>
                  </a:lnTo>
                  <a:lnTo>
                    <a:pt x="234" y="156"/>
                  </a:lnTo>
                  <a:lnTo>
                    <a:pt x="250" y="154"/>
                  </a:lnTo>
                  <a:lnTo>
                    <a:pt x="252" y="136"/>
                  </a:lnTo>
                  <a:lnTo>
                    <a:pt x="292" y="100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6" name="Freeform 61"/>
            <p:cNvSpPr>
              <a:spLocks/>
            </p:cNvSpPr>
            <p:nvPr/>
          </p:nvSpPr>
          <p:spPr bwMode="auto">
            <a:xfrm>
              <a:off x="4825994" y="3500438"/>
              <a:ext cx="890587" cy="1244600"/>
            </a:xfrm>
            <a:custGeom>
              <a:avLst/>
              <a:gdLst>
                <a:gd name="T0" fmla="*/ 156411 w 558"/>
                <a:gd name="T1" fmla="*/ 443369 h 786"/>
                <a:gd name="T2" fmla="*/ 258558 w 558"/>
                <a:gd name="T3" fmla="*/ 376864 h 786"/>
                <a:gd name="T4" fmla="*/ 271326 w 558"/>
                <a:gd name="T5" fmla="*/ 294524 h 786"/>
                <a:gd name="T6" fmla="*/ 360704 w 558"/>
                <a:gd name="T7" fmla="*/ 272355 h 786"/>
                <a:gd name="T8" fmla="*/ 376664 w 558"/>
                <a:gd name="T9" fmla="*/ 199516 h 786"/>
                <a:gd name="T10" fmla="*/ 316015 w 558"/>
                <a:gd name="T11" fmla="*/ 190015 h 786"/>
                <a:gd name="T12" fmla="*/ 440505 w 558"/>
                <a:gd name="T13" fmla="*/ 117176 h 786"/>
                <a:gd name="T14" fmla="*/ 491578 w 558"/>
                <a:gd name="T15" fmla="*/ 85507 h 786"/>
                <a:gd name="T16" fmla="*/ 577764 w 558"/>
                <a:gd name="T17" fmla="*/ 38003 h 786"/>
                <a:gd name="T18" fmla="*/ 603301 w 558"/>
                <a:gd name="T19" fmla="*/ 12668 h 786"/>
                <a:gd name="T20" fmla="*/ 699063 w 558"/>
                <a:gd name="T21" fmla="*/ 0 h 786"/>
                <a:gd name="T22" fmla="*/ 689487 w 558"/>
                <a:gd name="T23" fmla="*/ 63338 h 786"/>
                <a:gd name="T24" fmla="*/ 689487 w 558"/>
                <a:gd name="T25" fmla="*/ 129844 h 786"/>
                <a:gd name="T26" fmla="*/ 673526 w 558"/>
                <a:gd name="T27" fmla="*/ 183681 h 786"/>
                <a:gd name="T28" fmla="*/ 724599 w 558"/>
                <a:gd name="T29" fmla="*/ 174181 h 786"/>
                <a:gd name="T30" fmla="*/ 727791 w 558"/>
                <a:gd name="T31" fmla="*/ 129844 h 786"/>
                <a:gd name="T32" fmla="*/ 759712 w 558"/>
                <a:gd name="T33" fmla="*/ 123510 h 786"/>
                <a:gd name="T34" fmla="*/ 810785 w 558"/>
                <a:gd name="T35" fmla="*/ 196349 h 786"/>
                <a:gd name="T36" fmla="*/ 868243 w 558"/>
                <a:gd name="T37" fmla="*/ 275522 h 786"/>
                <a:gd name="T38" fmla="*/ 855474 w 558"/>
                <a:gd name="T39" fmla="*/ 345194 h 786"/>
                <a:gd name="T40" fmla="*/ 785249 w 558"/>
                <a:gd name="T41" fmla="*/ 395865 h 786"/>
                <a:gd name="T42" fmla="*/ 833130 w 558"/>
                <a:gd name="T43" fmla="*/ 427534 h 786"/>
                <a:gd name="T44" fmla="*/ 791633 w 558"/>
                <a:gd name="T45" fmla="*/ 538377 h 786"/>
                <a:gd name="T46" fmla="*/ 852282 w 558"/>
                <a:gd name="T47" fmla="*/ 544710 h 786"/>
                <a:gd name="T48" fmla="*/ 826746 w 558"/>
                <a:gd name="T49" fmla="*/ 690389 h 786"/>
                <a:gd name="T50" fmla="*/ 743752 w 558"/>
                <a:gd name="T51" fmla="*/ 693556 h 786"/>
                <a:gd name="T52" fmla="*/ 654374 w 558"/>
                <a:gd name="T53" fmla="*/ 769562 h 786"/>
                <a:gd name="T54" fmla="*/ 612877 w 558"/>
                <a:gd name="T55" fmla="*/ 848735 h 786"/>
                <a:gd name="T56" fmla="*/ 523499 w 558"/>
                <a:gd name="T57" fmla="*/ 848735 h 786"/>
                <a:gd name="T58" fmla="*/ 459658 w 558"/>
                <a:gd name="T59" fmla="*/ 851902 h 786"/>
                <a:gd name="T60" fmla="*/ 443697 w 558"/>
                <a:gd name="T61" fmla="*/ 934242 h 786"/>
                <a:gd name="T62" fmla="*/ 475618 w 558"/>
                <a:gd name="T63" fmla="*/ 1054585 h 786"/>
                <a:gd name="T64" fmla="*/ 475618 w 558"/>
                <a:gd name="T65" fmla="*/ 1143259 h 786"/>
                <a:gd name="T66" fmla="*/ 446890 w 558"/>
                <a:gd name="T67" fmla="*/ 1162260 h 786"/>
                <a:gd name="T68" fmla="*/ 418161 w 558"/>
                <a:gd name="T69" fmla="*/ 1219265 h 786"/>
                <a:gd name="T70" fmla="*/ 367088 w 558"/>
                <a:gd name="T71" fmla="*/ 1231932 h 786"/>
                <a:gd name="T72" fmla="*/ 405393 w 558"/>
                <a:gd name="T73" fmla="*/ 1162260 h 786"/>
                <a:gd name="T74" fmla="*/ 316015 w 558"/>
                <a:gd name="T75" fmla="*/ 1117923 h 786"/>
                <a:gd name="T76" fmla="*/ 303246 w 558"/>
                <a:gd name="T77" fmla="*/ 1168594 h 786"/>
                <a:gd name="T78" fmla="*/ 236213 w 558"/>
                <a:gd name="T79" fmla="*/ 1124257 h 786"/>
                <a:gd name="T80" fmla="*/ 233021 w 558"/>
                <a:gd name="T81" fmla="*/ 1089421 h 786"/>
                <a:gd name="T82" fmla="*/ 245789 w 558"/>
                <a:gd name="T83" fmla="*/ 1079920 h 786"/>
                <a:gd name="T84" fmla="*/ 264942 w 558"/>
                <a:gd name="T85" fmla="*/ 1060919 h 786"/>
                <a:gd name="T86" fmla="*/ 248981 w 558"/>
                <a:gd name="T87" fmla="*/ 1026083 h 786"/>
                <a:gd name="T88" fmla="*/ 233021 w 558"/>
                <a:gd name="T89" fmla="*/ 991246 h 786"/>
                <a:gd name="T90" fmla="*/ 226637 w 558"/>
                <a:gd name="T91" fmla="*/ 946910 h 786"/>
                <a:gd name="T92" fmla="*/ 213869 w 558"/>
                <a:gd name="T93" fmla="*/ 896239 h 786"/>
                <a:gd name="T94" fmla="*/ 194716 w 558"/>
                <a:gd name="T95" fmla="*/ 870903 h 786"/>
                <a:gd name="T96" fmla="*/ 153219 w 558"/>
                <a:gd name="T97" fmla="*/ 867737 h 786"/>
                <a:gd name="T98" fmla="*/ 73418 w 558"/>
                <a:gd name="T99" fmla="*/ 902573 h 786"/>
                <a:gd name="T100" fmla="*/ 44689 w 558"/>
                <a:gd name="T101" fmla="*/ 902573 h 786"/>
                <a:gd name="T102" fmla="*/ 22344 w 558"/>
                <a:gd name="T103" fmla="*/ 883571 h 786"/>
                <a:gd name="T104" fmla="*/ 41497 w 558"/>
                <a:gd name="T105" fmla="*/ 810732 h 786"/>
                <a:gd name="T106" fmla="*/ 60649 w 558"/>
                <a:gd name="T107" fmla="*/ 788563 h 786"/>
                <a:gd name="T108" fmla="*/ 121299 w 558"/>
                <a:gd name="T109" fmla="*/ 750560 h 786"/>
                <a:gd name="T110" fmla="*/ 146835 w 558"/>
                <a:gd name="T111" fmla="*/ 731559 h 786"/>
                <a:gd name="T112" fmla="*/ 98954 w 558"/>
                <a:gd name="T113" fmla="*/ 671387 h 786"/>
                <a:gd name="T114" fmla="*/ 86186 w 558"/>
                <a:gd name="T115" fmla="*/ 611216 h 786"/>
                <a:gd name="T116" fmla="*/ 134067 w 558"/>
                <a:gd name="T117" fmla="*/ 589047 h 786"/>
                <a:gd name="T118" fmla="*/ 143643 w 558"/>
                <a:gd name="T119" fmla="*/ 522542 h 7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58"/>
                <a:gd name="T181" fmla="*/ 0 h 786"/>
                <a:gd name="T182" fmla="*/ 558 w 558"/>
                <a:gd name="T183" fmla="*/ 786 h 78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58" h="786">
                  <a:moveTo>
                    <a:pt x="92" y="316"/>
                  </a:moveTo>
                  <a:lnTo>
                    <a:pt x="100" y="300"/>
                  </a:lnTo>
                  <a:lnTo>
                    <a:pt x="98" y="280"/>
                  </a:lnTo>
                  <a:lnTo>
                    <a:pt x="124" y="252"/>
                  </a:lnTo>
                  <a:lnTo>
                    <a:pt x="140" y="256"/>
                  </a:lnTo>
                  <a:lnTo>
                    <a:pt x="162" y="238"/>
                  </a:lnTo>
                  <a:lnTo>
                    <a:pt x="166" y="214"/>
                  </a:lnTo>
                  <a:lnTo>
                    <a:pt x="176" y="198"/>
                  </a:lnTo>
                  <a:lnTo>
                    <a:pt x="170" y="186"/>
                  </a:lnTo>
                  <a:lnTo>
                    <a:pt x="182" y="172"/>
                  </a:lnTo>
                  <a:lnTo>
                    <a:pt x="218" y="178"/>
                  </a:lnTo>
                  <a:lnTo>
                    <a:pt x="226" y="172"/>
                  </a:lnTo>
                  <a:lnTo>
                    <a:pt x="224" y="162"/>
                  </a:lnTo>
                  <a:lnTo>
                    <a:pt x="232" y="154"/>
                  </a:lnTo>
                  <a:lnTo>
                    <a:pt x="236" y="126"/>
                  </a:lnTo>
                  <a:lnTo>
                    <a:pt x="226" y="122"/>
                  </a:lnTo>
                  <a:lnTo>
                    <a:pt x="206" y="134"/>
                  </a:lnTo>
                  <a:lnTo>
                    <a:pt x="198" y="120"/>
                  </a:lnTo>
                  <a:lnTo>
                    <a:pt x="218" y="92"/>
                  </a:lnTo>
                  <a:lnTo>
                    <a:pt x="266" y="92"/>
                  </a:lnTo>
                  <a:lnTo>
                    <a:pt x="276" y="74"/>
                  </a:lnTo>
                  <a:lnTo>
                    <a:pt x="268" y="58"/>
                  </a:lnTo>
                  <a:lnTo>
                    <a:pt x="286" y="46"/>
                  </a:lnTo>
                  <a:lnTo>
                    <a:pt x="308" y="54"/>
                  </a:lnTo>
                  <a:lnTo>
                    <a:pt x="310" y="68"/>
                  </a:lnTo>
                  <a:lnTo>
                    <a:pt x="328" y="68"/>
                  </a:lnTo>
                  <a:lnTo>
                    <a:pt x="362" y="24"/>
                  </a:lnTo>
                  <a:lnTo>
                    <a:pt x="354" y="12"/>
                  </a:lnTo>
                  <a:lnTo>
                    <a:pt x="366" y="4"/>
                  </a:lnTo>
                  <a:lnTo>
                    <a:pt x="378" y="8"/>
                  </a:lnTo>
                  <a:lnTo>
                    <a:pt x="394" y="6"/>
                  </a:lnTo>
                  <a:lnTo>
                    <a:pt x="408" y="10"/>
                  </a:lnTo>
                  <a:lnTo>
                    <a:pt x="438" y="0"/>
                  </a:lnTo>
                  <a:lnTo>
                    <a:pt x="444" y="26"/>
                  </a:lnTo>
                  <a:lnTo>
                    <a:pt x="438" y="36"/>
                  </a:lnTo>
                  <a:lnTo>
                    <a:pt x="432" y="40"/>
                  </a:lnTo>
                  <a:lnTo>
                    <a:pt x="426" y="56"/>
                  </a:lnTo>
                  <a:lnTo>
                    <a:pt x="436" y="72"/>
                  </a:lnTo>
                  <a:lnTo>
                    <a:pt x="432" y="82"/>
                  </a:lnTo>
                  <a:lnTo>
                    <a:pt x="422" y="82"/>
                  </a:lnTo>
                  <a:lnTo>
                    <a:pt x="406" y="96"/>
                  </a:lnTo>
                  <a:lnTo>
                    <a:pt x="422" y="116"/>
                  </a:lnTo>
                  <a:lnTo>
                    <a:pt x="456" y="124"/>
                  </a:lnTo>
                  <a:lnTo>
                    <a:pt x="460" y="120"/>
                  </a:lnTo>
                  <a:lnTo>
                    <a:pt x="454" y="110"/>
                  </a:lnTo>
                  <a:lnTo>
                    <a:pt x="440" y="106"/>
                  </a:lnTo>
                  <a:lnTo>
                    <a:pt x="432" y="94"/>
                  </a:lnTo>
                  <a:lnTo>
                    <a:pt x="456" y="82"/>
                  </a:lnTo>
                  <a:lnTo>
                    <a:pt x="474" y="92"/>
                  </a:lnTo>
                  <a:lnTo>
                    <a:pt x="478" y="90"/>
                  </a:lnTo>
                  <a:lnTo>
                    <a:pt x="476" y="78"/>
                  </a:lnTo>
                  <a:lnTo>
                    <a:pt x="492" y="74"/>
                  </a:lnTo>
                  <a:lnTo>
                    <a:pt x="510" y="96"/>
                  </a:lnTo>
                  <a:lnTo>
                    <a:pt x="508" y="124"/>
                  </a:lnTo>
                  <a:lnTo>
                    <a:pt x="558" y="162"/>
                  </a:lnTo>
                  <a:lnTo>
                    <a:pt x="558" y="172"/>
                  </a:lnTo>
                  <a:lnTo>
                    <a:pt x="544" y="174"/>
                  </a:lnTo>
                  <a:lnTo>
                    <a:pt x="544" y="184"/>
                  </a:lnTo>
                  <a:lnTo>
                    <a:pt x="524" y="182"/>
                  </a:lnTo>
                  <a:lnTo>
                    <a:pt x="536" y="218"/>
                  </a:lnTo>
                  <a:lnTo>
                    <a:pt x="524" y="218"/>
                  </a:lnTo>
                  <a:lnTo>
                    <a:pt x="500" y="250"/>
                  </a:lnTo>
                  <a:lnTo>
                    <a:pt x="492" y="250"/>
                  </a:lnTo>
                  <a:lnTo>
                    <a:pt x="490" y="262"/>
                  </a:lnTo>
                  <a:lnTo>
                    <a:pt x="506" y="272"/>
                  </a:lnTo>
                  <a:lnTo>
                    <a:pt x="522" y="270"/>
                  </a:lnTo>
                  <a:lnTo>
                    <a:pt x="520" y="288"/>
                  </a:lnTo>
                  <a:lnTo>
                    <a:pt x="498" y="296"/>
                  </a:lnTo>
                  <a:lnTo>
                    <a:pt x="496" y="340"/>
                  </a:lnTo>
                  <a:lnTo>
                    <a:pt x="506" y="340"/>
                  </a:lnTo>
                  <a:lnTo>
                    <a:pt x="524" y="350"/>
                  </a:lnTo>
                  <a:lnTo>
                    <a:pt x="534" y="344"/>
                  </a:lnTo>
                  <a:lnTo>
                    <a:pt x="544" y="368"/>
                  </a:lnTo>
                  <a:lnTo>
                    <a:pt x="540" y="412"/>
                  </a:lnTo>
                  <a:lnTo>
                    <a:pt x="518" y="436"/>
                  </a:lnTo>
                  <a:lnTo>
                    <a:pt x="490" y="442"/>
                  </a:lnTo>
                  <a:lnTo>
                    <a:pt x="480" y="434"/>
                  </a:lnTo>
                  <a:lnTo>
                    <a:pt x="466" y="438"/>
                  </a:lnTo>
                  <a:lnTo>
                    <a:pt x="468" y="460"/>
                  </a:lnTo>
                  <a:lnTo>
                    <a:pt x="424" y="492"/>
                  </a:lnTo>
                  <a:lnTo>
                    <a:pt x="410" y="486"/>
                  </a:lnTo>
                  <a:lnTo>
                    <a:pt x="404" y="492"/>
                  </a:lnTo>
                  <a:lnTo>
                    <a:pt x="404" y="530"/>
                  </a:lnTo>
                  <a:lnTo>
                    <a:pt x="384" y="536"/>
                  </a:lnTo>
                  <a:lnTo>
                    <a:pt x="376" y="522"/>
                  </a:lnTo>
                  <a:lnTo>
                    <a:pt x="338" y="524"/>
                  </a:lnTo>
                  <a:lnTo>
                    <a:pt x="328" y="536"/>
                  </a:lnTo>
                  <a:lnTo>
                    <a:pt x="322" y="536"/>
                  </a:lnTo>
                  <a:lnTo>
                    <a:pt x="312" y="526"/>
                  </a:lnTo>
                  <a:lnTo>
                    <a:pt x="288" y="538"/>
                  </a:lnTo>
                  <a:lnTo>
                    <a:pt x="284" y="554"/>
                  </a:lnTo>
                  <a:lnTo>
                    <a:pt x="296" y="576"/>
                  </a:lnTo>
                  <a:lnTo>
                    <a:pt x="278" y="590"/>
                  </a:lnTo>
                  <a:lnTo>
                    <a:pt x="280" y="626"/>
                  </a:lnTo>
                  <a:lnTo>
                    <a:pt x="298" y="652"/>
                  </a:lnTo>
                  <a:lnTo>
                    <a:pt x="298" y="666"/>
                  </a:lnTo>
                  <a:lnTo>
                    <a:pt x="290" y="676"/>
                  </a:lnTo>
                  <a:lnTo>
                    <a:pt x="288" y="718"/>
                  </a:lnTo>
                  <a:lnTo>
                    <a:pt x="298" y="722"/>
                  </a:lnTo>
                  <a:lnTo>
                    <a:pt x="298" y="744"/>
                  </a:lnTo>
                  <a:lnTo>
                    <a:pt x="284" y="746"/>
                  </a:lnTo>
                  <a:lnTo>
                    <a:pt x="280" y="734"/>
                  </a:lnTo>
                  <a:lnTo>
                    <a:pt x="266" y="738"/>
                  </a:lnTo>
                  <a:lnTo>
                    <a:pt x="270" y="752"/>
                  </a:lnTo>
                  <a:lnTo>
                    <a:pt x="262" y="770"/>
                  </a:lnTo>
                  <a:lnTo>
                    <a:pt x="252" y="770"/>
                  </a:lnTo>
                  <a:lnTo>
                    <a:pt x="240" y="786"/>
                  </a:lnTo>
                  <a:lnTo>
                    <a:pt x="230" y="778"/>
                  </a:lnTo>
                  <a:lnTo>
                    <a:pt x="240" y="750"/>
                  </a:lnTo>
                  <a:lnTo>
                    <a:pt x="250" y="750"/>
                  </a:lnTo>
                  <a:lnTo>
                    <a:pt x="254" y="734"/>
                  </a:lnTo>
                  <a:lnTo>
                    <a:pt x="222" y="724"/>
                  </a:lnTo>
                  <a:lnTo>
                    <a:pt x="212" y="700"/>
                  </a:lnTo>
                  <a:lnTo>
                    <a:pt x="198" y="706"/>
                  </a:lnTo>
                  <a:lnTo>
                    <a:pt x="206" y="722"/>
                  </a:lnTo>
                  <a:lnTo>
                    <a:pt x="204" y="736"/>
                  </a:lnTo>
                  <a:lnTo>
                    <a:pt x="190" y="738"/>
                  </a:lnTo>
                  <a:lnTo>
                    <a:pt x="184" y="718"/>
                  </a:lnTo>
                  <a:lnTo>
                    <a:pt x="148" y="710"/>
                  </a:lnTo>
                  <a:lnTo>
                    <a:pt x="146" y="694"/>
                  </a:lnTo>
                  <a:lnTo>
                    <a:pt x="146" y="688"/>
                  </a:lnTo>
                  <a:lnTo>
                    <a:pt x="148" y="684"/>
                  </a:lnTo>
                  <a:lnTo>
                    <a:pt x="154" y="682"/>
                  </a:lnTo>
                  <a:lnTo>
                    <a:pt x="162" y="678"/>
                  </a:lnTo>
                  <a:lnTo>
                    <a:pt x="166" y="670"/>
                  </a:lnTo>
                  <a:lnTo>
                    <a:pt x="164" y="664"/>
                  </a:lnTo>
                  <a:lnTo>
                    <a:pt x="162" y="656"/>
                  </a:lnTo>
                  <a:lnTo>
                    <a:pt x="156" y="648"/>
                  </a:lnTo>
                  <a:lnTo>
                    <a:pt x="150" y="638"/>
                  </a:lnTo>
                  <a:lnTo>
                    <a:pt x="146" y="626"/>
                  </a:lnTo>
                  <a:lnTo>
                    <a:pt x="144" y="618"/>
                  </a:lnTo>
                  <a:lnTo>
                    <a:pt x="142" y="598"/>
                  </a:lnTo>
                  <a:lnTo>
                    <a:pt x="142" y="586"/>
                  </a:lnTo>
                  <a:lnTo>
                    <a:pt x="138" y="576"/>
                  </a:lnTo>
                  <a:lnTo>
                    <a:pt x="134" y="566"/>
                  </a:lnTo>
                  <a:lnTo>
                    <a:pt x="128" y="558"/>
                  </a:lnTo>
                  <a:lnTo>
                    <a:pt x="122" y="550"/>
                  </a:lnTo>
                  <a:lnTo>
                    <a:pt x="114" y="546"/>
                  </a:lnTo>
                  <a:lnTo>
                    <a:pt x="106" y="546"/>
                  </a:lnTo>
                  <a:lnTo>
                    <a:pt x="96" y="548"/>
                  </a:lnTo>
                  <a:lnTo>
                    <a:pt x="46" y="570"/>
                  </a:lnTo>
                  <a:lnTo>
                    <a:pt x="42" y="572"/>
                  </a:lnTo>
                  <a:lnTo>
                    <a:pt x="36" y="572"/>
                  </a:lnTo>
                  <a:lnTo>
                    <a:pt x="28" y="570"/>
                  </a:lnTo>
                  <a:lnTo>
                    <a:pt x="20" y="564"/>
                  </a:lnTo>
                  <a:lnTo>
                    <a:pt x="14" y="558"/>
                  </a:lnTo>
                  <a:lnTo>
                    <a:pt x="4" y="544"/>
                  </a:lnTo>
                  <a:lnTo>
                    <a:pt x="0" y="538"/>
                  </a:lnTo>
                  <a:lnTo>
                    <a:pt x="26" y="512"/>
                  </a:lnTo>
                  <a:lnTo>
                    <a:pt x="34" y="516"/>
                  </a:lnTo>
                  <a:lnTo>
                    <a:pt x="42" y="508"/>
                  </a:lnTo>
                  <a:lnTo>
                    <a:pt x="38" y="498"/>
                  </a:lnTo>
                  <a:lnTo>
                    <a:pt x="56" y="472"/>
                  </a:lnTo>
                  <a:lnTo>
                    <a:pt x="66" y="482"/>
                  </a:lnTo>
                  <a:lnTo>
                    <a:pt x="76" y="474"/>
                  </a:lnTo>
                  <a:lnTo>
                    <a:pt x="74" y="462"/>
                  </a:lnTo>
                  <a:lnTo>
                    <a:pt x="80" y="458"/>
                  </a:lnTo>
                  <a:lnTo>
                    <a:pt x="92" y="462"/>
                  </a:lnTo>
                  <a:lnTo>
                    <a:pt x="98" y="450"/>
                  </a:lnTo>
                  <a:lnTo>
                    <a:pt x="76" y="424"/>
                  </a:lnTo>
                  <a:lnTo>
                    <a:pt x="62" y="424"/>
                  </a:lnTo>
                  <a:lnTo>
                    <a:pt x="58" y="410"/>
                  </a:lnTo>
                  <a:lnTo>
                    <a:pt x="64" y="394"/>
                  </a:lnTo>
                  <a:lnTo>
                    <a:pt x="54" y="386"/>
                  </a:lnTo>
                  <a:lnTo>
                    <a:pt x="60" y="366"/>
                  </a:lnTo>
                  <a:lnTo>
                    <a:pt x="78" y="358"/>
                  </a:lnTo>
                  <a:lnTo>
                    <a:pt x="84" y="372"/>
                  </a:lnTo>
                  <a:lnTo>
                    <a:pt x="96" y="370"/>
                  </a:lnTo>
                  <a:lnTo>
                    <a:pt x="98" y="344"/>
                  </a:lnTo>
                  <a:lnTo>
                    <a:pt x="90" y="330"/>
                  </a:lnTo>
                  <a:lnTo>
                    <a:pt x="92" y="316"/>
                  </a:lnTo>
                  <a:close/>
                </a:path>
              </a:pathLst>
            </a:custGeom>
            <a:solidFill>
              <a:srgbClr val="E3E8EC"/>
            </a:solidFill>
            <a:ln w="3175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7" name="Freeform 62"/>
            <p:cNvSpPr>
              <a:spLocks/>
            </p:cNvSpPr>
            <p:nvPr/>
          </p:nvSpPr>
          <p:spPr bwMode="auto">
            <a:xfrm>
              <a:off x="4825994" y="3500438"/>
              <a:ext cx="890587" cy="1244600"/>
            </a:xfrm>
            <a:custGeom>
              <a:avLst/>
              <a:gdLst>
                <a:gd name="T0" fmla="*/ 156411 w 558"/>
                <a:gd name="T1" fmla="*/ 443369 h 786"/>
                <a:gd name="T2" fmla="*/ 258558 w 558"/>
                <a:gd name="T3" fmla="*/ 376864 h 786"/>
                <a:gd name="T4" fmla="*/ 271326 w 558"/>
                <a:gd name="T5" fmla="*/ 294524 h 786"/>
                <a:gd name="T6" fmla="*/ 360704 w 558"/>
                <a:gd name="T7" fmla="*/ 272355 h 786"/>
                <a:gd name="T8" fmla="*/ 376664 w 558"/>
                <a:gd name="T9" fmla="*/ 199516 h 786"/>
                <a:gd name="T10" fmla="*/ 316015 w 558"/>
                <a:gd name="T11" fmla="*/ 190015 h 786"/>
                <a:gd name="T12" fmla="*/ 440505 w 558"/>
                <a:gd name="T13" fmla="*/ 117176 h 786"/>
                <a:gd name="T14" fmla="*/ 491578 w 558"/>
                <a:gd name="T15" fmla="*/ 85507 h 786"/>
                <a:gd name="T16" fmla="*/ 577764 w 558"/>
                <a:gd name="T17" fmla="*/ 38003 h 786"/>
                <a:gd name="T18" fmla="*/ 603301 w 558"/>
                <a:gd name="T19" fmla="*/ 12668 h 786"/>
                <a:gd name="T20" fmla="*/ 699063 w 558"/>
                <a:gd name="T21" fmla="*/ 0 h 786"/>
                <a:gd name="T22" fmla="*/ 689487 w 558"/>
                <a:gd name="T23" fmla="*/ 63338 h 786"/>
                <a:gd name="T24" fmla="*/ 689487 w 558"/>
                <a:gd name="T25" fmla="*/ 129844 h 786"/>
                <a:gd name="T26" fmla="*/ 673526 w 558"/>
                <a:gd name="T27" fmla="*/ 183681 h 786"/>
                <a:gd name="T28" fmla="*/ 724599 w 558"/>
                <a:gd name="T29" fmla="*/ 174181 h 786"/>
                <a:gd name="T30" fmla="*/ 727791 w 558"/>
                <a:gd name="T31" fmla="*/ 129844 h 786"/>
                <a:gd name="T32" fmla="*/ 759712 w 558"/>
                <a:gd name="T33" fmla="*/ 123510 h 786"/>
                <a:gd name="T34" fmla="*/ 810785 w 558"/>
                <a:gd name="T35" fmla="*/ 196349 h 786"/>
                <a:gd name="T36" fmla="*/ 868243 w 558"/>
                <a:gd name="T37" fmla="*/ 275522 h 786"/>
                <a:gd name="T38" fmla="*/ 855474 w 558"/>
                <a:gd name="T39" fmla="*/ 345194 h 786"/>
                <a:gd name="T40" fmla="*/ 785249 w 558"/>
                <a:gd name="T41" fmla="*/ 395865 h 786"/>
                <a:gd name="T42" fmla="*/ 833130 w 558"/>
                <a:gd name="T43" fmla="*/ 427534 h 786"/>
                <a:gd name="T44" fmla="*/ 791633 w 558"/>
                <a:gd name="T45" fmla="*/ 538377 h 786"/>
                <a:gd name="T46" fmla="*/ 852282 w 558"/>
                <a:gd name="T47" fmla="*/ 544710 h 786"/>
                <a:gd name="T48" fmla="*/ 826746 w 558"/>
                <a:gd name="T49" fmla="*/ 690389 h 786"/>
                <a:gd name="T50" fmla="*/ 743752 w 558"/>
                <a:gd name="T51" fmla="*/ 693556 h 786"/>
                <a:gd name="T52" fmla="*/ 654374 w 558"/>
                <a:gd name="T53" fmla="*/ 769562 h 786"/>
                <a:gd name="T54" fmla="*/ 612877 w 558"/>
                <a:gd name="T55" fmla="*/ 848735 h 786"/>
                <a:gd name="T56" fmla="*/ 523499 w 558"/>
                <a:gd name="T57" fmla="*/ 848735 h 786"/>
                <a:gd name="T58" fmla="*/ 459658 w 558"/>
                <a:gd name="T59" fmla="*/ 851902 h 786"/>
                <a:gd name="T60" fmla="*/ 443697 w 558"/>
                <a:gd name="T61" fmla="*/ 934242 h 786"/>
                <a:gd name="T62" fmla="*/ 475618 w 558"/>
                <a:gd name="T63" fmla="*/ 1054585 h 786"/>
                <a:gd name="T64" fmla="*/ 475618 w 558"/>
                <a:gd name="T65" fmla="*/ 1143259 h 786"/>
                <a:gd name="T66" fmla="*/ 446890 w 558"/>
                <a:gd name="T67" fmla="*/ 1162260 h 786"/>
                <a:gd name="T68" fmla="*/ 418161 w 558"/>
                <a:gd name="T69" fmla="*/ 1219265 h 786"/>
                <a:gd name="T70" fmla="*/ 367088 w 558"/>
                <a:gd name="T71" fmla="*/ 1231932 h 786"/>
                <a:gd name="T72" fmla="*/ 405393 w 558"/>
                <a:gd name="T73" fmla="*/ 1162260 h 786"/>
                <a:gd name="T74" fmla="*/ 316015 w 558"/>
                <a:gd name="T75" fmla="*/ 1117923 h 786"/>
                <a:gd name="T76" fmla="*/ 303246 w 558"/>
                <a:gd name="T77" fmla="*/ 1168594 h 786"/>
                <a:gd name="T78" fmla="*/ 236213 w 558"/>
                <a:gd name="T79" fmla="*/ 1124257 h 786"/>
                <a:gd name="T80" fmla="*/ 233021 w 558"/>
                <a:gd name="T81" fmla="*/ 1089421 h 786"/>
                <a:gd name="T82" fmla="*/ 245789 w 558"/>
                <a:gd name="T83" fmla="*/ 1079920 h 786"/>
                <a:gd name="T84" fmla="*/ 264942 w 558"/>
                <a:gd name="T85" fmla="*/ 1060919 h 786"/>
                <a:gd name="T86" fmla="*/ 248981 w 558"/>
                <a:gd name="T87" fmla="*/ 1026083 h 786"/>
                <a:gd name="T88" fmla="*/ 233021 w 558"/>
                <a:gd name="T89" fmla="*/ 991246 h 786"/>
                <a:gd name="T90" fmla="*/ 226637 w 558"/>
                <a:gd name="T91" fmla="*/ 946910 h 786"/>
                <a:gd name="T92" fmla="*/ 213869 w 558"/>
                <a:gd name="T93" fmla="*/ 896239 h 786"/>
                <a:gd name="T94" fmla="*/ 194716 w 558"/>
                <a:gd name="T95" fmla="*/ 870903 h 786"/>
                <a:gd name="T96" fmla="*/ 153219 w 558"/>
                <a:gd name="T97" fmla="*/ 867737 h 786"/>
                <a:gd name="T98" fmla="*/ 73418 w 558"/>
                <a:gd name="T99" fmla="*/ 902573 h 786"/>
                <a:gd name="T100" fmla="*/ 44689 w 558"/>
                <a:gd name="T101" fmla="*/ 902573 h 786"/>
                <a:gd name="T102" fmla="*/ 22344 w 558"/>
                <a:gd name="T103" fmla="*/ 883571 h 786"/>
                <a:gd name="T104" fmla="*/ 41497 w 558"/>
                <a:gd name="T105" fmla="*/ 810732 h 786"/>
                <a:gd name="T106" fmla="*/ 60649 w 558"/>
                <a:gd name="T107" fmla="*/ 788563 h 786"/>
                <a:gd name="T108" fmla="*/ 121299 w 558"/>
                <a:gd name="T109" fmla="*/ 750560 h 786"/>
                <a:gd name="T110" fmla="*/ 146835 w 558"/>
                <a:gd name="T111" fmla="*/ 731559 h 786"/>
                <a:gd name="T112" fmla="*/ 98954 w 558"/>
                <a:gd name="T113" fmla="*/ 671387 h 786"/>
                <a:gd name="T114" fmla="*/ 86186 w 558"/>
                <a:gd name="T115" fmla="*/ 611216 h 786"/>
                <a:gd name="T116" fmla="*/ 134067 w 558"/>
                <a:gd name="T117" fmla="*/ 589047 h 786"/>
                <a:gd name="T118" fmla="*/ 143643 w 558"/>
                <a:gd name="T119" fmla="*/ 522542 h 7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58"/>
                <a:gd name="T181" fmla="*/ 0 h 786"/>
                <a:gd name="T182" fmla="*/ 558 w 558"/>
                <a:gd name="T183" fmla="*/ 786 h 78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58" h="786">
                  <a:moveTo>
                    <a:pt x="92" y="316"/>
                  </a:moveTo>
                  <a:lnTo>
                    <a:pt x="100" y="300"/>
                  </a:lnTo>
                  <a:lnTo>
                    <a:pt x="98" y="280"/>
                  </a:lnTo>
                  <a:lnTo>
                    <a:pt x="124" y="252"/>
                  </a:lnTo>
                  <a:lnTo>
                    <a:pt x="140" y="256"/>
                  </a:lnTo>
                  <a:lnTo>
                    <a:pt x="162" y="238"/>
                  </a:lnTo>
                  <a:lnTo>
                    <a:pt x="166" y="214"/>
                  </a:lnTo>
                  <a:lnTo>
                    <a:pt x="176" y="198"/>
                  </a:lnTo>
                  <a:lnTo>
                    <a:pt x="170" y="186"/>
                  </a:lnTo>
                  <a:lnTo>
                    <a:pt x="182" y="172"/>
                  </a:lnTo>
                  <a:lnTo>
                    <a:pt x="218" y="178"/>
                  </a:lnTo>
                  <a:lnTo>
                    <a:pt x="226" y="172"/>
                  </a:lnTo>
                  <a:lnTo>
                    <a:pt x="224" y="162"/>
                  </a:lnTo>
                  <a:lnTo>
                    <a:pt x="232" y="154"/>
                  </a:lnTo>
                  <a:lnTo>
                    <a:pt x="236" y="126"/>
                  </a:lnTo>
                  <a:lnTo>
                    <a:pt x="226" y="122"/>
                  </a:lnTo>
                  <a:lnTo>
                    <a:pt x="206" y="134"/>
                  </a:lnTo>
                  <a:lnTo>
                    <a:pt x="198" y="120"/>
                  </a:lnTo>
                  <a:lnTo>
                    <a:pt x="218" y="92"/>
                  </a:lnTo>
                  <a:lnTo>
                    <a:pt x="266" y="92"/>
                  </a:lnTo>
                  <a:lnTo>
                    <a:pt x="276" y="74"/>
                  </a:lnTo>
                  <a:lnTo>
                    <a:pt x="268" y="58"/>
                  </a:lnTo>
                  <a:lnTo>
                    <a:pt x="286" y="46"/>
                  </a:lnTo>
                  <a:lnTo>
                    <a:pt x="308" y="54"/>
                  </a:lnTo>
                  <a:lnTo>
                    <a:pt x="310" y="68"/>
                  </a:lnTo>
                  <a:lnTo>
                    <a:pt x="328" y="68"/>
                  </a:lnTo>
                  <a:lnTo>
                    <a:pt x="362" y="24"/>
                  </a:lnTo>
                  <a:lnTo>
                    <a:pt x="354" y="12"/>
                  </a:lnTo>
                  <a:lnTo>
                    <a:pt x="366" y="4"/>
                  </a:lnTo>
                  <a:lnTo>
                    <a:pt x="378" y="8"/>
                  </a:lnTo>
                  <a:lnTo>
                    <a:pt x="394" y="6"/>
                  </a:lnTo>
                  <a:lnTo>
                    <a:pt x="408" y="10"/>
                  </a:lnTo>
                  <a:lnTo>
                    <a:pt x="438" y="0"/>
                  </a:lnTo>
                  <a:lnTo>
                    <a:pt x="444" y="26"/>
                  </a:lnTo>
                  <a:lnTo>
                    <a:pt x="438" y="36"/>
                  </a:lnTo>
                  <a:lnTo>
                    <a:pt x="432" y="40"/>
                  </a:lnTo>
                  <a:lnTo>
                    <a:pt x="426" y="56"/>
                  </a:lnTo>
                  <a:lnTo>
                    <a:pt x="436" y="72"/>
                  </a:lnTo>
                  <a:lnTo>
                    <a:pt x="432" y="82"/>
                  </a:lnTo>
                  <a:lnTo>
                    <a:pt x="422" y="82"/>
                  </a:lnTo>
                  <a:lnTo>
                    <a:pt x="406" y="96"/>
                  </a:lnTo>
                  <a:lnTo>
                    <a:pt x="422" y="116"/>
                  </a:lnTo>
                  <a:lnTo>
                    <a:pt x="456" y="124"/>
                  </a:lnTo>
                  <a:lnTo>
                    <a:pt x="460" y="120"/>
                  </a:lnTo>
                  <a:lnTo>
                    <a:pt x="454" y="110"/>
                  </a:lnTo>
                  <a:lnTo>
                    <a:pt x="440" y="106"/>
                  </a:lnTo>
                  <a:lnTo>
                    <a:pt x="432" y="94"/>
                  </a:lnTo>
                  <a:lnTo>
                    <a:pt x="456" y="82"/>
                  </a:lnTo>
                  <a:lnTo>
                    <a:pt x="474" y="92"/>
                  </a:lnTo>
                  <a:lnTo>
                    <a:pt x="478" y="90"/>
                  </a:lnTo>
                  <a:lnTo>
                    <a:pt x="476" y="78"/>
                  </a:lnTo>
                  <a:lnTo>
                    <a:pt x="492" y="74"/>
                  </a:lnTo>
                  <a:lnTo>
                    <a:pt x="510" y="96"/>
                  </a:lnTo>
                  <a:lnTo>
                    <a:pt x="508" y="124"/>
                  </a:lnTo>
                  <a:lnTo>
                    <a:pt x="558" y="162"/>
                  </a:lnTo>
                  <a:lnTo>
                    <a:pt x="558" y="172"/>
                  </a:lnTo>
                  <a:lnTo>
                    <a:pt x="544" y="174"/>
                  </a:lnTo>
                  <a:lnTo>
                    <a:pt x="544" y="184"/>
                  </a:lnTo>
                  <a:lnTo>
                    <a:pt x="524" y="182"/>
                  </a:lnTo>
                  <a:lnTo>
                    <a:pt x="536" y="218"/>
                  </a:lnTo>
                  <a:lnTo>
                    <a:pt x="524" y="218"/>
                  </a:lnTo>
                  <a:lnTo>
                    <a:pt x="500" y="250"/>
                  </a:lnTo>
                  <a:lnTo>
                    <a:pt x="492" y="250"/>
                  </a:lnTo>
                  <a:lnTo>
                    <a:pt x="490" y="262"/>
                  </a:lnTo>
                  <a:lnTo>
                    <a:pt x="506" y="272"/>
                  </a:lnTo>
                  <a:lnTo>
                    <a:pt x="522" y="270"/>
                  </a:lnTo>
                  <a:lnTo>
                    <a:pt x="520" y="288"/>
                  </a:lnTo>
                  <a:lnTo>
                    <a:pt x="498" y="296"/>
                  </a:lnTo>
                  <a:lnTo>
                    <a:pt x="496" y="340"/>
                  </a:lnTo>
                  <a:lnTo>
                    <a:pt x="506" y="340"/>
                  </a:lnTo>
                  <a:lnTo>
                    <a:pt x="524" y="350"/>
                  </a:lnTo>
                  <a:lnTo>
                    <a:pt x="534" y="344"/>
                  </a:lnTo>
                  <a:lnTo>
                    <a:pt x="544" y="368"/>
                  </a:lnTo>
                  <a:lnTo>
                    <a:pt x="540" y="412"/>
                  </a:lnTo>
                  <a:lnTo>
                    <a:pt x="518" y="436"/>
                  </a:lnTo>
                  <a:lnTo>
                    <a:pt x="490" y="442"/>
                  </a:lnTo>
                  <a:lnTo>
                    <a:pt x="480" y="434"/>
                  </a:lnTo>
                  <a:lnTo>
                    <a:pt x="466" y="438"/>
                  </a:lnTo>
                  <a:lnTo>
                    <a:pt x="468" y="460"/>
                  </a:lnTo>
                  <a:lnTo>
                    <a:pt x="424" y="492"/>
                  </a:lnTo>
                  <a:lnTo>
                    <a:pt x="410" y="486"/>
                  </a:lnTo>
                  <a:lnTo>
                    <a:pt x="404" y="492"/>
                  </a:lnTo>
                  <a:lnTo>
                    <a:pt x="404" y="530"/>
                  </a:lnTo>
                  <a:lnTo>
                    <a:pt x="384" y="536"/>
                  </a:lnTo>
                  <a:lnTo>
                    <a:pt x="376" y="522"/>
                  </a:lnTo>
                  <a:lnTo>
                    <a:pt x="338" y="524"/>
                  </a:lnTo>
                  <a:lnTo>
                    <a:pt x="328" y="536"/>
                  </a:lnTo>
                  <a:lnTo>
                    <a:pt x="322" y="536"/>
                  </a:lnTo>
                  <a:lnTo>
                    <a:pt x="312" y="526"/>
                  </a:lnTo>
                  <a:lnTo>
                    <a:pt x="288" y="538"/>
                  </a:lnTo>
                  <a:lnTo>
                    <a:pt x="284" y="554"/>
                  </a:lnTo>
                  <a:lnTo>
                    <a:pt x="296" y="576"/>
                  </a:lnTo>
                  <a:lnTo>
                    <a:pt x="278" y="590"/>
                  </a:lnTo>
                  <a:lnTo>
                    <a:pt x="280" y="626"/>
                  </a:lnTo>
                  <a:lnTo>
                    <a:pt x="298" y="652"/>
                  </a:lnTo>
                  <a:lnTo>
                    <a:pt x="298" y="666"/>
                  </a:lnTo>
                  <a:lnTo>
                    <a:pt x="290" y="676"/>
                  </a:lnTo>
                  <a:lnTo>
                    <a:pt x="288" y="718"/>
                  </a:lnTo>
                  <a:lnTo>
                    <a:pt x="298" y="722"/>
                  </a:lnTo>
                  <a:lnTo>
                    <a:pt x="298" y="744"/>
                  </a:lnTo>
                  <a:lnTo>
                    <a:pt x="284" y="746"/>
                  </a:lnTo>
                  <a:lnTo>
                    <a:pt x="280" y="734"/>
                  </a:lnTo>
                  <a:lnTo>
                    <a:pt x="266" y="738"/>
                  </a:lnTo>
                  <a:lnTo>
                    <a:pt x="270" y="752"/>
                  </a:lnTo>
                  <a:lnTo>
                    <a:pt x="262" y="770"/>
                  </a:lnTo>
                  <a:lnTo>
                    <a:pt x="252" y="770"/>
                  </a:lnTo>
                  <a:lnTo>
                    <a:pt x="240" y="786"/>
                  </a:lnTo>
                  <a:lnTo>
                    <a:pt x="230" y="778"/>
                  </a:lnTo>
                  <a:lnTo>
                    <a:pt x="240" y="750"/>
                  </a:lnTo>
                  <a:lnTo>
                    <a:pt x="250" y="750"/>
                  </a:lnTo>
                  <a:lnTo>
                    <a:pt x="254" y="734"/>
                  </a:lnTo>
                  <a:lnTo>
                    <a:pt x="222" y="724"/>
                  </a:lnTo>
                  <a:lnTo>
                    <a:pt x="212" y="700"/>
                  </a:lnTo>
                  <a:lnTo>
                    <a:pt x="198" y="706"/>
                  </a:lnTo>
                  <a:lnTo>
                    <a:pt x="206" y="722"/>
                  </a:lnTo>
                  <a:lnTo>
                    <a:pt x="204" y="736"/>
                  </a:lnTo>
                  <a:lnTo>
                    <a:pt x="190" y="738"/>
                  </a:lnTo>
                  <a:lnTo>
                    <a:pt x="184" y="718"/>
                  </a:lnTo>
                  <a:lnTo>
                    <a:pt x="148" y="710"/>
                  </a:lnTo>
                  <a:lnTo>
                    <a:pt x="146" y="694"/>
                  </a:lnTo>
                  <a:lnTo>
                    <a:pt x="146" y="688"/>
                  </a:lnTo>
                  <a:lnTo>
                    <a:pt x="148" y="684"/>
                  </a:lnTo>
                  <a:lnTo>
                    <a:pt x="154" y="682"/>
                  </a:lnTo>
                  <a:lnTo>
                    <a:pt x="162" y="678"/>
                  </a:lnTo>
                  <a:lnTo>
                    <a:pt x="166" y="670"/>
                  </a:lnTo>
                  <a:lnTo>
                    <a:pt x="164" y="664"/>
                  </a:lnTo>
                  <a:lnTo>
                    <a:pt x="162" y="656"/>
                  </a:lnTo>
                  <a:lnTo>
                    <a:pt x="156" y="648"/>
                  </a:lnTo>
                  <a:lnTo>
                    <a:pt x="150" y="638"/>
                  </a:lnTo>
                  <a:lnTo>
                    <a:pt x="146" y="626"/>
                  </a:lnTo>
                  <a:lnTo>
                    <a:pt x="144" y="618"/>
                  </a:lnTo>
                  <a:lnTo>
                    <a:pt x="142" y="598"/>
                  </a:lnTo>
                  <a:lnTo>
                    <a:pt x="142" y="586"/>
                  </a:lnTo>
                  <a:lnTo>
                    <a:pt x="138" y="576"/>
                  </a:lnTo>
                  <a:lnTo>
                    <a:pt x="134" y="566"/>
                  </a:lnTo>
                  <a:lnTo>
                    <a:pt x="128" y="558"/>
                  </a:lnTo>
                  <a:lnTo>
                    <a:pt x="122" y="550"/>
                  </a:lnTo>
                  <a:lnTo>
                    <a:pt x="114" y="546"/>
                  </a:lnTo>
                  <a:lnTo>
                    <a:pt x="106" y="546"/>
                  </a:lnTo>
                  <a:lnTo>
                    <a:pt x="96" y="548"/>
                  </a:lnTo>
                  <a:lnTo>
                    <a:pt x="46" y="570"/>
                  </a:lnTo>
                  <a:lnTo>
                    <a:pt x="42" y="572"/>
                  </a:lnTo>
                  <a:lnTo>
                    <a:pt x="36" y="572"/>
                  </a:lnTo>
                  <a:lnTo>
                    <a:pt x="28" y="570"/>
                  </a:lnTo>
                  <a:lnTo>
                    <a:pt x="20" y="564"/>
                  </a:lnTo>
                  <a:lnTo>
                    <a:pt x="14" y="558"/>
                  </a:lnTo>
                  <a:lnTo>
                    <a:pt x="4" y="544"/>
                  </a:lnTo>
                  <a:lnTo>
                    <a:pt x="0" y="538"/>
                  </a:lnTo>
                  <a:lnTo>
                    <a:pt x="26" y="512"/>
                  </a:lnTo>
                  <a:lnTo>
                    <a:pt x="34" y="516"/>
                  </a:lnTo>
                  <a:lnTo>
                    <a:pt x="42" y="508"/>
                  </a:lnTo>
                  <a:lnTo>
                    <a:pt x="38" y="498"/>
                  </a:lnTo>
                  <a:lnTo>
                    <a:pt x="56" y="472"/>
                  </a:lnTo>
                  <a:lnTo>
                    <a:pt x="66" y="482"/>
                  </a:lnTo>
                  <a:lnTo>
                    <a:pt x="76" y="474"/>
                  </a:lnTo>
                  <a:lnTo>
                    <a:pt x="74" y="462"/>
                  </a:lnTo>
                  <a:lnTo>
                    <a:pt x="80" y="458"/>
                  </a:lnTo>
                  <a:lnTo>
                    <a:pt x="92" y="462"/>
                  </a:lnTo>
                  <a:lnTo>
                    <a:pt x="98" y="450"/>
                  </a:lnTo>
                  <a:lnTo>
                    <a:pt x="76" y="424"/>
                  </a:lnTo>
                  <a:lnTo>
                    <a:pt x="62" y="424"/>
                  </a:lnTo>
                  <a:lnTo>
                    <a:pt x="58" y="410"/>
                  </a:lnTo>
                  <a:lnTo>
                    <a:pt x="64" y="394"/>
                  </a:lnTo>
                  <a:lnTo>
                    <a:pt x="54" y="386"/>
                  </a:lnTo>
                  <a:lnTo>
                    <a:pt x="60" y="366"/>
                  </a:lnTo>
                  <a:lnTo>
                    <a:pt x="78" y="358"/>
                  </a:lnTo>
                  <a:lnTo>
                    <a:pt x="84" y="372"/>
                  </a:lnTo>
                  <a:lnTo>
                    <a:pt x="96" y="370"/>
                  </a:lnTo>
                  <a:lnTo>
                    <a:pt x="98" y="344"/>
                  </a:lnTo>
                  <a:lnTo>
                    <a:pt x="90" y="330"/>
                  </a:lnTo>
                  <a:lnTo>
                    <a:pt x="92" y="316"/>
                  </a:lnTo>
                </a:path>
              </a:pathLst>
            </a:custGeom>
            <a:noFill/>
            <a:ln w="4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8" name="Freeform 63"/>
            <p:cNvSpPr>
              <a:spLocks/>
            </p:cNvSpPr>
            <p:nvPr/>
          </p:nvSpPr>
          <p:spPr bwMode="auto">
            <a:xfrm>
              <a:off x="5113331" y="2373313"/>
              <a:ext cx="88900" cy="123825"/>
            </a:xfrm>
            <a:custGeom>
              <a:avLst/>
              <a:gdLst>
                <a:gd name="T0" fmla="*/ 22225 w 56"/>
                <a:gd name="T1" fmla="*/ 0 h 78"/>
                <a:gd name="T2" fmla="*/ 34925 w 56"/>
                <a:gd name="T3" fmla="*/ 12700 h 78"/>
                <a:gd name="T4" fmla="*/ 69850 w 56"/>
                <a:gd name="T5" fmla="*/ 0 h 78"/>
                <a:gd name="T6" fmla="*/ 88900 w 56"/>
                <a:gd name="T7" fmla="*/ 28575 h 78"/>
                <a:gd name="T8" fmla="*/ 69850 w 56"/>
                <a:gd name="T9" fmla="*/ 38100 h 78"/>
                <a:gd name="T10" fmla="*/ 79375 w 56"/>
                <a:gd name="T11" fmla="*/ 60325 h 78"/>
                <a:gd name="T12" fmla="*/ 73025 w 56"/>
                <a:gd name="T13" fmla="*/ 76200 h 78"/>
                <a:gd name="T14" fmla="*/ 85725 w 56"/>
                <a:gd name="T15" fmla="*/ 98425 h 78"/>
                <a:gd name="T16" fmla="*/ 73025 w 56"/>
                <a:gd name="T17" fmla="*/ 117475 h 78"/>
                <a:gd name="T18" fmla="*/ 41275 w 56"/>
                <a:gd name="T19" fmla="*/ 123825 h 78"/>
                <a:gd name="T20" fmla="*/ 19050 w 56"/>
                <a:gd name="T21" fmla="*/ 73025 h 78"/>
                <a:gd name="T22" fmla="*/ 19050 w 56"/>
                <a:gd name="T23" fmla="*/ 73025 h 78"/>
                <a:gd name="T24" fmla="*/ 25400 w 56"/>
                <a:gd name="T25" fmla="*/ 69850 h 78"/>
                <a:gd name="T26" fmla="*/ 28575 w 56"/>
                <a:gd name="T27" fmla="*/ 63500 h 78"/>
                <a:gd name="T28" fmla="*/ 28575 w 56"/>
                <a:gd name="T29" fmla="*/ 53975 h 78"/>
                <a:gd name="T30" fmla="*/ 22225 w 56"/>
                <a:gd name="T31" fmla="*/ 44450 h 78"/>
                <a:gd name="T32" fmla="*/ 22225 w 56"/>
                <a:gd name="T33" fmla="*/ 44450 h 78"/>
                <a:gd name="T34" fmla="*/ 9525 w 56"/>
                <a:gd name="T35" fmla="*/ 28575 h 78"/>
                <a:gd name="T36" fmla="*/ 0 w 56"/>
                <a:gd name="T37" fmla="*/ 9525 h 78"/>
                <a:gd name="T38" fmla="*/ 22225 w 56"/>
                <a:gd name="T39" fmla="*/ 0 h 7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"/>
                <a:gd name="T61" fmla="*/ 0 h 78"/>
                <a:gd name="T62" fmla="*/ 56 w 56"/>
                <a:gd name="T63" fmla="*/ 78 h 7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" h="78">
                  <a:moveTo>
                    <a:pt x="14" y="0"/>
                  </a:moveTo>
                  <a:lnTo>
                    <a:pt x="22" y="8"/>
                  </a:lnTo>
                  <a:lnTo>
                    <a:pt x="44" y="0"/>
                  </a:lnTo>
                  <a:lnTo>
                    <a:pt x="56" y="18"/>
                  </a:lnTo>
                  <a:lnTo>
                    <a:pt x="44" y="24"/>
                  </a:lnTo>
                  <a:lnTo>
                    <a:pt x="50" y="38"/>
                  </a:lnTo>
                  <a:lnTo>
                    <a:pt x="46" y="48"/>
                  </a:lnTo>
                  <a:lnTo>
                    <a:pt x="54" y="62"/>
                  </a:lnTo>
                  <a:lnTo>
                    <a:pt x="46" y="74"/>
                  </a:lnTo>
                  <a:lnTo>
                    <a:pt x="26" y="78"/>
                  </a:lnTo>
                  <a:lnTo>
                    <a:pt x="12" y="46"/>
                  </a:lnTo>
                  <a:lnTo>
                    <a:pt x="16" y="44"/>
                  </a:lnTo>
                  <a:lnTo>
                    <a:pt x="18" y="40"/>
                  </a:lnTo>
                  <a:lnTo>
                    <a:pt x="18" y="34"/>
                  </a:lnTo>
                  <a:lnTo>
                    <a:pt x="14" y="2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C2CDE0"/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19" name="Freeform 64"/>
            <p:cNvSpPr>
              <a:spLocks/>
            </p:cNvSpPr>
            <p:nvPr/>
          </p:nvSpPr>
          <p:spPr bwMode="auto">
            <a:xfrm>
              <a:off x="5113331" y="2373313"/>
              <a:ext cx="88900" cy="123825"/>
            </a:xfrm>
            <a:custGeom>
              <a:avLst/>
              <a:gdLst>
                <a:gd name="T0" fmla="*/ 22225 w 56"/>
                <a:gd name="T1" fmla="*/ 0 h 78"/>
                <a:gd name="T2" fmla="*/ 34925 w 56"/>
                <a:gd name="T3" fmla="*/ 12700 h 78"/>
                <a:gd name="T4" fmla="*/ 69850 w 56"/>
                <a:gd name="T5" fmla="*/ 0 h 78"/>
                <a:gd name="T6" fmla="*/ 88900 w 56"/>
                <a:gd name="T7" fmla="*/ 28575 h 78"/>
                <a:gd name="T8" fmla="*/ 69850 w 56"/>
                <a:gd name="T9" fmla="*/ 38100 h 78"/>
                <a:gd name="T10" fmla="*/ 79375 w 56"/>
                <a:gd name="T11" fmla="*/ 60325 h 78"/>
                <a:gd name="T12" fmla="*/ 73025 w 56"/>
                <a:gd name="T13" fmla="*/ 76200 h 78"/>
                <a:gd name="T14" fmla="*/ 85725 w 56"/>
                <a:gd name="T15" fmla="*/ 98425 h 78"/>
                <a:gd name="T16" fmla="*/ 73025 w 56"/>
                <a:gd name="T17" fmla="*/ 117475 h 78"/>
                <a:gd name="T18" fmla="*/ 41275 w 56"/>
                <a:gd name="T19" fmla="*/ 123825 h 78"/>
                <a:gd name="T20" fmla="*/ 19050 w 56"/>
                <a:gd name="T21" fmla="*/ 73025 h 78"/>
                <a:gd name="T22" fmla="*/ 19050 w 56"/>
                <a:gd name="T23" fmla="*/ 73025 h 78"/>
                <a:gd name="T24" fmla="*/ 25400 w 56"/>
                <a:gd name="T25" fmla="*/ 69850 h 78"/>
                <a:gd name="T26" fmla="*/ 28575 w 56"/>
                <a:gd name="T27" fmla="*/ 63500 h 78"/>
                <a:gd name="T28" fmla="*/ 28575 w 56"/>
                <a:gd name="T29" fmla="*/ 53975 h 78"/>
                <a:gd name="T30" fmla="*/ 22225 w 56"/>
                <a:gd name="T31" fmla="*/ 44450 h 78"/>
                <a:gd name="T32" fmla="*/ 22225 w 56"/>
                <a:gd name="T33" fmla="*/ 44450 h 78"/>
                <a:gd name="T34" fmla="*/ 9525 w 56"/>
                <a:gd name="T35" fmla="*/ 28575 h 78"/>
                <a:gd name="T36" fmla="*/ 0 w 56"/>
                <a:gd name="T37" fmla="*/ 9525 h 78"/>
                <a:gd name="T38" fmla="*/ 22225 w 56"/>
                <a:gd name="T39" fmla="*/ 0 h 7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"/>
                <a:gd name="T61" fmla="*/ 0 h 78"/>
                <a:gd name="T62" fmla="*/ 56 w 56"/>
                <a:gd name="T63" fmla="*/ 78 h 7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" h="78">
                  <a:moveTo>
                    <a:pt x="14" y="0"/>
                  </a:moveTo>
                  <a:lnTo>
                    <a:pt x="22" y="8"/>
                  </a:lnTo>
                  <a:lnTo>
                    <a:pt x="44" y="0"/>
                  </a:lnTo>
                  <a:lnTo>
                    <a:pt x="56" y="18"/>
                  </a:lnTo>
                  <a:lnTo>
                    <a:pt x="44" y="24"/>
                  </a:lnTo>
                  <a:lnTo>
                    <a:pt x="50" y="38"/>
                  </a:lnTo>
                  <a:lnTo>
                    <a:pt x="46" y="48"/>
                  </a:lnTo>
                  <a:lnTo>
                    <a:pt x="54" y="62"/>
                  </a:lnTo>
                  <a:lnTo>
                    <a:pt x="46" y="74"/>
                  </a:lnTo>
                  <a:lnTo>
                    <a:pt x="26" y="78"/>
                  </a:lnTo>
                  <a:lnTo>
                    <a:pt x="12" y="46"/>
                  </a:lnTo>
                  <a:lnTo>
                    <a:pt x="16" y="44"/>
                  </a:lnTo>
                  <a:lnTo>
                    <a:pt x="18" y="40"/>
                  </a:lnTo>
                  <a:lnTo>
                    <a:pt x="18" y="34"/>
                  </a:lnTo>
                  <a:lnTo>
                    <a:pt x="14" y="28"/>
                  </a:lnTo>
                  <a:lnTo>
                    <a:pt x="6" y="18"/>
                  </a:ln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E3E8EC"/>
            </a:solidFill>
            <a:ln w="4">
              <a:solidFill>
                <a:srgbClr val="1D2262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Tahoma" panose="020B0604030504040204" pitchFamily="34" charset="0"/>
              </a:endParaRPr>
            </a:p>
          </p:txBody>
        </p:sp>
        <p:sp>
          <p:nvSpPr>
            <p:cNvPr id="120" name="Rectangle 65"/>
            <p:cNvSpPr>
              <a:spLocks noChangeArrowheads="1"/>
            </p:cNvSpPr>
            <p:nvPr/>
          </p:nvSpPr>
          <p:spPr bwMode="auto">
            <a:xfrm>
              <a:off x="5378444" y="2041525"/>
              <a:ext cx="363048" cy="472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Schleswig-</a:t>
              </a:r>
            </a:p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Holstei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 eaLnBrk="1" hangingPunct="1"/>
              <a:endParaRPr lang="de-DE" altLang="de-DE" sz="8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 eaLnBrk="1" hangingPunct="1"/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1" name="Rectangle 71"/>
            <p:cNvSpPr>
              <a:spLocks noChangeArrowheads="1"/>
            </p:cNvSpPr>
            <p:nvPr/>
          </p:nvSpPr>
          <p:spPr bwMode="auto">
            <a:xfrm>
              <a:off x="6218231" y="2189163"/>
              <a:ext cx="455568" cy="472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Mecklenburg-</a:t>
              </a:r>
            </a:p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Vorpommer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 eaLnBrk="1" hangingPunct="1"/>
              <a:endParaRPr lang="de-DE" altLang="de-DE" sz="8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algn="ctr" eaLnBrk="1" hangingPunct="1"/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2" name="Rectangle 76"/>
            <p:cNvSpPr>
              <a:spLocks noChangeArrowheads="1"/>
            </p:cNvSpPr>
            <p:nvPr/>
          </p:nvSpPr>
          <p:spPr bwMode="auto">
            <a:xfrm>
              <a:off x="6538906" y="3121025"/>
              <a:ext cx="436830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randenburg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3" name="Rectangle 77"/>
            <p:cNvSpPr>
              <a:spLocks noChangeArrowheads="1"/>
            </p:cNvSpPr>
            <p:nvPr/>
          </p:nvSpPr>
          <p:spPr bwMode="auto">
            <a:xfrm>
              <a:off x="6670669" y="3762375"/>
              <a:ext cx="293952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Sachs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4" name="Rectangle 80"/>
            <p:cNvSpPr>
              <a:spLocks noChangeArrowheads="1"/>
            </p:cNvSpPr>
            <p:nvPr/>
          </p:nvSpPr>
          <p:spPr bwMode="auto">
            <a:xfrm>
              <a:off x="5908669" y="3357563"/>
              <a:ext cx="532862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Sachsen-Anhalt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5" name="Rectangle 88"/>
            <p:cNvSpPr>
              <a:spLocks noChangeArrowheads="1"/>
            </p:cNvSpPr>
            <p:nvPr/>
          </p:nvSpPr>
          <p:spPr bwMode="auto">
            <a:xfrm>
              <a:off x="5737219" y="3906838"/>
              <a:ext cx="339626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hüring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6" name="Rectangle 89"/>
            <p:cNvSpPr>
              <a:spLocks noChangeArrowheads="1"/>
            </p:cNvSpPr>
            <p:nvPr/>
          </p:nvSpPr>
          <p:spPr bwMode="auto">
            <a:xfrm>
              <a:off x="5167306" y="3978275"/>
              <a:ext cx="255305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Hess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7" name="Rectangle 90"/>
            <p:cNvSpPr>
              <a:spLocks noChangeArrowheads="1"/>
            </p:cNvSpPr>
            <p:nvPr/>
          </p:nvSpPr>
          <p:spPr bwMode="auto">
            <a:xfrm>
              <a:off x="5049831" y="2784475"/>
              <a:ext cx="502413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Niedersachs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8" name="Rectangle 95"/>
            <p:cNvSpPr>
              <a:spLocks noChangeArrowheads="1"/>
            </p:cNvSpPr>
            <p:nvPr/>
          </p:nvSpPr>
          <p:spPr bwMode="auto">
            <a:xfrm>
              <a:off x="5227631" y="2595563"/>
              <a:ext cx="263503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rem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9" name="Rectangle 96"/>
            <p:cNvSpPr>
              <a:spLocks noChangeArrowheads="1"/>
            </p:cNvSpPr>
            <p:nvPr/>
          </p:nvSpPr>
          <p:spPr bwMode="auto">
            <a:xfrm>
              <a:off x="6845294" y="2968625"/>
              <a:ext cx="192064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erli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0" name="Rectangle 98"/>
            <p:cNvSpPr>
              <a:spLocks noChangeArrowheads="1"/>
            </p:cNvSpPr>
            <p:nvPr/>
          </p:nvSpPr>
          <p:spPr bwMode="auto">
            <a:xfrm>
              <a:off x="4514844" y="3405188"/>
              <a:ext cx="354851" cy="179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Nordrhein-</a:t>
              </a:r>
            </a:p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Westfale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1" name="Rectangle 104"/>
            <p:cNvSpPr>
              <a:spLocks noChangeArrowheads="1"/>
            </p:cNvSpPr>
            <p:nvPr/>
          </p:nvSpPr>
          <p:spPr bwMode="auto">
            <a:xfrm>
              <a:off x="4395440" y="4237038"/>
              <a:ext cx="364219" cy="179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Rheinland-</a:t>
              </a:r>
            </a:p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Pfalz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2" name="Rectangle 112"/>
            <p:cNvSpPr>
              <a:spLocks noChangeArrowheads="1"/>
            </p:cNvSpPr>
            <p:nvPr/>
          </p:nvSpPr>
          <p:spPr bwMode="auto">
            <a:xfrm>
              <a:off x="4441819" y="4686300"/>
              <a:ext cx="302150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Saarland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3" name="Rectangle 117"/>
            <p:cNvSpPr>
              <a:spLocks noChangeArrowheads="1"/>
            </p:cNvSpPr>
            <p:nvPr/>
          </p:nvSpPr>
          <p:spPr bwMode="auto">
            <a:xfrm>
              <a:off x="5008799" y="5278438"/>
              <a:ext cx="434488" cy="179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aden-</a:t>
              </a:r>
            </a:p>
            <a:p>
              <a:pPr algn="ctr"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Württemberg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Rectangle 123"/>
            <p:cNvSpPr>
              <a:spLocks noChangeArrowheads="1"/>
            </p:cNvSpPr>
            <p:nvPr/>
          </p:nvSpPr>
          <p:spPr bwMode="auto">
            <a:xfrm>
              <a:off x="6135681" y="5027613"/>
              <a:ext cx="238910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ayern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5" name="Rectangle 95"/>
            <p:cNvSpPr>
              <a:spLocks noChangeArrowheads="1"/>
            </p:cNvSpPr>
            <p:nvPr/>
          </p:nvSpPr>
          <p:spPr bwMode="auto">
            <a:xfrm>
              <a:off x="5621331" y="2374900"/>
              <a:ext cx="309177" cy="89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Hamburg</a:t>
              </a:r>
              <a:endParaRPr lang="de-DE" altLang="de-DE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37" name="Träne 136"/>
          <p:cNvSpPr/>
          <p:nvPr/>
        </p:nvSpPr>
        <p:spPr>
          <a:xfrm rot="13412457">
            <a:off x="9270615" y="2127584"/>
            <a:ext cx="1307435" cy="1307431"/>
          </a:xfrm>
          <a:prstGeom prst="teardrop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8" name="Textfeld 137"/>
          <p:cNvSpPr txBox="1"/>
          <p:nvPr/>
        </p:nvSpPr>
        <p:spPr>
          <a:xfrm>
            <a:off x="9328656" y="2441921"/>
            <a:ext cx="11913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ie Länder können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zeln gelöscht,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erschoben oder </a:t>
            </a:r>
          </a:p>
          <a:p>
            <a:pPr algn="ctr" eaLnBrk="0" hangingPunct="0">
              <a:buSzPct val="80000"/>
            </a:pPr>
            <a:r>
              <a:rPr lang="de-DE" altLang="de-DE" sz="9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ingefärbt werden.</a:t>
            </a:r>
          </a:p>
        </p:txBody>
      </p:sp>
      <p:sp>
        <p:nvSpPr>
          <p:cNvPr id="13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993613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6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Good</a:t>
            </a:r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Practices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ung 10"/>
          <p:cNvGrpSpPr/>
          <p:nvPr/>
        </p:nvGrpSpPr>
        <p:grpSpPr>
          <a:xfrm>
            <a:off x="479376" y="1526505"/>
            <a:ext cx="10441160" cy="4350767"/>
            <a:chOff x="623888" y="1526505"/>
            <a:chExt cx="10441160" cy="4350767"/>
          </a:xfrm>
        </p:grpSpPr>
        <p:grpSp>
          <p:nvGrpSpPr>
            <p:cNvPr id="2" name="Gruppierung 1"/>
            <p:cNvGrpSpPr/>
            <p:nvPr/>
          </p:nvGrpSpPr>
          <p:grpSpPr>
            <a:xfrm>
              <a:off x="2991593" y="2019671"/>
              <a:ext cx="8073455" cy="2600843"/>
              <a:chOff x="2959746" y="2019671"/>
              <a:chExt cx="7253370" cy="2600843"/>
            </a:xfrm>
          </p:grpSpPr>
          <p:sp>
            <p:nvSpPr>
              <p:cNvPr id="21" name="Rechteck 7"/>
              <p:cNvSpPr>
                <a:spLocks noChangeArrowheads="1"/>
              </p:cNvSpPr>
              <p:nvPr/>
            </p:nvSpPr>
            <p:spPr bwMode="auto">
              <a:xfrm>
                <a:off x="2959746" y="2019671"/>
                <a:ext cx="7253370" cy="1327697"/>
              </a:xfrm>
              <a:prstGeom prst="rect">
                <a:avLst/>
              </a:prstGeom>
              <a:solidFill>
                <a:srgbClr val="E3E8EC"/>
              </a:solidFill>
              <a:ln w="762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0000" tIns="90000" rIns="90000" bIns="9000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Wingdings 3" panose="05040102010807070707" pitchFamily="18" charset="2"/>
                  <a:buNone/>
                  <a:tabLst/>
                  <a:defRPr/>
                </a:pPr>
                <a:endParaRPr lang="de-DE" altLang="de-DE" sz="1200" dirty="0">
                  <a:solidFill>
                    <a:srgbClr val="000000"/>
                  </a:solidFill>
                  <a:latin typeface="Georgia" panose="02040502050405020303" pitchFamily="18" charset="0"/>
                </a:endParaRPr>
              </a:p>
            </p:txBody>
          </p:sp>
          <p:sp>
            <p:nvSpPr>
              <p:cNvPr id="22" name="Rechteck 8"/>
              <p:cNvSpPr>
                <a:spLocks noChangeArrowheads="1"/>
              </p:cNvSpPr>
              <p:nvPr/>
            </p:nvSpPr>
            <p:spPr bwMode="auto">
              <a:xfrm>
                <a:off x="2959746" y="3318764"/>
                <a:ext cx="7253370" cy="1301750"/>
              </a:xfrm>
              <a:prstGeom prst="rect">
                <a:avLst/>
              </a:prstGeom>
              <a:solidFill>
                <a:srgbClr val="E3E8EC"/>
              </a:solidFill>
              <a:ln w="762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90000" tIns="90000" rIns="90000" bIns="9000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buSzPct val="80000"/>
                  <a:buFont typeface="Wingdings 3" panose="05040102010807070707" pitchFamily="18" charset="2"/>
                  <a:buChar char="}"/>
                </a:pPr>
                <a:endParaRPr lang="de-DE" altLang="de-DE" sz="1200" dirty="0">
                  <a:solidFill>
                    <a:srgbClr val="000000"/>
                  </a:solidFill>
                  <a:latin typeface="Georgia" panose="02040502050405020303" pitchFamily="18" charset="0"/>
                </a:endParaRPr>
              </a:p>
            </p:txBody>
          </p:sp>
        </p:grpSp>
        <p:sp>
          <p:nvSpPr>
            <p:cNvPr id="8" name="Rechteck 7"/>
            <p:cNvSpPr/>
            <p:nvPr/>
          </p:nvSpPr>
          <p:spPr>
            <a:xfrm>
              <a:off x="3183304" y="2183400"/>
              <a:ext cx="492891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3183304" y="3498065"/>
              <a:ext cx="492891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36" name="Rechteck 35"/>
            <p:cNvSpPr/>
            <p:nvPr/>
          </p:nvSpPr>
          <p:spPr>
            <a:xfrm>
              <a:off x="3183304" y="4854922"/>
              <a:ext cx="492891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6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0" name="Abgerundetes Rechteck 39"/>
            <p:cNvSpPr/>
            <p:nvPr/>
          </p:nvSpPr>
          <p:spPr>
            <a:xfrm>
              <a:off x="2999656" y="1526505"/>
              <a:ext cx="8065392" cy="435958"/>
            </a:xfrm>
            <a:prstGeom prst="round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sz="1400" b="1" dirty="0">
                  <a:latin typeface="Arial" charset="0"/>
                  <a:ea typeface="Arial" charset="0"/>
                  <a:cs typeface="Arial" charset="0"/>
                </a:rPr>
                <a:t>Beschreibung des GP</a:t>
              </a:r>
            </a:p>
          </p:txBody>
        </p:sp>
        <p:sp>
          <p:nvSpPr>
            <p:cNvPr id="42" name="Rechteck 41"/>
            <p:cNvSpPr/>
            <p:nvPr/>
          </p:nvSpPr>
          <p:spPr>
            <a:xfrm>
              <a:off x="623888" y="2060574"/>
              <a:ext cx="2303462" cy="1225097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>
                <a:buSzPct val="80000"/>
              </a:pPr>
              <a:r>
                <a:rPr lang="de-DE" altLang="de-DE" sz="1400" b="1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Good</a:t>
              </a:r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Practice 1</a:t>
              </a:r>
            </a:p>
          </p:txBody>
        </p:sp>
        <p:sp>
          <p:nvSpPr>
            <p:cNvPr id="44" name="Rechteck 43"/>
            <p:cNvSpPr/>
            <p:nvPr/>
          </p:nvSpPr>
          <p:spPr>
            <a:xfrm>
              <a:off x="623888" y="3362325"/>
              <a:ext cx="2303462" cy="1225097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>
                <a:buSzPct val="80000"/>
              </a:pPr>
              <a:r>
                <a:rPr lang="de-DE" altLang="de-DE" sz="1400" b="1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Good</a:t>
              </a:r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Practice 2</a:t>
              </a:r>
            </a:p>
          </p:txBody>
        </p:sp>
        <p:sp>
          <p:nvSpPr>
            <p:cNvPr id="45" name="Rechteck 44"/>
            <p:cNvSpPr/>
            <p:nvPr/>
          </p:nvSpPr>
          <p:spPr>
            <a:xfrm>
              <a:off x="623888" y="4664076"/>
              <a:ext cx="2303462" cy="1213196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>
                <a:buSzPct val="80000"/>
              </a:pPr>
              <a:r>
                <a:rPr lang="de-DE" altLang="de-DE" sz="1400" b="1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Good</a:t>
              </a:r>
              <a:r>
                <a:rPr lang="de-DE" altLang="de-DE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Practice 3</a:t>
              </a:r>
            </a:p>
          </p:txBody>
        </p:sp>
      </p:grpSp>
      <p:sp>
        <p:nvSpPr>
          <p:cNvPr id="3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3" name="Rechteck 8"/>
          <p:cNvSpPr>
            <a:spLocks noChangeArrowheads="1"/>
          </p:cNvSpPr>
          <p:nvPr/>
        </p:nvSpPr>
        <p:spPr bwMode="auto">
          <a:xfrm>
            <a:off x="2847082" y="4627564"/>
            <a:ext cx="8081518" cy="1290192"/>
          </a:xfrm>
          <a:prstGeom prst="rect">
            <a:avLst/>
          </a:prstGeom>
          <a:solidFill>
            <a:srgbClr val="E3E8EC"/>
          </a:solidFill>
          <a:ln w="76200" algn="ctr">
            <a:solidFill>
              <a:schemeClr val="bg1"/>
            </a:solidFill>
            <a:round/>
            <a:headEnd/>
            <a:tailEnd/>
          </a:ln>
        </p:spPr>
        <p:txBody>
          <a:bodyPr lIns="90000" tIns="90000" rIns="90000" bIns="9000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80000"/>
              <a:buFont typeface="Wingdings 3" panose="05040102010807070707" pitchFamily="18" charset="2"/>
              <a:buChar char="}"/>
            </a:pPr>
            <a:endParaRPr lang="de-DE" altLang="de-DE" sz="1200" dirty="0">
              <a:solidFill>
                <a:srgbClr val="000000"/>
              </a:solidFill>
              <a:latin typeface="Georgia" panose="02040502050405020303" pitchFamily="18" charset="0"/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3038791" y="4784095"/>
            <a:ext cx="49289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52011886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Lessons</a:t>
            </a:r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900" b="1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Learned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Abgerundetes Rechteck 39"/>
          <p:cNvSpPr/>
          <p:nvPr/>
        </p:nvSpPr>
        <p:spPr>
          <a:xfrm>
            <a:off x="2855144" y="1526505"/>
            <a:ext cx="5183348" cy="435958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>
                <a:latin typeface="Arial" charset="0"/>
                <a:ea typeface="Arial" charset="0"/>
                <a:cs typeface="Arial" charset="0"/>
              </a:rPr>
              <a:t>Beschreibung des Punktes</a:t>
            </a:r>
          </a:p>
        </p:txBody>
      </p:sp>
      <p:sp>
        <p:nvSpPr>
          <p:cNvPr id="41" name="Abgerundetes Rechteck 40"/>
          <p:cNvSpPr/>
          <p:nvPr/>
        </p:nvSpPr>
        <p:spPr>
          <a:xfrm>
            <a:off x="8135488" y="1526505"/>
            <a:ext cx="2424562" cy="435958"/>
          </a:xfrm>
          <a:prstGeom prst="roundRect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>
                <a:latin typeface="Arial" charset="0"/>
                <a:ea typeface="Arial" charset="0"/>
                <a:cs typeface="Arial" charset="0"/>
              </a:rPr>
              <a:t>Bewertung</a:t>
            </a:r>
          </a:p>
        </p:txBody>
      </p:sp>
      <p:sp>
        <p:nvSpPr>
          <p:cNvPr id="42" name="Rechteck 41"/>
          <p:cNvSpPr/>
          <p:nvPr/>
        </p:nvSpPr>
        <p:spPr>
          <a:xfrm>
            <a:off x="479376" y="2060574"/>
            <a:ext cx="2303462" cy="1800000"/>
          </a:xfrm>
          <a:prstGeom prst="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buSzPct val="80000"/>
            </a:pPr>
            <a:r>
              <a:rPr lang="de-DE" altLang="de-DE" sz="115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rPr>
              <a:t>+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2847081" y="2060848"/>
            <a:ext cx="5191411" cy="1814306"/>
            <a:chOff x="2847081" y="2060848"/>
            <a:chExt cx="5191411" cy="1814306"/>
          </a:xfrm>
        </p:grpSpPr>
        <p:sp>
          <p:nvSpPr>
            <p:cNvPr id="34" name="Rechteck 32"/>
            <p:cNvSpPr>
              <a:spLocks noChangeArrowheads="1"/>
            </p:cNvSpPr>
            <p:nvPr/>
          </p:nvSpPr>
          <p:spPr bwMode="auto">
            <a:xfrm>
              <a:off x="2847081" y="2060848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3" name="Rechteck 33"/>
            <p:cNvSpPr>
              <a:spLocks noChangeArrowheads="1"/>
            </p:cNvSpPr>
            <p:nvPr/>
          </p:nvSpPr>
          <p:spPr bwMode="auto">
            <a:xfrm>
              <a:off x="2847081" y="2415496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6" name="Rechteck 34"/>
            <p:cNvSpPr>
              <a:spLocks noChangeArrowheads="1"/>
            </p:cNvSpPr>
            <p:nvPr/>
          </p:nvSpPr>
          <p:spPr bwMode="auto">
            <a:xfrm>
              <a:off x="2847081" y="2770143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7" name="Rechteck 35"/>
            <p:cNvSpPr>
              <a:spLocks noChangeArrowheads="1"/>
            </p:cNvSpPr>
            <p:nvPr/>
          </p:nvSpPr>
          <p:spPr bwMode="auto">
            <a:xfrm>
              <a:off x="2847081" y="3124791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48" name="Rechteck 36"/>
            <p:cNvSpPr>
              <a:spLocks noChangeArrowheads="1"/>
            </p:cNvSpPr>
            <p:nvPr/>
          </p:nvSpPr>
          <p:spPr bwMode="auto">
            <a:xfrm>
              <a:off x="2847081" y="3479438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grpSp>
        <p:nvGrpSpPr>
          <p:cNvPr id="4" name="Gruppierung 3"/>
          <p:cNvGrpSpPr/>
          <p:nvPr/>
        </p:nvGrpSpPr>
        <p:grpSpPr>
          <a:xfrm>
            <a:off x="2847081" y="4093200"/>
            <a:ext cx="5191411" cy="1814306"/>
            <a:chOff x="2847081" y="4134974"/>
            <a:chExt cx="5191411" cy="1814306"/>
          </a:xfrm>
        </p:grpSpPr>
        <p:sp>
          <p:nvSpPr>
            <p:cNvPr id="49" name="Rechteck 32"/>
            <p:cNvSpPr>
              <a:spLocks noChangeArrowheads="1"/>
            </p:cNvSpPr>
            <p:nvPr/>
          </p:nvSpPr>
          <p:spPr bwMode="auto">
            <a:xfrm>
              <a:off x="2847081" y="4134974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0" name="Rechteck 33"/>
            <p:cNvSpPr>
              <a:spLocks noChangeArrowheads="1"/>
            </p:cNvSpPr>
            <p:nvPr/>
          </p:nvSpPr>
          <p:spPr bwMode="auto">
            <a:xfrm>
              <a:off x="2847081" y="4489622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1" name="Rechteck 34"/>
            <p:cNvSpPr>
              <a:spLocks noChangeArrowheads="1"/>
            </p:cNvSpPr>
            <p:nvPr/>
          </p:nvSpPr>
          <p:spPr bwMode="auto">
            <a:xfrm>
              <a:off x="2847081" y="4844269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2" name="Rechteck 35"/>
            <p:cNvSpPr>
              <a:spLocks noChangeArrowheads="1"/>
            </p:cNvSpPr>
            <p:nvPr/>
          </p:nvSpPr>
          <p:spPr bwMode="auto">
            <a:xfrm>
              <a:off x="2847081" y="5198917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53" name="Rechteck 36"/>
            <p:cNvSpPr>
              <a:spLocks noChangeArrowheads="1"/>
            </p:cNvSpPr>
            <p:nvPr/>
          </p:nvSpPr>
          <p:spPr bwMode="auto">
            <a:xfrm>
              <a:off x="2847081" y="5553564"/>
              <a:ext cx="5191411" cy="395716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grpSp>
        <p:nvGrpSpPr>
          <p:cNvPr id="6" name="Gruppierung 5"/>
          <p:cNvGrpSpPr/>
          <p:nvPr/>
        </p:nvGrpSpPr>
        <p:grpSpPr>
          <a:xfrm>
            <a:off x="8135488" y="2060574"/>
            <a:ext cx="2424561" cy="1814580"/>
            <a:chOff x="8135488" y="2101916"/>
            <a:chExt cx="2424561" cy="1773238"/>
          </a:xfrm>
        </p:grpSpPr>
        <p:sp>
          <p:nvSpPr>
            <p:cNvPr id="54" name="Rechteck 32"/>
            <p:cNvSpPr>
              <a:spLocks noChangeArrowheads="1"/>
            </p:cNvSpPr>
            <p:nvPr/>
          </p:nvSpPr>
          <p:spPr bwMode="auto">
            <a:xfrm>
              <a:off x="8135488" y="2101916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 bis 4</a:t>
              </a:r>
            </a:p>
          </p:txBody>
        </p:sp>
        <p:sp>
          <p:nvSpPr>
            <p:cNvPr id="55" name="Rechteck 33"/>
            <p:cNvSpPr>
              <a:spLocks noChangeArrowheads="1"/>
            </p:cNvSpPr>
            <p:nvPr/>
          </p:nvSpPr>
          <p:spPr bwMode="auto">
            <a:xfrm>
              <a:off x="8135488" y="2456564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 bis 4</a:t>
              </a:r>
            </a:p>
          </p:txBody>
        </p:sp>
        <p:sp>
          <p:nvSpPr>
            <p:cNvPr id="56" name="Rechteck 34"/>
            <p:cNvSpPr>
              <a:spLocks noChangeArrowheads="1"/>
            </p:cNvSpPr>
            <p:nvPr/>
          </p:nvSpPr>
          <p:spPr bwMode="auto">
            <a:xfrm>
              <a:off x="8135488" y="2811211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 bis 4</a:t>
              </a:r>
            </a:p>
          </p:txBody>
        </p:sp>
        <p:sp>
          <p:nvSpPr>
            <p:cNvPr id="57" name="Rechteck 35"/>
            <p:cNvSpPr>
              <a:spLocks noChangeArrowheads="1"/>
            </p:cNvSpPr>
            <p:nvPr/>
          </p:nvSpPr>
          <p:spPr bwMode="auto">
            <a:xfrm>
              <a:off x="8135488" y="3165859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 bis 4</a:t>
              </a:r>
            </a:p>
          </p:txBody>
        </p:sp>
        <p:sp>
          <p:nvSpPr>
            <p:cNvPr id="58" name="Rechteck 36"/>
            <p:cNvSpPr>
              <a:spLocks noChangeArrowheads="1"/>
            </p:cNvSpPr>
            <p:nvPr/>
          </p:nvSpPr>
          <p:spPr bwMode="auto">
            <a:xfrm>
              <a:off x="8135488" y="3520506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 bis 4</a:t>
              </a:r>
            </a:p>
          </p:txBody>
        </p:sp>
      </p:grpSp>
      <p:grpSp>
        <p:nvGrpSpPr>
          <p:cNvPr id="8" name="Gruppierung 7"/>
          <p:cNvGrpSpPr/>
          <p:nvPr/>
        </p:nvGrpSpPr>
        <p:grpSpPr>
          <a:xfrm>
            <a:off x="8135488" y="4103999"/>
            <a:ext cx="2424561" cy="1803507"/>
            <a:chOff x="8135488" y="4149080"/>
            <a:chExt cx="2424561" cy="1773238"/>
          </a:xfrm>
        </p:grpSpPr>
        <p:sp>
          <p:nvSpPr>
            <p:cNvPr id="59" name="Rechteck 32"/>
            <p:cNvSpPr>
              <a:spLocks noChangeArrowheads="1"/>
            </p:cNvSpPr>
            <p:nvPr/>
          </p:nvSpPr>
          <p:spPr bwMode="auto">
            <a:xfrm>
              <a:off x="8135488" y="4149080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-4 bis -1</a:t>
              </a:r>
            </a:p>
          </p:txBody>
        </p:sp>
        <p:sp>
          <p:nvSpPr>
            <p:cNvPr id="60" name="Rechteck 33"/>
            <p:cNvSpPr>
              <a:spLocks noChangeArrowheads="1"/>
            </p:cNvSpPr>
            <p:nvPr/>
          </p:nvSpPr>
          <p:spPr bwMode="auto">
            <a:xfrm>
              <a:off x="8135488" y="4503728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-4 bis -1</a:t>
              </a:r>
            </a:p>
          </p:txBody>
        </p:sp>
        <p:sp>
          <p:nvSpPr>
            <p:cNvPr id="61" name="Rechteck 34"/>
            <p:cNvSpPr>
              <a:spLocks noChangeArrowheads="1"/>
            </p:cNvSpPr>
            <p:nvPr/>
          </p:nvSpPr>
          <p:spPr bwMode="auto">
            <a:xfrm>
              <a:off x="8135488" y="4858375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-4 bis -1</a:t>
              </a:r>
            </a:p>
          </p:txBody>
        </p:sp>
        <p:sp>
          <p:nvSpPr>
            <p:cNvPr id="62" name="Rechteck 35"/>
            <p:cNvSpPr>
              <a:spLocks noChangeArrowheads="1"/>
            </p:cNvSpPr>
            <p:nvPr/>
          </p:nvSpPr>
          <p:spPr bwMode="auto">
            <a:xfrm>
              <a:off x="8135488" y="5213023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-4 bis -1</a:t>
              </a:r>
            </a:p>
          </p:txBody>
        </p:sp>
        <p:sp>
          <p:nvSpPr>
            <p:cNvPr id="63" name="Rechteck 36"/>
            <p:cNvSpPr>
              <a:spLocks noChangeArrowheads="1"/>
            </p:cNvSpPr>
            <p:nvPr/>
          </p:nvSpPr>
          <p:spPr bwMode="auto">
            <a:xfrm>
              <a:off x="8135488" y="5567670"/>
              <a:ext cx="2424561" cy="354648"/>
            </a:xfrm>
            <a:prstGeom prst="rect">
              <a:avLst/>
            </a:prstGeom>
            <a:solidFill>
              <a:srgbClr val="E3E8EC"/>
            </a:solidFill>
            <a:ln w="2857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90000" r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SzPct val="80000"/>
              </a:pPr>
              <a:r>
                <a:rPr lang="de-DE" altLang="de-DE" sz="12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-4 bis -1</a:t>
              </a:r>
            </a:p>
          </p:txBody>
        </p:sp>
      </p:grpSp>
      <p:grpSp>
        <p:nvGrpSpPr>
          <p:cNvPr id="3" name="Gruppierung 2"/>
          <p:cNvGrpSpPr/>
          <p:nvPr/>
        </p:nvGrpSpPr>
        <p:grpSpPr>
          <a:xfrm>
            <a:off x="479376" y="4019580"/>
            <a:ext cx="2303462" cy="1857345"/>
            <a:chOff x="479376" y="4019580"/>
            <a:chExt cx="2303462" cy="1857345"/>
          </a:xfrm>
        </p:grpSpPr>
        <p:sp>
          <p:nvSpPr>
            <p:cNvPr id="30" name="Rechteck 29"/>
            <p:cNvSpPr>
              <a:spLocks noChangeAspect="1"/>
            </p:cNvSpPr>
            <p:nvPr/>
          </p:nvSpPr>
          <p:spPr>
            <a:xfrm>
              <a:off x="479376" y="4100881"/>
              <a:ext cx="2303462" cy="1776044"/>
            </a:xfrm>
            <a:prstGeom prst="rect">
              <a:avLst/>
            </a:prstGeom>
            <a:solidFill>
              <a:srgbClr val="2F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>
              <a:noAutofit/>
            </a:bodyPr>
            <a:lstStyle/>
            <a:p>
              <a:pPr algn="ctr">
                <a:buSzPct val="80000"/>
              </a:pPr>
              <a:endParaRPr lang="de-DE" altLang="de-DE" sz="11500" b="1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" name="Rechteck 1"/>
            <p:cNvSpPr/>
            <p:nvPr/>
          </p:nvSpPr>
          <p:spPr>
            <a:xfrm>
              <a:off x="687877" y="4019580"/>
              <a:ext cx="1879731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80000"/>
              </a:pPr>
              <a:r>
                <a:rPr lang="de-DE" altLang="de-DE" sz="96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–</a:t>
              </a:r>
            </a:p>
          </p:txBody>
        </p:sp>
      </p:grpSp>
      <p:sp>
        <p:nvSpPr>
          <p:cNvPr id="4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8483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8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onflik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onner</a:t>
            </a:r>
          </a:p>
        </p:txBody>
      </p:sp>
      <p:sp>
        <p:nvSpPr>
          <p:cNvPr id="34" name="Freihandform 33"/>
          <p:cNvSpPr/>
          <p:nvPr/>
        </p:nvSpPr>
        <p:spPr>
          <a:xfrm rot="5400000">
            <a:off x="3863696" y="2060635"/>
            <a:ext cx="269" cy="159"/>
          </a:xfrm>
          <a:custGeom>
            <a:avLst/>
            <a:gdLst>
              <a:gd name="connsiteX0" fmla="*/ 0 w 269"/>
              <a:gd name="connsiteY0" fmla="*/ 159 h 159"/>
              <a:gd name="connsiteX1" fmla="*/ 269 w 269"/>
              <a:gd name="connsiteY1" fmla="*/ 0 h 159"/>
              <a:gd name="connsiteX2" fmla="*/ 269 w 269"/>
              <a:gd name="connsiteY2" fmla="*/ 159 h 159"/>
              <a:gd name="connsiteX3" fmla="*/ 0 w 269"/>
              <a:gd name="connsiteY3" fmla="*/ 159 h 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" h="159">
                <a:moveTo>
                  <a:pt x="0" y="159"/>
                </a:moveTo>
                <a:lnTo>
                  <a:pt x="269" y="0"/>
                </a:lnTo>
                <a:lnTo>
                  <a:pt x="269" y="159"/>
                </a:lnTo>
                <a:lnTo>
                  <a:pt x="0" y="159"/>
                </a:lnTo>
                <a:close/>
              </a:path>
            </a:pathLst>
          </a:cu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6" name="Gruppierung 25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27" name="Gerade Verbindung 26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ung 8"/>
          <p:cNvGrpSpPr/>
          <p:nvPr/>
        </p:nvGrpSpPr>
        <p:grpSpPr>
          <a:xfrm>
            <a:off x="5527224" y="2863590"/>
            <a:ext cx="1287460" cy="1287460"/>
            <a:chOff x="5527224" y="2863590"/>
            <a:chExt cx="1287460" cy="1287460"/>
          </a:xfrm>
        </p:grpSpPr>
        <p:sp>
          <p:nvSpPr>
            <p:cNvPr id="6" name="Gewitterblitz 5"/>
            <p:cNvSpPr/>
            <p:nvPr/>
          </p:nvSpPr>
          <p:spPr>
            <a:xfrm rot="1677611">
              <a:off x="5527224" y="2863590"/>
              <a:ext cx="1287460" cy="1287460"/>
            </a:xfrm>
            <a:prstGeom prst="lightningBolt">
              <a:avLst/>
            </a:prstGeom>
            <a:solidFill>
              <a:srgbClr val="FFBC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5885949" y="3307436"/>
              <a:ext cx="6420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rgbClr val="CD7604"/>
                  </a:solidFill>
                  <a:latin typeface="Arial" charset="0"/>
                  <a:ea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36" name="Abgerundetes Rechteck 35"/>
          <p:cNvSpPr/>
          <p:nvPr/>
        </p:nvSpPr>
        <p:spPr>
          <a:xfrm>
            <a:off x="1556546" y="1484784"/>
            <a:ext cx="3601031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10" name="Gruppierung 9"/>
          <p:cNvGrpSpPr/>
          <p:nvPr/>
        </p:nvGrpSpPr>
        <p:grpSpPr>
          <a:xfrm>
            <a:off x="1559496" y="2060574"/>
            <a:ext cx="4176415" cy="3456657"/>
            <a:chOff x="1559496" y="2060574"/>
            <a:chExt cx="4176415" cy="3456657"/>
          </a:xfrm>
        </p:grpSpPr>
        <p:grpSp>
          <p:nvGrpSpPr>
            <p:cNvPr id="3" name="Gruppierung 2"/>
            <p:cNvGrpSpPr/>
            <p:nvPr/>
          </p:nvGrpSpPr>
          <p:grpSpPr>
            <a:xfrm>
              <a:off x="1559496" y="2060574"/>
              <a:ext cx="4176415" cy="3456657"/>
              <a:chOff x="479425" y="2060574"/>
              <a:chExt cx="2970289" cy="3456657"/>
            </a:xfrm>
          </p:grpSpPr>
          <p:sp>
            <p:nvSpPr>
              <p:cNvPr id="2" name="Rechteck 1"/>
              <p:cNvSpPr/>
              <p:nvPr/>
            </p:nvSpPr>
            <p:spPr>
              <a:xfrm>
                <a:off x="479425" y="2060574"/>
                <a:ext cx="2558975" cy="345665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9" name="Dreieck 48"/>
              <p:cNvSpPr/>
              <p:nvPr/>
            </p:nvSpPr>
            <p:spPr>
              <a:xfrm rot="5400000">
                <a:off x="1511715" y="3579233"/>
                <a:ext cx="3456657" cy="419340"/>
              </a:xfrm>
              <a:prstGeom prst="triangl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7" name="Textfeld 36"/>
            <p:cNvSpPr txBox="1"/>
            <p:nvPr/>
          </p:nvSpPr>
          <p:spPr>
            <a:xfrm>
              <a:off x="1713750" y="2280875"/>
              <a:ext cx="3374137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8" name="Abgerundetes Rechteck 37"/>
          <p:cNvSpPr/>
          <p:nvPr/>
        </p:nvSpPr>
        <p:spPr>
          <a:xfrm>
            <a:off x="7261733" y="1484784"/>
            <a:ext cx="3601031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11" name="Gruppierung 10"/>
          <p:cNvGrpSpPr/>
          <p:nvPr/>
        </p:nvGrpSpPr>
        <p:grpSpPr>
          <a:xfrm>
            <a:off x="6672113" y="2060574"/>
            <a:ext cx="4176415" cy="3456657"/>
            <a:chOff x="6672113" y="2060574"/>
            <a:chExt cx="4176415" cy="3456657"/>
          </a:xfrm>
        </p:grpSpPr>
        <p:grpSp>
          <p:nvGrpSpPr>
            <p:cNvPr id="42" name="Gruppierung 41"/>
            <p:cNvGrpSpPr/>
            <p:nvPr/>
          </p:nvGrpSpPr>
          <p:grpSpPr>
            <a:xfrm rot="10800000">
              <a:off x="6672113" y="2060574"/>
              <a:ext cx="4176415" cy="3456657"/>
              <a:chOff x="479425" y="2060574"/>
              <a:chExt cx="2970289" cy="3456657"/>
            </a:xfrm>
          </p:grpSpPr>
          <p:sp>
            <p:nvSpPr>
              <p:cNvPr id="43" name="Rechteck 42"/>
              <p:cNvSpPr/>
              <p:nvPr/>
            </p:nvSpPr>
            <p:spPr>
              <a:xfrm>
                <a:off x="479425" y="2060574"/>
                <a:ext cx="2558975" cy="345665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4" name="Dreieck 43"/>
              <p:cNvSpPr/>
              <p:nvPr/>
            </p:nvSpPr>
            <p:spPr>
              <a:xfrm rot="5400000">
                <a:off x="1511715" y="3579233"/>
                <a:ext cx="3456657" cy="419340"/>
              </a:xfrm>
              <a:prstGeom prst="triangl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5" name="Textfeld 44"/>
            <p:cNvSpPr txBox="1"/>
            <p:nvPr/>
          </p:nvSpPr>
          <p:spPr>
            <a:xfrm>
              <a:off x="7405799" y="2280875"/>
              <a:ext cx="3374137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095954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1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eraterprofil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fahrene Berate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Abgerundetes Rechteck 2"/>
          <p:cNvSpPr/>
          <p:nvPr/>
        </p:nvSpPr>
        <p:spPr>
          <a:xfrm>
            <a:off x="479872" y="1484313"/>
            <a:ext cx="2305050" cy="2305050"/>
          </a:xfrm>
          <a:prstGeom prst="roundRect">
            <a:avLst/>
          </a:prstGeom>
          <a:blipFill dpi="0" rotWithShape="1">
            <a:blip r:embed="rId4"/>
            <a:srcRect/>
            <a:tile tx="0" ty="0" sx="45000" sy="45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479872" y="3923764"/>
            <a:ext cx="3139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orname Nachname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479872" y="4149080"/>
            <a:ext cx="31396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Consultant — Geburtsdatum</a:t>
            </a:r>
          </a:p>
        </p:txBody>
      </p:sp>
      <p:sp>
        <p:nvSpPr>
          <p:cNvPr id="5" name="Rechteck 4"/>
          <p:cNvSpPr/>
          <p:nvPr/>
        </p:nvSpPr>
        <p:spPr>
          <a:xfrm>
            <a:off x="407368" y="5118283"/>
            <a:ext cx="3960440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20"/>
              </a:lnSpc>
            </a:pPr>
            <a:r>
              <a:rPr lang="de-DE" sz="1100" dirty="0">
                <a:solidFill>
                  <a:srgbClr val="00BAFF"/>
                </a:solidFill>
                <a:latin typeface="Arial" charset="0"/>
              </a:rPr>
              <a:t>–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XY hat hier Studiert (</a:t>
            </a:r>
            <a:r>
              <a:rPr lang="de-DE" sz="1100" dirty="0" err="1">
                <a:solidFill>
                  <a:srgbClr val="273375"/>
                </a:solidFill>
                <a:latin typeface="Arial" charset="0"/>
              </a:rPr>
              <a:t>Universätit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/ Hochschule / Stadt)</a:t>
            </a:r>
          </a:p>
          <a:p>
            <a:pPr>
              <a:lnSpc>
                <a:spcPts val="1620"/>
              </a:lnSpc>
            </a:pPr>
            <a:r>
              <a:rPr lang="de-DE" sz="1100" dirty="0">
                <a:solidFill>
                  <a:srgbClr val="00BAFF"/>
                </a:solidFill>
                <a:latin typeface="Arial" charset="0"/>
              </a:rPr>
              <a:t>–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XY Hat folgendes Fach studiert</a:t>
            </a:r>
          </a:p>
          <a:p>
            <a:pPr>
              <a:lnSpc>
                <a:spcPts val="1620"/>
              </a:lnSpc>
            </a:pPr>
            <a:r>
              <a:rPr lang="de-DE" sz="1100" dirty="0">
                <a:solidFill>
                  <a:srgbClr val="00BAFF"/>
                </a:solidFill>
                <a:latin typeface="Arial" charset="0"/>
              </a:rPr>
              <a:t>–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XY spricht folgende Sprachen ...</a:t>
            </a:r>
          </a:p>
          <a:p>
            <a:pPr>
              <a:lnSpc>
                <a:spcPts val="1620"/>
              </a:lnSpc>
            </a:pPr>
            <a:r>
              <a:rPr lang="de-DE" sz="1100" dirty="0">
                <a:solidFill>
                  <a:srgbClr val="00BAFF"/>
                </a:solidFill>
                <a:latin typeface="Arial" charset="0"/>
              </a:rPr>
              <a:t>–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XY möchte weiterhin sagen …</a:t>
            </a:r>
            <a:endParaRPr lang="de-DE" sz="1100" dirty="0">
              <a:solidFill>
                <a:srgbClr val="273375"/>
              </a:solidFill>
              <a:effectLst/>
              <a:latin typeface="Arial" charset="0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479872" y="4726916"/>
            <a:ext cx="31396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ur Person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4871864" y="1476818"/>
            <a:ext cx="3024336" cy="435958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/>
              <a:t>Projekterfahrung</a:t>
            </a:r>
            <a:endParaRPr lang="de-DE" sz="1400" dirty="0"/>
          </a:p>
        </p:txBody>
      </p:sp>
      <p:sp>
        <p:nvSpPr>
          <p:cNvPr id="47" name="Abgerundetes Rechteck 46"/>
          <p:cNvSpPr/>
          <p:nvPr/>
        </p:nvSpPr>
        <p:spPr>
          <a:xfrm>
            <a:off x="8256240" y="1476818"/>
            <a:ext cx="3024336" cy="435958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/>
              <a:t>Branchenkenntnisse</a:t>
            </a:r>
            <a:endParaRPr lang="de-DE" sz="1400" dirty="0"/>
          </a:p>
        </p:txBody>
      </p:sp>
      <p:sp>
        <p:nvSpPr>
          <p:cNvPr id="6" name="Rechteck 5"/>
          <p:cNvSpPr/>
          <p:nvPr/>
        </p:nvSpPr>
        <p:spPr>
          <a:xfrm>
            <a:off x="4871864" y="1988840"/>
            <a:ext cx="3096344" cy="1772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Projekten/Beratungen</a:t>
            </a:r>
          </a:p>
          <a:p>
            <a:pPr>
              <a:lnSpc>
                <a:spcPts val="1940"/>
              </a:lnSpc>
            </a:pPr>
            <a:endParaRPr lang="de-DE" sz="1200" dirty="0">
              <a:solidFill>
                <a:srgbClr val="273375"/>
              </a:solidFill>
              <a:effectLst/>
              <a:latin typeface="Arial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8256240" y="1988840"/>
            <a:ext cx="3096344" cy="1797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1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2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3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4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5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Kenntnis 6</a:t>
            </a:r>
          </a:p>
          <a:p>
            <a:pPr>
              <a:lnSpc>
                <a:spcPts val="1940"/>
              </a:lnSpc>
            </a:pPr>
            <a:endParaRPr lang="de-DE" sz="1200" dirty="0">
              <a:solidFill>
                <a:srgbClr val="273375"/>
              </a:solidFill>
              <a:latin typeface="Arial" charset="0"/>
            </a:endParaRPr>
          </a:p>
        </p:txBody>
      </p:sp>
      <p:sp>
        <p:nvSpPr>
          <p:cNvPr id="50" name="Abgerundetes Rechteck 49"/>
          <p:cNvSpPr/>
          <p:nvPr/>
        </p:nvSpPr>
        <p:spPr>
          <a:xfrm>
            <a:off x="4871864" y="3783346"/>
            <a:ext cx="3024336" cy="435958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/>
              <a:t>Methodenkenntnisse</a:t>
            </a:r>
            <a:endParaRPr lang="de-DE" sz="1400" dirty="0"/>
          </a:p>
        </p:txBody>
      </p:sp>
      <p:sp>
        <p:nvSpPr>
          <p:cNvPr id="51" name="Abgerundetes Rechteck 50"/>
          <p:cNvSpPr/>
          <p:nvPr/>
        </p:nvSpPr>
        <p:spPr>
          <a:xfrm>
            <a:off x="8256240" y="3783346"/>
            <a:ext cx="3024336" cy="435958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de-DE" sz="1400" b="1" dirty="0"/>
              <a:t>Berufserfahrung</a:t>
            </a:r>
            <a:endParaRPr lang="de-DE" sz="1400" dirty="0"/>
          </a:p>
        </p:txBody>
      </p:sp>
      <p:sp>
        <p:nvSpPr>
          <p:cNvPr id="52" name="Rechteck 51"/>
          <p:cNvSpPr/>
          <p:nvPr/>
        </p:nvSpPr>
        <p:spPr>
          <a:xfrm>
            <a:off x="4871864" y="4295368"/>
            <a:ext cx="3096344" cy="1797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Auflistung von Methodenkenntnissen</a:t>
            </a:r>
          </a:p>
          <a:p>
            <a:pPr>
              <a:lnSpc>
                <a:spcPts val="1940"/>
              </a:lnSpc>
            </a:pPr>
            <a:endParaRPr lang="de-DE" sz="1200" dirty="0">
              <a:solidFill>
                <a:srgbClr val="273375"/>
              </a:solidFill>
              <a:effectLst/>
              <a:latin typeface="Arial" charset="0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8256240" y="4295368"/>
            <a:ext cx="3096344" cy="1797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1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2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3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4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5</a:t>
            </a:r>
          </a:p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200" dirty="0">
                <a:solidFill>
                  <a:srgbClr val="273375"/>
                </a:solidFill>
                <a:latin typeface="Arial" charset="0"/>
              </a:rPr>
              <a:t>   Erfahrung 6</a:t>
            </a:r>
          </a:p>
          <a:p>
            <a:pPr>
              <a:lnSpc>
                <a:spcPts val="1940"/>
              </a:lnSpc>
            </a:pPr>
            <a:endParaRPr lang="de-DE" sz="1200" dirty="0">
              <a:solidFill>
                <a:srgbClr val="273375"/>
              </a:solidFill>
              <a:latin typeface="Arial" charset="0"/>
            </a:endParaRPr>
          </a:p>
        </p:txBody>
      </p:sp>
      <p:grpSp>
        <p:nvGrpSpPr>
          <p:cNvPr id="2" name="Gruppierung 1"/>
          <p:cNvGrpSpPr/>
          <p:nvPr/>
        </p:nvGrpSpPr>
        <p:grpSpPr>
          <a:xfrm>
            <a:off x="2999656" y="1692001"/>
            <a:ext cx="1872208" cy="2319074"/>
            <a:chOff x="2999656" y="1692001"/>
            <a:chExt cx="1872208" cy="2319074"/>
          </a:xfrm>
        </p:grpSpPr>
        <p:cxnSp>
          <p:nvCxnSpPr>
            <p:cNvPr id="10" name="Gerade Verbindung 9"/>
            <p:cNvCxnSpPr>
              <a:stCxn id="46" idx="1"/>
            </p:cNvCxnSpPr>
            <p:nvPr/>
          </p:nvCxnSpPr>
          <p:spPr>
            <a:xfrm flipH="1">
              <a:off x="4079776" y="1694797"/>
              <a:ext cx="792088" cy="6011"/>
            </a:xfrm>
            <a:prstGeom prst="line">
              <a:avLst/>
            </a:prstGeom>
            <a:ln w="19050">
              <a:solidFill>
                <a:srgbClr val="2F52A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uppierung 17"/>
            <p:cNvGrpSpPr/>
            <p:nvPr/>
          </p:nvGrpSpPr>
          <p:grpSpPr>
            <a:xfrm>
              <a:off x="2999656" y="1692001"/>
              <a:ext cx="1872208" cy="2319074"/>
              <a:chOff x="3143672" y="1692001"/>
              <a:chExt cx="1872208" cy="2319074"/>
            </a:xfrm>
          </p:grpSpPr>
          <p:cxnSp>
            <p:nvCxnSpPr>
              <p:cNvPr id="54" name="Gerade Verbindung 53"/>
              <p:cNvCxnSpPr/>
              <p:nvPr/>
            </p:nvCxnSpPr>
            <p:spPr>
              <a:xfrm flipH="1">
                <a:off x="4223792" y="4005064"/>
                <a:ext cx="792088" cy="6011"/>
              </a:xfrm>
              <a:prstGeom prst="line">
                <a:avLst/>
              </a:prstGeom>
              <a:ln w="19050">
                <a:solidFill>
                  <a:srgbClr val="2F52A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/>
            </p:nvCxnSpPr>
            <p:spPr>
              <a:xfrm flipV="1">
                <a:off x="4204800" y="1692001"/>
                <a:ext cx="0" cy="2313063"/>
              </a:xfrm>
              <a:prstGeom prst="line">
                <a:avLst/>
              </a:prstGeom>
              <a:ln w="19050">
                <a:solidFill>
                  <a:srgbClr val="2F52A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/>
            </p:nvCxnSpPr>
            <p:spPr>
              <a:xfrm flipH="1">
                <a:off x="3143672" y="2852738"/>
                <a:ext cx="1061128" cy="0"/>
              </a:xfrm>
              <a:prstGeom prst="line">
                <a:avLst/>
              </a:prstGeom>
              <a:ln w="19050">
                <a:solidFill>
                  <a:srgbClr val="2F52A0"/>
                </a:solidFill>
                <a:prstDash val="sysDot"/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uppierung 7"/>
          <p:cNvGrpSpPr/>
          <p:nvPr/>
        </p:nvGrpSpPr>
        <p:grpSpPr>
          <a:xfrm rot="20208777">
            <a:off x="2907524" y="456780"/>
            <a:ext cx="1366080" cy="1307431"/>
            <a:chOff x="3145362" y="352626"/>
            <a:chExt cx="1366080" cy="1307431"/>
          </a:xfrm>
        </p:grpSpPr>
        <p:sp>
          <p:nvSpPr>
            <p:cNvPr id="35" name="Träne 34"/>
            <p:cNvSpPr/>
            <p:nvPr/>
          </p:nvSpPr>
          <p:spPr>
            <a:xfrm rot="13412457">
              <a:off x="3174675" y="352626"/>
              <a:ext cx="1307435" cy="1307431"/>
            </a:xfrm>
            <a:prstGeom prst="teardrop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3145362" y="620688"/>
              <a:ext cx="1366080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1.Form formatieren</a:t>
              </a:r>
            </a:p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2.Füllung </a:t>
              </a:r>
            </a:p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 3.Bild- oder Texturfüllung</a:t>
              </a:r>
            </a:p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4.Datei… </a:t>
              </a:r>
            </a:p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5. anpassen durch</a:t>
              </a:r>
            </a:p>
            <a:p>
              <a:pPr algn="ctr" eaLnBrk="0" hangingPunct="0">
                <a:buSzPct val="80000"/>
              </a:pPr>
              <a:r>
                <a:rPr lang="de-DE" altLang="de-DE" sz="8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 die Achsen</a:t>
              </a:r>
            </a:p>
          </p:txBody>
        </p:sp>
      </p:grpSp>
      <p:sp>
        <p:nvSpPr>
          <p:cNvPr id="37" name="Fußzeilenplatzhalter 4"/>
          <p:cNvSpPr txBox="1">
            <a:spLocks/>
          </p:cNvSpPr>
          <p:nvPr/>
        </p:nvSpPr>
        <p:spPr>
          <a:xfrm>
            <a:off x="687964" y="643203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räne 40"/>
          <p:cNvSpPr/>
          <p:nvPr/>
        </p:nvSpPr>
        <p:spPr>
          <a:xfrm rot="9686368">
            <a:off x="10583280" y="73883"/>
            <a:ext cx="1158915" cy="1118904"/>
          </a:xfrm>
          <a:prstGeom prst="teardrop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208777">
            <a:off x="10486309" y="449386"/>
            <a:ext cx="12984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>
              <a:buSzPct val="80000"/>
            </a:pPr>
            <a:r>
              <a:rPr lang="de-DE" altLang="de-DE" sz="8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enntnisse können </a:t>
            </a:r>
            <a:r>
              <a:rPr lang="de-DE" altLang="de-DE" sz="8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eliebig ausgetauscht werden</a:t>
            </a:r>
            <a:endParaRPr lang="de-DE" altLang="de-DE" sz="8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084520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2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Ihr Projektteam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arstellung der Berater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Abgerundetes Rechteck 29"/>
          <p:cNvSpPr/>
          <p:nvPr/>
        </p:nvSpPr>
        <p:spPr>
          <a:xfrm>
            <a:off x="623392" y="1462500"/>
            <a:ext cx="1246420" cy="1246420"/>
          </a:xfrm>
          <a:prstGeom prst="roundRect">
            <a:avLst/>
          </a:prstGeom>
          <a:blipFill dpi="0" rotWithShape="1">
            <a:blip r:embed="rId4"/>
            <a:srcRect/>
            <a:tile tx="0" ty="0" sx="25000" sy="25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1919536" y="1484784"/>
            <a:ext cx="3139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orname Nachname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931393" y="1753071"/>
            <a:ext cx="313969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Projektleiter</a:t>
            </a:r>
          </a:p>
          <a:p>
            <a:r>
              <a:rPr lang="de-DE" sz="11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Consultant</a:t>
            </a:r>
          </a:p>
        </p:txBody>
      </p:sp>
      <p:sp>
        <p:nvSpPr>
          <p:cNvPr id="47" name="Abgerundetes Rechteck 46"/>
          <p:cNvSpPr/>
          <p:nvPr/>
        </p:nvSpPr>
        <p:spPr>
          <a:xfrm>
            <a:off x="627782" y="2909732"/>
            <a:ext cx="3308628" cy="275484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Studium</a:t>
            </a:r>
            <a:endParaRPr lang="de-DE" sz="1400" dirty="0"/>
          </a:p>
        </p:txBody>
      </p:sp>
      <p:sp>
        <p:nvSpPr>
          <p:cNvPr id="3" name="Rechteck 2"/>
          <p:cNvSpPr/>
          <p:nvPr/>
        </p:nvSpPr>
        <p:spPr>
          <a:xfrm>
            <a:off x="623392" y="3212976"/>
            <a:ext cx="331236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Studiengant, Semesterzahl</a:t>
            </a:r>
          </a:p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</a:t>
            </a:r>
            <a:r>
              <a:rPr lang="de-DE" sz="1100" dirty="0" err="1">
                <a:solidFill>
                  <a:srgbClr val="273375"/>
                </a:solidFill>
                <a:latin typeface="Arial" charset="0"/>
              </a:rPr>
              <a:t>Vertiefer</a:t>
            </a:r>
            <a:endParaRPr lang="de-DE" sz="1100" dirty="0">
              <a:solidFill>
                <a:srgbClr val="273375"/>
              </a:solidFill>
              <a:latin typeface="Arial" charset="0"/>
            </a:endParaRPr>
          </a:p>
        </p:txBody>
      </p:sp>
      <p:sp>
        <p:nvSpPr>
          <p:cNvPr id="51" name="Abgerundetes Rechteck 50"/>
          <p:cNvSpPr/>
          <p:nvPr/>
        </p:nvSpPr>
        <p:spPr>
          <a:xfrm>
            <a:off x="627782" y="3776032"/>
            <a:ext cx="3308628" cy="275484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Projekterfahrung</a:t>
            </a:r>
            <a:endParaRPr lang="de-DE" sz="1400" dirty="0"/>
          </a:p>
        </p:txBody>
      </p:sp>
      <p:sp>
        <p:nvSpPr>
          <p:cNvPr id="52" name="Rechteck 51"/>
          <p:cNvSpPr/>
          <p:nvPr/>
        </p:nvSpPr>
        <p:spPr>
          <a:xfrm>
            <a:off x="623392" y="4079276"/>
            <a:ext cx="3312368" cy="1209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</p:txBody>
      </p:sp>
      <p:sp>
        <p:nvSpPr>
          <p:cNvPr id="53" name="Abgerundetes Rechteck 52"/>
          <p:cNvSpPr/>
          <p:nvPr/>
        </p:nvSpPr>
        <p:spPr>
          <a:xfrm>
            <a:off x="627782" y="5381412"/>
            <a:ext cx="3308628" cy="275484"/>
          </a:xfrm>
          <a:prstGeom prst="roundRect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Weitere Berufserfahrungen</a:t>
            </a:r>
            <a:endParaRPr lang="de-DE" sz="1400" dirty="0"/>
          </a:p>
        </p:txBody>
      </p:sp>
      <p:sp>
        <p:nvSpPr>
          <p:cNvPr id="54" name="Rechteck 53"/>
          <p:cNvSpPr/>
          <p:nvPr/>
        </p:nvSpPr>
        <p:spPr>
          <a:xfrm>
            <a:off x="623392" y="5684656"/>
            <a:ext cx="3312368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aktika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Ausbildung, etc.</a:t>
            </a:r>
          </a:p>
        </p:txBody>
      </p:sp>
      <p:sp>
        <p:nvSpPr>
          <p:cNvPr id="55" name="Abgerundetes Rechteck 54"/>
          <p:cNvSpPr/>
          <p:nvPr/>
        </p:nvSpPr>
        <p:spPr>
          <a:xfrm>
            <a:off x="4384605" y="1462500"/>
            <a:ext cx="1246420" cy="1246420"/>
          </a:xfrm>
          <a:prstGeom prst="roundRect">
            <a:avLst/>
          </a:prstGeom>
          <a:blipFill dpi="0" rotWithShape="1">
            <a:blip r:embed="rId4"/>
            <a:srcRect/>
            <a:tile tx="0" ty="0" sx="25000" sy="25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5680749" y="1484784"/>
            <a:ext cx="3139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orname Nachname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692606" y="1753071"/>
            <a:ext cx="313969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Projektmitglied</a:t>
            </a:r>
          </a:p>
          <a:p>
            <a:r>
              <a:rPr lang="de-DE" sz="11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Consultant</a:t>
            </a:r>
          </a:p>
        </p:txBody>
      </p:sp>
      <p:sp>
        <p:nvSpPr>
          <p:cNvPr id="58" name="Abgerundetes Rechteck 57"/>
          <p:cNvSpPr/>
          <p:nvPr/>
        </p:nvSpPr>
        <p:spPr>
          <a:xfrm>
            <a:off x="4388995" y="2909732"/>
            <a:ext cx="3308628" cy="275484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Studium</a:t>
            </a:r>
            <a:endParaRPr lang="de-DE" sz="1400" dirty="0"/>
          </a:p>
        </p:txBody>
      </p:sp>
      <p:sp>
        <p:nvSpPr>
          <p:cNvPr id="59" name="Rechteck 58"/>
          <p:cNvSpPr/>
          <p:nvPr/>
        </p:nvSpPr>
        <p:spPr>
          <a:xfrm>
            <a:off x="4384605" y="3212976"/>
            <a:ext cx="331236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Studiengant, Semesterzahl</a:t>
            </a:r>
          </a:p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</a:t>
            </a:r>
            <a:r>
              <a:rPr lang="de-DE" sz="1100" dirty="0" err="1">
                <a:solidFill>
                  <a:srgbClr val="273375"/>
                </a:solidFill>
                <a:latin typeface="Arial" charset="0"/>
              </a:rPr>
              <a:t>Vertiefer</a:t>
            </a:r>
            <a:endParaRPr lang="de-DE" sz="1100" dirty="0">
              <a:solidFill>
                <a:srgbClr val="273375"/>
              </a:solidFill>
              <a:latin typeface="Arial" charset="0"/>
            </a:endParaRPr>
          </a:p>
        </p:txBody>
      </p:sp>
      <p:sp>
        <p:nvSpPr>
          <p:cNvPr id="60" name="Abgerundetes Rechteck 59"/>
          <p:cNvSpPr/>
          <p:nvPr/>
        </p:nvSpPr>
        <p:spPr>
          <a:xfrm>
            <a:off x="4388995" y="3776032"/>
            <a:ext cx="3308628" cy="275484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Projekterfahrung</a:t>
            </a:r>
            <a:endParaRPr lang="de-DE" sz="1400" dirty="0"/>
          </a:p>
        </p:txBody>
      </p:sp>
      <p:sp>
        <p:nvSpPr>
          <p:cNvPr id="61" name="Rechteck 60"/>
          <p:cNvSpPr/>
          <p:nvPr/>
        </p:nvSpPr>
        <p:spPr>
          <a:xfrm>
            <a:off x="4384605" y="4079276"/>
            <a:ext cx="3312368" cy="1209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</p:txBody>
      </p:sp>
      <p:sp>
        <p:nvSpPr>
          <p:cNvPr id="62" name="Abgerundetes Rechteck 61"/>
          <p:cNvSpPr/>
          <p:nvPr/>
        </p:nvSpPr>
        <p:spPr>
          <a:xfrm>
            <a:off x="4388995" y="5381412"/>
            <a:ext cx="3308628" cy="275484"/>
          </a:xfrm>
          <a:prstGeom prst="roundRect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Weitere Berufserfahrungen</a:t>
            </a:r>
            <a:endParaRPr lang="de-DE" sz="1400" dirty="0"/>
          </a:p>
        </p:txBody>
      </p:sp>
      <p:sp>
        <p:nvSpPr>
          <p:cNvPr id="63" name="Rechteck 62"/>
          <p:cNvSpPr/>
          <p:nvPr/>
        </p:nvSpPr>
        <p:spPr>
          <a:xfrm>
            <a:off x="4384605" y="5684656"/>
            <a:ext cx="3312368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aktika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Ausbildung, etc.</a:t>
            </a:r>
          </a:p>
        </p:txBody>
      </p:sp>
      <p:sp>
        <p:nvSpPr>
          <p:cNvPr id="64" name="Abgerundetes Rechteck 63"/>
          <p:cNvSpPr/>
          <p:nvPr/>
        </p:nvSpPr>
        <p:spPr>
          <a:xfrm>
            <a:off x="8129021" y="1462500"/>
            <a:ext cx="1246420" cy="1246420"/>
          </a:xfrm>
          <a:prstGeom prst="roundRect">
            <a:avLst/>
          </a:prstGeom>
          <a:blipFill dpi="0" rotWithShape="1">
            <a:blip r:embed="rId4"/>
            <a:srcRect/>
            <a:tile tx="0" ty="0" sx="25000" sy="25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5" name="Textfeld 64"/>
          <p:cNvSpPr txBox="1"/>
          <p:nvPr/>
        </p:nvSpPr>
        <p:spPr>
          <a:xfrm>
            <a:off x="9425165" y="1484784"/>
            <a:ext cx="3139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Vorname Nachname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9437022" y="1753071"/>
            <a:ext cx="313969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Projektmitglied</a:t>
            </a:r>
          </a:p>
          <a:p>
            <a:r>
              <a:rPr lang="de-DE" sz="1100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Consultant</a:t>
            </a:r>
          </a:p>
        </p:txBody>
      </p:sp>
      <p:sp>
        <p:nvSpPr>
          <p:cNvPr id="67" name="Abgerundetes Rechteck 66"/>
          <p:cNvSpPr/>
          <p:nvPr/>
        </p:nvSpPr>
        <p:spPr>
          <a:xfrm>
            <a:off x="8133411" y="2909732"/>
            <a:ext cx="3308628" cy="275484"/>
          </a:xfrm>
          <a:prstGeom prst="round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Studium</a:t>
            </a:r>
            <a:endParaRPr lang="de-DE" sz="1400" dirty="0"/>
          </a:p>
        </p:txBody>
      </p:sp>
      <p:sp>
        <p:nvSpPr>
          <p:cNvPr id="68" name="Rechteck 67"/>
          <p:cNvSpPr/>
          <p:nvPr/>
        </p:nvSpPr>
        <p:spPr>
          <a:xfrm>
            <a:off x="8129021" y="3212976"/>
            <a:ext cx="331236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Studiengant, Semesterzahl</a:t>
            </a:r>
          </a:p>
          <a:p>
            <a:pPr>
              <a:lnSpc>
                <a:spcPts val="1540"/>
              </a:lnSpc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</a:t>
            </a:r>
            <a:r>
              <a:rPr lang="de-DE" sz="1100" dirty="0">
                <a:solidFill>
                  <a:srgbClr val="273375"/>
                </a:solidFill>
                <a:latin typeface="Arial" charset="0"/>
              </a:rPr>
              <a:t> </a:t>
            </a:r>
            <a:r>
              <a:rPr lang="de-DE" sz="1100" dirty="0" err="1">
                <a:solidFill>
                  <a:srgbClr val="273375"/>
                </a:solidFill>
                <a:latin typeface="Arial" charset="0"/>
              </a:rPr>
              <a:t>Vertiefer</a:t>
            </a:r>
            <a:endParaRPr lang="de-DE" sz="1100" dirty="0">
              <a:solidFill>
                <a:srgbClr val="273375"/>
              </a:solidFill>
              <a:latin typeface="Arial" charset="0"/>
            </a:endParaRPr>
          </a:p>
        </p:txBody>
      </p:sp>
      <p:sp>
        <p:nvSpPr>
          <p:cNvPr id="69" name="Abgerundetes Rechteck 68"/>
          <p:cNvSpPr/>
          <p:nvPr/>
        </p:nvSpPr>
        <p:spPr>
          <a:xfrm>
            <a:off x="8133411" y="3776032"/>
            <a:ext cx="3308628" cy="275484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Projekterfahrung</a:t>
            </a:r>
            <a:endParaRPr lang="de-DE" sz="1400" dirty="0"/>
          </a:p>
        </p:txBody>
      </p:sp>
      <p:sp>
        <p:nvSpPr>
          <p:cNvPr id="70" name="Rechteck 69"/>
          <p:cNvSpPr/>
          <p:nvPr/>
        </p:nvSpPr>
        <p:spPr>
          <a:xfrm>
            <a:off x="8129021" y="4079276"/>
            <a:ext cx="3312368" cy="1209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 dirty="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flistung von Projekten bei Janus Consultants und anderen Beratungen</a:t>
            </a:r>
          </a:p>
        </p:txBody>
      </p:sp>
      <p:sp>
        <p:nvSpPr>
          <p:cNvPr id="71" name="Abgerundetes Rechteck 70"/>
          <p:cNvSpPr/>
          <p:nvPr/>
        </p:nvSpPr>
        <p:spPr>
          <a:xfrm>
            <a:off x="8133411" y="5381412"/>
            <a:ext cx="3308628" cy="275484"/>
          </a:xfrm>
          <a:prstGeom prst="roundRect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de-DE" sz="1400" b="1" dirty="0"/>
              <a:t>Weitere Berufserfahrungen</a:t>
            </a:r>
            <a:endParaRPr lang="de-DE" sz="1400" dirty="0"/>
          </a:p>
        </p:txBody>
      </p:sp>
      <p:sp>
        <p:nvSpPr>
          <p:cNvPr id="72" name="Rechteck 71"/>
          <p:cNvSpPr/>
          <p:nvPr/>
        </p:nvSpPr>
        <p:spPr>
          <a:xfrm>
            <a:off x="8129021" y="5684656"/>
            <a:ext cx="3312368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tx1"/>
              </a:buClr>
              <a:buSzPct val="100000"/>
            </a:pPr>
            <a:r>
              <a:rPr lang="de-DE" sz="1100">
                <a:solidFill>
                  <a:srgbClr val="3D68B0"/>
                </a:solidFill>
                <a:latin typeface="Arial" charset="0"/>
              </a:rPr>
              <a:t>● </a:t>
            </a:r>
            <a:r>
              <a:rPr lang="de-DE" altLang="de-DE" sz="11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aktika</a:t>
            </a:r>
            <a:r>
              <a:rPr lang="de-DE" altLang="de-DE" sz="11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Ausbildung, etc.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473342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3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jektübersicht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jektname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Abgerundetes Rechteck 2"/>
          <p:cNvSpPr/>
          <p:nvPr/>
        </p:nvSpPr>
        <p:spPr>
          <a:xfrm>
            <a:off x="508029" y="1484312"/>
            <a:ext cx="4221134" cy="4221134"/>
          </a:xfrm>
          <a:prstGeom prst="round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7824192" y="1735003"/>
            <a:ext cx="3096344" cy="42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40"/>
              </a:lnSpc>
            </a:pP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ies ist ein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ypoblindtext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. An ihm kann man sehen, ob alle Buchstaben da sind und wie sie aussehen. Manchmal benutzt man Worte wie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Hamburgefonts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Rafgenduks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oder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Handgloves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, um Schriften zu testen. Manchmal Sätze, die alle Buchstaben des Alphabets enthalten - man nennt diese Sätze »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angrams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«. Sehr bekannt ist dieser: The quick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brown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ox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jumps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over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lazy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old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og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. Oft werden in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ypoblindtexte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auch fremdsprachige Satzteile eingebaut (AVAIL®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nd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Wefox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™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re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testing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aussi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la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Kerning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), um die Wirkung in anderen Sprachen zu testen. In Lateinisch sieht zum Beispiel fast jede Schrift gut aus.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Quod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at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de-DE" sz="1200" dirty="0" err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emonstrandum</a:t>
            </a:r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endParaRPr lang="de-DE" sz="1200" dirty="0">
              <a:solidFill>
                <a:srgbClr val="1D2262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2" name="Gruppierung 1"/>
          <p:cNvGrpSpPr/>
          <p:nvPr/>
        </p:nvGrpSpPr>
        <p:grpSpPr>
          <a:xfrm>
            <a:off x="5087888" y="3284984"/>
            <a:ext cx="3139698" cy="2647561"/>
            <a:chOff x="1055440" y="4212377"/>
            <a:chExt cx="3139698" cy="2647561"/>
          </a:xfrm>
        </p:grpSpPr>
        <p:sp>
          <p:nvSpPr>
            <p:cNvPr id="43" name="Textfeld 42"/>
            <p:cNvSpPr txBox="1"/>
            <p:nvPr/>
          </p:nvSpPr>
          <p:spPr>
            <a:xfrm>
              <a:off x="1055440" y="4983559"/>
              <a:ext cx="313969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Ort</a:t>
              </a:r>
            </a:p>
            <a:p>
              <a:r>
                <a:rPr 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Mitarbeitername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055440" y="4212377"/>
              <a:ext cx="31396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Firmenname, Gesellschaftsform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055440" y="6429051"/>
              <a:ext cx="313969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urchführungszeitraum:</a:t>
              </a:r>
            </a:p>
            <a:p>
              <a:r>
                <a:rPr lang="de-DE" sz="11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MM / JJJJJ — MM / JJJJ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1055440" y="5591139"/>
              <a:ext cx="313969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ranche:	</a:t>
              </a:r>
              <a:r>
                <a:rPr lang="de-DE" sz="105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Branchenbezeichnung</a:t>
              </a:r>
            </a:p>
            <a:p>
              <a:r>
                <a:rPr lang="de-DE" sz="1200" b="1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Volumen:	</a:t>
              </a:r>
              <a:r>
                <a:rPr lang="de-DE" sz="11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00,0 Beratertage</a:t>
              </a:r>
            </a:p>
            <a:p>
              <a:endParaRPr lang="de-DE" sz="12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5" name="Abgerundetes Rechteck 34"/>
          <p:cNvSpPr/>
          <p:nvPr/>
        </p:nvSpPr>
        <p:spPr>
          <a:xfrm>
            <a:off x="5087888" y="1484784"/>
            <a:ext cx="1260000" cy="1246420"/>
          </a:xfrm>
          <a:prstGeom prst="round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rgbClr val="CFD4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>
            <a:off x="7824192" y="1404922"/>
            <a:ext cx="31396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jektinhalt:</a:t>
            </a:r>
            <a:endParaRPr lang="de-DE" sz="12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422542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74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ymbol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Subheadline falls vorhanden</a:t>
            </a:r>
          </a:p>
        </p:txBody>
      </p:sp>
      <p:grpSp>
        <p:nvGrpSpPr>
          <p:cNvPr id="31" name="Gruppierung 30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2" name="Gerade Verbindung 31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ung 3"/>
          <p:cNvGrpSpPr/>
          <p:nvPr/>
        </p:nvGrpSpPr>
        <p:grpSpPr>
          <a:xfrm>
            <a:off x="8256240" y="1431280"/>
            <a:ext cx="323850" cy="4113748"/>
            <a:chOff x="6515100" y="1547500"/>
            <a:chExt cx="323850" cy="4113748"/>
          </a:xfrm>
        </p:grpSpPr>
        <p:grpSp>
          <p:nvGrpSpPr>
            <p:cNvPr id="136" name="Gruppieren 176"/>
            <p:cNvGrpSpPr>
              <a:grpSpLocks/>
            </p:cNvGrpSpPr>
            <p:nvPr/>
          </p:nvGrpSpPr>
          <p:grpSpPr bwMode="auto">
            <a:xfrm>
              <a:off x="6515100" y="1600200"/>
              <a:ext cx="323850" cy="4037013"/>
              <a:chOff x="4851400" y="1752600"/>
              <a:chExt cx="323850" cy="4643438"/>
            </a:xfrm>
          </p:grpSpPr>
          <p:sp>
            <p:nvSpPr>
              <p:cNvPr id="139" name="AutoShape 17"/>
              <p:cNvSpPr>
                <a:spLocks noChangeArrowheads="1"/>
              </p:cNvSpPr>
              <p:nvPr/>
            </p:nvSpPr>
            <p:spPr bwMode="auto">
              <a:xfrm>
                <a:off x="4851400" y="1752600"/>
                <a:ext cx="323850" cy="4643438"/>
              </a:xfrm>
              <a:prstGeom prst="bracketPair">
                <a:avLst>
                  <a:gd name="adj" fmla="val 0"/>
                </a:avLst>
              </a:prstGeom>
              <a:gradFill rotWithShape="0">
                <a:gsLst>
                  <a:gs pos="100000">
                    <a:srgbClr val="2F52A0"/>
                  </a:gs>
                  <a:gs pos="0">
                    <a:srgbClr val="00AAFF"/>
                  </a:gs>
                </a:gsLst>
                <a:lin ang="5400000" scaled="1"/>
              </a:gradFill>
              <a:ln w="222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  <p:sp>
            <p:nvSpPr>
              <p:cNvPr id="140" name="Rectangle 18"/>
              <p:cNvSpPr>
                <a:spLocks noChangeArrowheads="1"/>
              </p:cNvSpPr>
              <p:nvPr/>
            </p:nvSpPr>
            <p:spPr bwMode="auto">
              <a:xfrm>
                <a:off x="4933950" y="6175375"/>
                <a:ext cx="160338" cy="16033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de-DE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3" name="Textfeld 2"/>
            <p:cNvSpPr txBox="1"/>
            <p:nvPr/>
          </p:nvSpPr>
          <p:spPr>
            <a:xfrm>
              <a:off x="6528048" y="5291916"/>
              <a:ext cx="2880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–</a:t>
              </a:r>
            </a:p>
          </p:txBody>
        </p:sp>
        <p:sp>
          <p:nvSpPr>
            <p:cNvPr id="144" name="Textfeld 143"/>
            <p:cNvSpPr txBox="1"/>
            <p:nvPr/>
          </p:nvSpPr>
          <p:spPr>
            <a:xfrm>
              <a:off x="6528048" y="1547500"/>
              <a:ext cx="2880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+</a:t>
              </a:r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9073558" y="1412776"/>
            <a:ext cx="588624" cy="769441"/>
            <a:chOff x="9073558" y="2065005"/>
            <a:chExt cx="588624" cy="769441"/>
          </a:xfrm>
        </p:grpSpPr>
        <p:sp>
          <p:nvSpPr>
            <p:cNvPr id="8" name="Oval 7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6" name="Textfeld 145"/>
            <p:cNvSpPr txBox="1"/>
            <p:nvPr/>
          </p:nvSpPr>
          <p:spPr>
            <a:xfrm>
              <a:off x="9109507" y="2065005"/>
              <a:ext cx="514885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+</a:t>
              </a:r>
            </a:p>
          </p:txBody>
        </p:sp>
      </p:grpSp>
      <p:grpSp>
        <p:nvGrpSpPr>
          <p:cNvPr id="147" name="Gruppierung 146"/>
          <p:cNvGrpSpPr/>
          <p:nvPr/>
        </p:nvGrpSpPr>
        <p:grpSpPr>
          <a:xfrm>
            <a:off x="9074490" y="2155503"/>
            <a:ext cx="586760" cy="769441"/>
            <a:chOff x="9073558" y="2021138"/>
            <a:chExt cx="588624" cy="769441"/>
          </a:xfrm>
        </p:grpSpPr>
        <p:sp>
          <p:nvSpPr>
            <p:cNvPr id="148" name="Oval 147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Textfeld 148"/>
            <p:cNvSpPr txBox="1"/>
            <p:nvPr/>
          </p:nvSpPr>
          <p:spPr>
            <a:xfrm>
              <a:off x="9107174" y="2021138"/>
              <a:ext cx="50044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–</a:t>
              </a:r>
            </a:p>
          </p:txBody>
        </p:sp>
      </p:grpSp>
      <p:grpSp>
        <p:nvGrpSpPr>
          <p:cNvPr id="155" name="Gruppierung 154"/>
          <p:cNvGrpSpPr/>
          <p:nvPr/>
        </p:nvGrpSpPr>
        <p:grpSpPr>
          <a:xfrm>
            <a:off x="8973252" y="3134578"/>
            <a:ext cx="688930" cy="1446550"/>
            <a:chOff x="8973252" y="2041684"/>
            <a:chExt cx="688930" cy="1446550"/>
          </a:xfrm>
        </p:grpSpPr>
        <p:sp>
          <p:nvSpPr>
            <p:cNvPr id="156" name="Oval 155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7" name="Textfeld 156"/>
            <p:cNvSpPr txBox="1"/>
            <p:nvPr/>
          </p:nvSpPr>
          <p:spPr>
            <a:xfrm>
              <a:off x="8973252" y="2041684"/>
              <a:ext cx="651140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k-SK" sz="4400" b="1" dirty="0">
                  <a:latin typeface="Arial" charset="0"/>
                  <a:ea typeface="Arial" charset="0"/>
                  <a:cs typeface="Arial" charset="0"/>
                </a:rPr>
                <a:t> </a:t>
              </a:r>
              <a:r>
                <a:rPr lang="sk-SK" sz="44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÷</a:t>
              </a:r>
              <a:endParaRPr lang="sk-SK" sz="4400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61" name="Gruppierung 160"/>
          <p:cNvGrpSpPr/>
          <p:nvPr/>
        </p:nvGrpSpPr>
        <p:grpSpPr>
          <a:xfrm>
            <a:off x="9074490" y="3998674"/>
            <a:ext cx="586760" cy="1446550"/>
            <a:chOff x="9073558" y="2041684"/>
            <a:chExt cx="588624" cy="1446550"/>
          </a:xfrm>
        </p:grpSpPr>
        <p:sp>
          <p:nvSpPr>
            <p:cNvPr id="162" name="Oval 161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3" name="Textfeld 162"/>
            <p:cNvSpPr txBox="1"/>
            <p:nvPr/>
          </p:nvSpPr>
          <p:spPr>
            <a:xfrm>
              <a:off x="9108686" y="2041684"/>
              <a:ext cx="516521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×</a:t>
              </a:r>
              <a:endParaRPr lang="de-DE" sz="4400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64" name="Gruppierung 163"/>
          <p:cNvGrpSpPr/>
          <p:nvPr/>
        </p:nvGrpSpPr>
        <p:grpSpPr>
          <a:xfrm>
            <a:off x="9074490" y="4862770"/>
            <a:ext cx="586760" cy="1446550"/>
            <a:chOff x="9073558" y="2041684"/>
            <a:chExt cx="588624" cy="1446550"/>
          </a:xfrm>
        </p:grpSpPr>
        <p:sp>
          <p:nvSpPr>
            <p:cNvPr id="165" name="Oval 164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6" name="Textfeld 165"/>
            <p:cNvSpPr txBox="1"/>
            <p:nvPr/>
          </p:nvSpPr>
          <p:spPr>
            <a:xfrm>
              <a:off x="9108686" y="2041684"/>
              <a:ext cx="516521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00AAFF"/>
                  </a:solidFill>
                  <a:latin typeface="Arial" charset="0"/>
                  <a:ea typeface="Arial" charset="0"/>
                  <a:cs typeface="Arial" charset="0"/>
                </a:rPr>
                <a:t>=</a:t>
              </a:r>
              <a:endParaRPr lang="de-DE" sz="4400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00AA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67" name="Gruppierung 166"/>
          <p:cNvGrpSpPr/>
          <p:nvPr/>
        </p:nvGrpSpPr>
        <p:grpSpPr>
          <a:xfrm>
            <a:off x="10043880" y="1412776"/>
            <a:ext cx="588624" cy="769441"/>
            <a:chOff x="9073558" y="2065005"/>
            <a:chExt cx="588624" cy="769441"/>
          </a:xfrm>
        </p:grpSpPr>
        <p:sp>
          <p:nvSpPr>
            <p:cNvPr id="168" name="Oval 167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9" name="Textfeld 168"/>
            <p:cNvSpPr txBox="1"/>
            <p:nvPr/>
          </p:nvSpPr>
          <p:spPr>
            <a:xfrm>
              <a:off x="9109507" y="2065005"/>
              <a:ext cx="514885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+</a:t>
              </a:r>
            </a:p>
          </p:txBody>
        </p:sp>
      </p:grpSp>
      <p:grpSp>
        <p:nvGrpSpPr>
          <p:cNvPr id="170" name="Gruppierung 169"/>
          <p:cNvGrpSpPr/>
          <p:nvPr/>
        </p:nvGrpSpPr>
        <p:grpSpPr>
          <a:xfrm>
            <a:off x="10044812" y="2155503"/>
            <a:ext cx="586760" cy="769441"/>
            <a:chOff x="9073558" y="2021138"/>
            <a:chExt cx="588624" cy="769441"/>
          </a:xfrm>
        </p:grpSpPr>
        <p:sp>
          <p:nvSpPr>
            <p:cNvPr id="171" name="Oval 170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BC04"/>
                </a:solidFill>
              </a:endParaRPr>
            </a:p>
          </p:txBody>
        </p:sp>
        <p:sp>
          <p:nvSpPr>
            <p:cNvPr id="172" name="Textfeld 171"/>
            <p:cNvSpPr txBox="1"/>
            <p:nvPr/>
          </p:nvSpPr>
          <p:spPr>
            <a:xfrm>
              <a:off x="9107174" y="2021138"/>
              <a:ext cx="50044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–</a:t>
              </a:r>
            </a:p>
          </p:txBody>
        </p:sp>
      </p:grpSp>
      <p:grpSp>
        <p:nvGrpSpPr>
          <p:cNvPr id="173" name="Gruppierung 172"/>
          <p:cNvGrpSpPr/>
          <p:nvPr/>
        </p:nvGrpSpPr>
        <p:grpSpPr>
          <a:xfrm>
            <a:off x="9943574" y="3134578"/>
            <a:ext cx="688930" cy="1446550"/>
            <a:chOff x="8973252" y="2041684"/>
            <a:chExt cx="688930" cy="1446550"/>
          </a:xfrm>
        </p:grpSpPr>
        <p:sp>
          <p:nvSpPr>
            <p:cNvPr id="174" name="Oval 173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BC04"/>
                </a:solidFill>
              </a:endParaRPr>
            </a:p>
          </p:txBody>
        </p:sp>
        <p:sp>
          <p:nvSpPr>
            <p:cNvPr id="175" name="Textfeld 174"/>
            <p:cNvSpPr txBox="1"/>
            <p:nvPr/>
          </p:nvSpPr>
          <p:spPr>
            <a:xfrm>
              <a:off x="8973252" y="2041684"/>
              <a:ext cx="651140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k-SK" sz="44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 ÷</a:t>
              </a:r>
              <a:endParaRPr lang="sk-SK" sz="4400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76" name="Gruppierung 175"/>
          <p:cNvGrpSpPr/>
          <p:nvPr/>
        </p:nvGrpSpPr>
        <p:grpSpPr>
          <a:xfrm>
            <a:off x="10044812" y="3998674"/>
            <a:ext cx="586760" cy="1446550"/>
            <a:chOff x="9073558" y="2041684"/>
            <a:chExt cx="588624" cy="1446550"/>
          </a:xfrm>
        </p:grpSpPr>
        <p:sp>
          <p:nvSpPr>
            <p:cNvPr id="177" name="Oval 176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BC04"/>
                </a:solidFill>
              </a:endParaRPr>
            </a:p>
          </p:txBody>
        </p:sp>
        <p:sp>
          <p:nvSpPr>
            <p:cNvPr id="178" name="Textfeld 177"/>
            <p:cNvSpPr txBox="1"/>
            <p:nvPr/>
          </p:nvSpPr>
          <p:spPr>
            <a:xfrm>
              <a:off x="9108686" y="2041684"/>
              <a:ext cx="516521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×</a:t>
              </a:r>
              <a:endParaRPr lang="de-DE" sz="4400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79" name="Gruppierung 178"/>
          <p:cNvGrpSpPr/>
          <p:nvPr/>
        </p:nvGrpSpPr>
        <p:grpSpPr>
          <a:xfrm>
            <a:off x="10044812" y="4862770"/>
            <a:ext cx="586760" cy="1446550"/>
            <a:chOff x="9073558" y="2041684"/>
            <a:chExt cx="588624" cy="1446550"/>
          </a:xfrm>
        </p:grpSpPr>
        <p:sp>
          <p:nvSpPr>
            <p:cNvPr id="180" name="Oval 179"/>
            <p:cNvSpPr/>
            <p:nvPr/>
          </p:nvSpPr>
          <p:spPr>
            <a:xfrm>
              <a:off x="9073558" y="2156193"/>
              <a:ext cx="588624" cy="588624"/>
            </a:xfrm>
            <a:prstGeom prst="ellips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BC04"/>
                </a:solidFill>
              </a:endParaRPr>
            </a:p>
          </p:txBody>
        </p:sp>
        <p:sp>
          <p:nvSpPr>
            <p:cNvPr id="181" name="Textfeld 180"/>
            <p:cNvSpPr txBox="1"/>
            <p:nvPr/>
          </p:nvSpPr>
          <p:spPr>
            <a:xfrm>
              <a:off x="9108686" y="2041684"/>
              <a:ext cx="516521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400" b="1" dirty="0">
                  <a:solidFill>
                    <a:srgbClr val="FFBC04"/>
                  </a:solidFill>
                  <a:latin typeface="Arial" charset="0"/>
                  <a:ea typeface="Arial" charset="0"/>
                  <a:cs typeface="Arial" charset="0"/>
                </a:rPr>
                <a:t>=</a:t>
              </a:r>
              <a:endParaRPr lang="de-DE" sz="4400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endParaRPr lang="de-DE" sz="4400" b="1" dirty="0">
                <a:solidFill>
                  <a:srgbClr val="FFBC04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84" name="Textfeld 183"/>
          <p:cNvSpPr txBox="1"/>
          <p:nvPr/>
        </p:nvSpPr>
        <p:spPr>
          <a:xfrm>
            <a:off x="11015933" y="1412776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+</a:t>
            </a:r>
          </a:p>
        </p:txBody>
      </p:sp>
      <p:sp>
        <p:nvSpPr>
          <p:cNvPr id="187" name="Textfeld 186"/>
          <p:cNvSpPr txBox="1"/>
          <p:nvPr/>
        </p:nvSpPr>
        <p:spPr>
          <a:xfrm>
            <a:off x="11014426" y="2155503"/>
            <a:ext cx="4988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–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10879678" y="3134578"/>
            <a:ext cx="651140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4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 ÷</a:t>
            </a:r>
            <a:endParaRPr lang="sk-SK" sz="4400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  <a:p>
            <a:endParaRPr lang="de-DE" sz="4400" b="1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93" name="Textfeld 192"/>
          <p:cNvSpPr txBox="1"/>
          <p:nvPr/>
        </p:nvSpPr>
        <p:spPr>
          <a:xfrm>
            <a:off x="11015933" y="3998674"/>
            <a:ext cx="514885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×</a:t>
            </a:r>
            <a:endParaRPr lang="de-DE" sz="4400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  <a:p>
            <a:endParaRPr lang="de-DE" sz="4400" b="1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96" name="Textfeld 195"/>
          <p:cNvSpPr txBox="1"/>
          <p:nvPr/>
        </p:nvSpPr>
        <p:spPr>
          <a:xfrm>
            <a:off x="11015933" y="4862770"/>
            <a:ext cx="514885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 dirty="0">
                <a:solidFill>
                  <a:srgbClr val="2F52A0"/>
                </a:solidFill>
                <a:latin typeface="Arial" charset="0"/>
                <a:ea typeface="Arial" charset="0"/>
                <a:cs typeface="Arial" charset="0"/>
              </a:rPr>
              <a:t>=</a:t>
            </a:r>
            <a:endParaRPr lang="de-DE" sz="4400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  <a:p>
            <a:endParaRPr lang="de-DE" sz="4400" b="1" dirty="0">
              <a:solidFill>
                <a:srgbClr val="2F52A0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14" name="Gruppierung 13"/>
          <p:cNvGrpSpPr/>
          <p:nvPr/>
        </p:nvGrpSpPr>
        <p:grpSpPr>
          <a:xfrm>
            <a:off x="4521340" y="1484313"/>
            <a:ext cx="2651378" cy="1724686"/>
            <a:chOff x="2063750" y="2060848"/>
            <a:chExt cx="3744218" cy="2435564"/>
          </a:xfrm>
        </p:grpSpPr>
        <p:sp>
          <p:nvSpPr>
            <p:cNvPr id="197" name="Abgerundetes Rechteck 196"/>
            <p:cNvSpPr/>
            <p:nvPr/>
          </p:nvSpPr>
          <p:spPr>
            <a:xfrm>
              <a:off x="2063750" y="2060848"/>
              <a:ext cx="3744218" cy="2016224"/>
            </a:xfrm>
            <a:prstGeom prst="round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r>
                <a:rPr lang="de-DE" dirty="0">
                  <a:solidFill>
                    <a:srgbClr val="2F52A0"/>
                  </a:solidFill>
                </a:rPr>
                <a:t>Text</a:t>
              </a:r>
            </a:p>
          </p:txBody>
        </p:sp>
        <p:sp>
          <p:nvSpPr>
            <p:cNvPr id="198" name="Dreieck 197"/>
            <p:cNvSpPr/>
            <p:nvPr/>
          </p:nvSpPr>
          <p:spPr>
            <a:xfrm rot="10800000">
              <a:off x="3503712" y="4077072"/>
              <a:ext cx="792088" cy="419340"/>
            </a:xfrm>
            <a:prstGeom prst="triangle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7" name="Gruppierung 16"/>
          <p:cNvGrpSpPr/>
          <p:nvPr/>
        </p:nvGrpSpPr>
        <p:grpSpPr>
          <a:xfrm>
            <a:off x="4405157" y="4293096"/>
            <a:ext cx="385462" cy="385464"/>
            <a:chOff x="4739859" y="3377988"/>
            <a:chExt cx="209794" cy="209794"/>
          </a:xfrm>
        </p:grpSpPr>
        <p:sp>
          <p:nvSpPr>
            <p:cNvPr id="200" name="Träne 199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1" name="Textfeld 200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</p:grpSp>
      <p:grpSp>
        <p:nvGrpSpPr>
          <p:cNvPr id="205" name="Gruppierung 204"/>
          <p:cNvGrpSpPr/>
          <p:nvPr/>
        </p:nvGrpSpPr>
        <p:grpSpPr>
          <a:xfrm>
            <a:off x="4981494" y="4293096"/>
            <a:ext cx="385462" cy="385464"/>
            <a:chOff x="4739859" y="3377988"/>
            <a:chExt cx="209794" cy="209794"/>
          </a:xfrm>
        </p:grpSpPr>
        <p:sp>
          <p:nvSpPr>
            <p:cNvPr id="206" name="Träne 205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7" name="Textfeld 206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</p:grpSp>
      <p:grpSp>
        <p:nvGrpSpPr>
          <p:cNvPr id="208" name="Gruppierung 207"/>
          <p:cNvGrpSpPr/>
          <p:nvPr/>
        </p:nvGrpSpPr>
        <p:grpSpPr>
          <a:xfrm>
            <a:off x="5567661" y="4293096"/>
            <a:ext cx="385462" cy="385464"/>
            <a:chOff x="4739859" y="3377988"/>
            <a:chExt cx="209794" cy="209794"/>
          </a:xfrm>
        </p:grpSpPr>
        <p:sp>
          <p:nvSpPr>
            <p:cNvPr id="209" name="Träne 208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0" name="Textfeld 209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</p:grpSp>
      <p:grpSp>
        <p:nvGrpSpPr>
          <p:cNvPr id="211" name="Gruppierung 210"/>
          <p:cNvGrpSpPr/>
          <p:nvPr/>
        </p:nvGrpSpPr>
        <p:grpSpPr>
          <a:xfrm>
            <a:off x="6180208" y="4293096"/>
            <a:ext cx="385462" cy="385464"/>
            <a:chOff x="4739859" y="3377988"/>
            <a:chExt cx="209794" cy="209794"/>
          </a:xfrm>
        </p:grpSpPr>
        <p:sp>
          <p:nvSpPr>
            <p:cNvPr id="212" name="Träne 211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Textfeld 212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4</a:t>
              </a:r>
            </a:p>
          </p:txBody>
        </p:sp>
      </p:grpSp>
      <p:grpSp>
        <p:nvGrpSpPr>
          <p:cNvPr id="214" name="Gruppierung 213"/>
          <p:cNvGrpSpPr/>
          <p:nvPr/>
        </p:nvGrpSpPr>
        <p:grpSpPr>
          <a:xfrm>
            <a:off x="6790658" y="4293096"/>
            <a:ext cx="385462" cy="385464"/>
            <a:chOff x="4739859" y="3377988"/>
            <a:chExt cx="209794" cy="209794"/>
          </a:xfrm>
        </p:grpSpPr>
        <p:sp>
          <p:nvSpPr>
            <p:cNvPr id="215" name="Träne 214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solidFill>
              <a:srgbClr val="E3E8EC"/>
            </a:solidFill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6" name="Textfeld 215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rgbClr val="2F52A0"/>
                  </a:solidFill>
                  <a:latin typeface="Arial" charset="0"/>
                  <a:ea typeface="Arial" charset="0"/>
                  <a:cs typeface="Arial" charset="0"/>
                </a:rPr>
                <a:t>5</a:t>
              </a:r>
            </a:p>
          </p:txBody>
        </p:sp>
      </p:grpSp>
      <p:grpSp>
        <p:nvGrpSpPr>
          <p:cNvPr id="217" name="Gruppierung 216"/>
          <p:cNvGrpSpPr/>
          <p:nvPr/>
        </p:nvGrpSpPr>
        <p:grpSpPr>
          <a:xfrm>
            <a:off x="4405157" y="5030835"/>
            <a:ext cx="385462" cy="385464"/>
            <a:chOff x="4739859" y="3377988"/>
            <a:chExt cx="209794" cy="209794"/>
          </a:xfrm>
          <a:solidFill>
            <a:srgbClr val="2F52A0"/>
          </a:solidFill>
        </p:grpSpPr>
        <p:sp>
          <p:nvSpPr>
            <p:cNvPr id="218" name="Träne 217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grpFill/>
            <a:ln>
              <a:solidFill>
                <a:srgbClr val="1D22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19" name="Textfeld 218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grp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</p:grpSp>
      <p:grpSp>
        <p:nvGrpSpPr>
          <p:cNvPr id="220" name="Gruppierung 219"/>
          <p:cNvGrpSpPr/>
          <p:nvPr/>
        </p:nvGrpSpPr>
        <p:grpSpPr>
          <a:xfrm>
            <a:off x="4981494" y="5030835"/>
            <a:ext cx="385462" cy="385464"/>
            <a:chOff x="4739859" y="3377988"/>
            <a:chExt cx="209794" cy="209794"/>
          </a:xfrm>
          <a:solidFill>
            <a:srgbClr val="2F52A0"/>
          </a:solidFill>
        </p:grpSpPr>
        <p:sp>
          <p:nvSpPr>
            <p:cNvPr id="221" name="Träne 220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grpFill/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22" name="Textfeld 221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grp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</p:grpSp>
      <p:grpSp>
        <p:nvGrpSpPr>
          <p:cNvPr id="223" name="Gruppierung 222"/>
          <p:cNvGrpSpPr/>
          <p:nvPr/>
        </p:nvGrpSpPr>
        <p:grpSpPr>
          <a:xfrm>
            <a:off x="5567661" y="5030835"/>
            <a:ext cx="385462" cy="385464"/>
            <a:chOff x="4739859" y="3377988"/>
            <a:chExt cx="209794" cy="209794"/>
          </a:xfrm>
          <a:solidFill>
            <a:srgbClr val="2F52A0"/>
          </a:solidFill>
        </p:grpSpPr>
        <p:sp>
          <p:nvSpPr>
            <p:cNvPr id="224" name="Träne 223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grpFill/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25" name="Textfeld 224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grp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</p:grpSp>
      <p:grpSp>
        <p:nvGrpSpPr>
          <p:cNvPr id="226" name="Gruppierung 225"/>
          <p:cNvGrpSpPr/>
          <p:nvPr/>
        </p:nvGrpSpPr>
        <p:grpSpPr>
          <a:xfrm>
            <a:off x="6180208" y="5030835"/>
            <a:ext cx="385462" cy="385464"/>
            <a:chOff x="4739859" y="3377988"/>
            <a:chExt cx="209794" cy="209794"/>
          </a:xfrm>
          <a:solidFill>
            <a:srgbClr val="2F52A0"/>
          </a:solidFill>
        </p:grpSpPr>
        <p:sp>
          <p:nvSpPr>
            <p:cNvPr id="227" name="Träne 226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grpFill/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28" name="Textfeld 227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grp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4</a:t>
              </a:r>
            </a:p>
          </p:txBody>
        </p:sp>
      </p:grpSp>
      <p:grpSp>
        <p:nvGrpSpPr>
          <p:cNvPr id="229" name="Gruppierung 228"/>
          <p:cNvGrpSpPr/>
          <p:nvPr/>
        </p:nvGrpSpPr>
        <p:grpSpPr>
          <a:xfrm>
            <a:off x="6790658" y="5030835"/>
            <a:ext cx="385462" cy="385464"/>
            <a:chOff x="4739859" y="3377988"/>
            <a:chExt cx="209794" cy="209794"/>
          </a:xfrm>
          <a:solidFill>
            <a:srgbClr val="2F52A0"/>
          </a:solidFill>
        </p:grpSpPr>
        <p:sp>
          <p:nvSpPr>
            <p:cNvPr id="230" name="Träne 229"/>
            <p:cNvSpPr/>
            <p:nvPr/>
          </p:nvSpPr>
          <p:spPr>
            <a:xfrm rot="8100000">
              <a:off x="4739859" y="3377988"/>
              <a:ext cx="209794" cy="209794"/>
            </a:xfrm>
            <a:prstGeom prst="teardrop">
              <a:avLst/>
            </a:prstGeom>
            <a:grpFill/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31" name="Textfeld 230"/>
            <p:cNvSpPr txBox="1"/>
            <p:nvPr/>
          </p:nvSpPr>
          <p:spPr>
            <a:xfrm>
              <a:off x="4776642" y="3418075"/>
              <a:ext cx="143259" cy="142385"/>
            </a:xfrm>
            <a:prstGeom prst="rect">
              <a:avLst/>
            </a:prstGeom>
            <a:grp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5</a:t>
              </a:r>
            </a:p>
          </p:txBody>
        </p:sp>
      </p:grpSp>
      <p:sp>
        <p:nvSpPr>
          <p:cNvPr id="18" name="Rechteck 17"/>
          <p:cNvSpPr/>
          <p:nvPr/>
        </p:nvSpPr>
        <p:spPr>
          <a:xfrm>
            <a:off x="1703512" y="2198183"/>
            <a:ext cx="1224136" cy="504527"/>
          </a:xfrm>
          <a:prstGeom prst="rect">
            <a:avLst/>
          </a:prstGeom>
          <a:solidFill>
            <a:srgbClr val="00A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2" name="Rechteck 231"/>
          <p:cNvSpPr/>
          <p:nvPr/>
        </p:nvSpPr>
        <p:spPr>
          <a:xfrm>
            <a:off x="1703512" y="1477942"/>
            <a:ext cx="1224136" cy="504527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3" name="Rechteck 232"/>
          <p:cNvSpPr/>
          <p:nvPr/>
        </p:nvSpPr>
        <p:spPr>
          <a:xfrm>
            <a:off x="1703512" y="2924944"/>
            <a:ext cx="1224136" cy="504527"/>
          </a:xfrm>
          <a:prstGeom prst="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4" name="Rechteck 233"/>
          <p:cNvSpPr/>
          <p:nvPr/>
        </p:nvSpPr>
        <p:spPr>
          <a:xfrm>
            <a:off x="1703512" y="3644553"/>
            <a:ext cx="1224136" cy="504527"/>
          </a:xfrm>
          <a:prstGeom prst="rect">
            <a:avLst/>
          </a:prstGeom>
          <a:solidFill>
            <a:srgbClr val="1D2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5" name="Rechteck 234"/>
          <p:cNvSpPr/>
          <p:nvPr/>
        </p:nvSpPr>
        <p:spPr>
          <a:xfrm>
            <a:off x="1703512" y="4400740"/>
            <a:ext cx="1224136" cy="504527"/>
          </a:xfrm>
          <a:prstGeom prst="rect">
            <a:avLst/>
          </a:prstGeom>
          <a:solidFill>
            <a:srgbClr val="FFBC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590624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915" y="1624861"/>
            <a:ext cx="5106170" cy="360827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630278" y="4509120"/>
            <a:ext cx="6096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400" b="1" dirty="0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Janus Consultants e. V.</a:t>
            </a:r>
          </a:p>
          <a:p>
            <a:r>
              <a:rPr lang="de-DE" sz="1400" dirty="0" err="1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Königsworther</a:t>
            </a:r>
            <a:r>
              <a:rPr lang="de-DE" sz="1400" dirty="0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 Platz 1</a:t>
            </a:r>
          </a:p>
          <a:p>
            <a:r>
              <a:rPr lang="de-DE" sz="1400" dirty="0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30167 Hannover</a:t>
            </a:r>
          </a:p>
          <a:p>
            <a:endParaRPr lang="de-DE" sz="1400" dirty="0">
              <a:solidFill>
                <a:srgbClr val="273376"/>
              </a:solidFill>
              <a:effectLst/>
              <a:latin typeface="Arial" charset="0"/>
              <a:ea typeface="Arial" charset="0"/>
              <a:cs typeface="Arial" charset="0"/>
            </a:endParaRPr>
          </a:p>
          <a:p>
            <a:r>
              <a:rPr lang="de-DE" sz="1400" dirty="0" err="1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www.janus-consultants.de</a:t>
            </a:r>
            <a:r>
              <a:rPr lang="de-DE" sz="1400" dirty="0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 — </a:t>
            </a:r>
            <a:r>
              <a:rPr lang="de-DE" sz="1400" dirty="0" err="1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info@janus-colsultants.de</a:t>
            </a:r>
            <a:r>
              <a:rPr lang="de-DE" sz="1400" dirty="0">
                <a:solidFill>
                  <a:srgbClr val="27337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endParaRPr lang="de-DE" sz="1400" dirty="0">
              <a:solidFill>
                <a:srgbClr val="273376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2379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9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4 Blöcke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Im Quadrat</a:t>
            </a:r>
          </a:p>
        </p:txBody>
      </p:sp>
      <p:grpSp>
        <p:nvGrpSpPr>
          <p:cNvPr id="30" name="Gruppierung 29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31" name="Gerade Verbindung 30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Abgerundetes Rechteck 64"/>
          <p:cNvSpPr/>
          <p:nvPr/>
        </p:nvSpPr>
        <p:spPr>
          <a:xfrm>
            <a:off x="2063750" y="1484784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66" name="Gruppierung 65"/>
          <p:cNvGrpSpPr/>
          <p:nvPr/>
        </p:nvGrpSpPr>
        <p:grpSpPr>
          <a:xfrm>
            <a:off x="2063750" y="2060575"/>
            <a:ext cx="3744218" cy="1584449"/>
            <a:chOff x="2063750" y="2060575"/>
            <a:chExt cx="3744218" cy="2016125"/>
          </a:xfrm>
        </p:grpSpPr>
        <p:sp>
          <p:nvSpPr>
            <p:cNvPr id="67" name="Rechteck 66"/>
            <p:cNvSpPr>
              <a:spLocks noChangeAspect="1"/>
            </p:cNvSpPr>
            <p:nvPr/>
          </p:nvSpPr>
          <p:spPr>
            <a:xfrm>
              <a:off x="2063750" y="2060575"/>
              <a:ext cx="3744218" cy="2016125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Textfeld 67"/>
            <p:cNvSpPr txBox="1"/>
            <p:nvPr/>
          </p:nvSpPr>
          <p:spPr>
            <a:xfrm>
              <a:off x="2135561" y="2218520"/>
              <a:ext cx="3456384" cy="171130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9" name="Abgerundetes Rechteck 68"/>
          <p:cNvSpPr/>
          <p:nvPr/>
        </p:nvSpPr>
        <p:spPr>
          <a:xfrm>
            <a:off x="2063750" y="3717032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70" name="Gruppierung 69"/>
          <p:cNvGrpSpPr/>
          <p:nvPr/>
        </p:nvGrpSpPr>
        <p:grpSpPr>
          <a:xfrm>
            <a:off x="2063750" y="4292823"/>
            <a:ext cx="3744218" cy="1584449"/>
            <a:chOff x="2063750" y="2060575"/>
            <a:chExt cx="3744218" cy="2016125"/>
          </a:xfrm>
        </p:grpSpPr>
        <p:sp>
          <p:nvSpPr>
            <p:cNvPr id="71" name="Rechteck 70"/>
            <p:cNvSpPr>
              <a:spLocks noChangeAspect="1"/>
            </p:cNvSpPr>
            <p:nvPr/>
          </p:nvSpPr>
          <p:spPr>
            <a:xfrm>
              <a:off x="2063750" y="2060575"/>
              <a:ext cx="3744218" cy="2016125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Textfeld 71"/>
            <p:cNvSpPr txBox="1"/>
            <p:nvPr/>
          </p:nvSpPr>
          <p:spPr>
            <a:xfrm>
              <a:off x="2135561" y="2218520"/>
              <a:ext cx="3456384" cy="171130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3" name="Abgerundetes Rechteck 72"/>
          <p:cNvSpPr/>
          <p:nvPr/>
        </p:nvSpPr>
        <p:spPr>
          <a:xfrm>
            <a:off x="6102089" y="1484784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74" name="Gruppierung 73"/>
          <p:cNvGrpSpPr/>
          <p:nvPr/>
        </p:nvGrpSpPr>
        <p:grpSpPr>
          <a:xfrm>
            <a:off x="6102089" y="2060575"/>
            <a:ext cx="3744218" cy="1584449"/>
            <a:chOff x="2063750" y="2060575"/>
            <a:chExt cx="3744218" cy="2016125"/>
          </a:xfrm>
        </p:grpSpPr>
        <p:sp>
          <p:nvSpPr>
            <p:cNvPr id="75" name="Rechteck 74"/>
            <p:cNvSpPr>
              <a:spLocks noChangeAspect="1"/>
            </p:cNvSpPr>
            <p:nvPr/>
          </p:nvSpPr>
          <p:spPr>
            <a:xfrm>
              <a:off x="2063750" y="2060575"/>
              <a:ext cx="3744218" cy="2016125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2135561" y="2218520"/>
              <a:ext cx="3456384" cy="171130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7" name="Abgerundetes Rechteck 76"/>
          <p:cNvSpPr/>
          <p:nvPr/>
        </p:nvSpPr>
        <p:spPr>
          <a:xfrm>
            <a:off x="6102089" y="3717032"/>
            <a:ext cx="3744000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78" name="Gruppierung 77"/>
          <p:cNvGrpSpPr/>
          <p:nvPr/>
        </p:nvGrpSpPr>
        <p:grpSpPr>
          <a:xfrm>
            <a:off x="6102089" y="4292823"/>
            <a:ext cx="3744218" cy="1584449"/>
            <a:chOff x="2063750" y="2060575"/>
            <a:chExt cx="3744218" cy="2016125"/>
          </a:xfrm>
        </p:grpSpPr>
        <p:sp>
          <p:nvSpPr>
            <p:cNvPr id="79" name="Rechteck 78"/>
            <p:cNvSpPr>
              <a:spLocks noChangeAspect="1"/>
            </p:cNvSpPr>
            <p:nvPr/>
          </p:nvSpPr>
          <p:spPr>
            <a:xfrm>
              <a:off x="2063750" y="2060575"/>
              <a:ext cx="3744218" cy="2016125"/>
            </a:xfrm>
            <a:prstGeom prst="rect">
              <a:avLst/>
            </a:prstGeom>
            <a:solidFill>
              <a:srgbClr val="E3E8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Textfeld 79"/>
            <p:cNvSpPr txBox="1"/>
            <p:nvPr/>
          </p:nvSpPr>
          <p:spPr>
            <a:xfrm>
              <a:off x="2135561" y="2218520"/>
              <a:ext cx="3456384" cy="1711301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26029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-9526" y="6381064"/>
            <a:ext cx="12192000" cy="501650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758" y="6175260"/>
            <a:ext cx="1292375" cy="913258"/>
          </a:xfrm>
          <a:prstGeom prst="rect">
            <a:avLst/>
          </a:prstGeom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72327" y="6432034"/>
            <a:ext cx="415637" cy="365125"/>
          </a:xfrm>
          <a:ln>
            <a:noFill/>
          </a:ln>
        </p:spPr>
        <p:txBody>
          <a:bodyPr/>
          <a:lstStyle/>
          <a:p>
            <a:pPr algn="l"/>
            <a:fld id="{2500E7ED-5C83-664F-B4FE-CE4E06B01BBB}" type="slidenum">
              <a:rPr lang="de-DE" sz="1000" b="1" smtClean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pPr algn="l"/>
              <a:t>10</a:t>
            </a:fld>
            <a:endParaRPr lang="de-DE" sz="1000" b="1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07368" y="260648"/>
            <a:ext cx="705678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b="1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Prozess und Ergebnis</a:t>
            </a:r>
            <a:endParaRPr lang="de-DE" sz="19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07368" y="548680"/>
            <a:ext cx="3168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1 Stufe</a:t>
            </a:r>
          </a:p>
        </p:txBody>
      </p:sp>
      <p:grpSp>
        <p:nvGrpSpPr>
          <p:cNvPr id="20" name="Gruppierung 19"/>
          <p:cNvGrpSpPr/>
          <p:nvPr/>
        </p:nvGrpSpPr>
        <p:grpSpPr>
          <a:xfrm>
            <a:off x="0" y="450000"/>
            <a:ext cx="360362" cy="45336"/>
            <a:chOff x="0" y="404664"/>
            <a:chExt cx="360362" cy="45336"/>
          </a:xfrm>
        </p:grpSpPr>
        <p:cxnSp>
          <p:nvCxnSpPr>
            <p:cNvPr id="25" name="Gerade Verbindung 24"/>
            <p:cNvCxnSpPr/>
            <p:nvPr/>
          </p:nvCxnSpPr>
          <p:spPr>
            <a:xfrm>
              <a:off x="0" y="404664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0" y="450000"/>
              <a:ext cx="360362" cy="0"/>
            </a:xfrm>
            <a:prstGeom prst="line">
              <a:avLst/>
            </a:prstGeom>
            <a:ln w="19050" cap="rnd">
              <a:solidFill>
                <a:srgbClr val="2F52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hteck 20"/>
          <p:cNvSpPr/>
          <p:nvPr/>
        </p:nvSpPr>
        <p:spPr>
          <a:xfrm>
            <a:off x="6672064" y="2060576"/>
            <a:ext cx="3744862" cy="3456656"/>
          </a:xfrm>
          <a:prstGeom prst="rect">
            <a:avLst/>
          </a:prstGeom>
          <a:solidFill>
            <a:srgbClr val="E3E8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Abgerundetes Rechteck 36"/>
          <p:cNvSpPr/>
          <p:nvPr/>
        </p:nvSpPr>
        <p:spPr>
          <a:xfrm>
            <a:off x="2072500" y="1484784"/>
            <a:ext cx="3601031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grpSp>
        <p:nvGrpSpPr>
          <p:cNvPr id="3" name="Gruppierung 2"/>
          <p:cNvGrpSpPr/>
          <p:nvPr/>
        </p:nvGrpSpPr>
        <p:grpSpPr>
          <a:xfrm>
            <a:off x="2075450" y="2060574"/>
            <a:ext cx="4176415" cy="3456657"/>
            <a:chOff x="2075450" y="2060574"/>
            <a:chExt cx="4176415" cy="3456657"/>
          </a:xfrm>
        </p:grpSpPr>
        <p:grpSp>
          <p:nvGrpSpPr>
            <p:cNvPr id="34" name="Gruppierung 33"/>
            <p:cNvGrpSpPr/>
            <p:nvPr/>
          </p:nvGrpSpPr>
          <p:grpSpPr>
            <a:xfrm>
              <a:off x="2075450" y="2060574"/>
              <a:ext cx="4176415" cy="3456657"/>
              <a:chOff x="479425" y="2060574"/>
              <a:chExt cx="2970289" cy="3456657"/>
            </a:xfrm>
          </p:grpSpPr>
          <p:sp>
            <p:nvSpPr>
              <p:cNvPr id="35" name="Rechteck 34"/>
              <p:cNvSpPr/>
              <p:nvPr/>
            </p:nvSpPr>
            <p:spPr>
              <a:xfrm>
                <a:off x="479425" y="2060574"/>
                <a:ext cx="2558975" cy="3456657"/>
              </a:xfrm>
              <a:prstGeom prst="rect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Dreieck 35"/>
              <p:cNvSpPr/>
              <p:nvPr/>
            </p:nvSpPr>
            <p:spPr>
              <a:xfrm rot="5400000">
                <a:off x="1511715" y="3579233"/>
                <a:ext cx="3456657" cy="419340"/>
              </a:xfrm>
              <a:prstGeom prst="triangle">
                <a:avLst/>
              </a:prstGeom>
              <a:solidFill>
                <a:srgbClr val="E3E8E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8" name="Textfeld 37"/>
            <p:cNvSpPr txBox="1"/>
            <p:nvPr/>
          </p:nvSpPr>
          <p:spPr>
            <a:xfrm>
              <a:off x="2229704" y="2280875"/>
              <a:ext cx="3374137" cy="2876913"/>
            </a:xfrm>
            <a:prstGeom prst="rect">
              <a:avLst/>
            </a:prstGeom>
            <a:noFill/>
          </p:spPr>
          <p:txBody>
            <a:bodyPr wrap="square" rtlCol="0" anchor="t" anchorCtr="0">
              <a:normAutofit/>
            </a:bodyPr>
            <a:lstStyle/>
            <a:p>
              <a:pPr marL="342900" indent="-342900">
                <a:lnSpc>
                  <a:spcPct val="150000"/>
                </a:lnSpc>
                <a:buClr>
                  <a:srgbClr val="1D2262"/>
                </a:buClr>
                <a:buFont typeface="Helvetica" charset="0"/>
                <a:buChar char="●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Erste Ebene</a:t>
              </a:r>
            </a:p>
            <a:p>
              <a:pPr marL="800100" lvl="1" indent="-342900">
                <a:lnSpc>
                  <a:spcPct val="150000"/>
                </a:lnSpc>
                <a:buFont typeface="Courier New" charset="0"/>
                <a:buChar char="o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Zweite Ebene</a:t>
              </a:r>
            </a:p>
            <a:p>
              <a:pPr marL="1257300" lvl="2" indent="-342900">
                <a:lnSpc>
                  <a:spcPct val="150000"/>
                </a:lnSpc>
                <a:buFont typeface="Symbol" charset="2"/>
                <a:buChar char="-"/>
              </a:pPr>
              <a:r>
                <a:rPr lang="de-DE" sz="1400" dirty="0">
                  <a:solidFill>
                    <a:srgbClr val="1D2262"/>
                  </a:solidFill>
                  <a:latin typeface="Arial" charset="0"/>
                  <a:ea typeface="Arial" charset="0"/>
                  <a:cs typeface="Arial" charset="0"/>
                </a:rPr>
                <a:t>Dritte Ebene</a:t>
              </a:r>
            </a:p>
            <a:p>
              <a:pPr>
                <a:lnSpc>
                  <a:spcPct val="150000"/>
                </a:lnSpc>
              </a:pPr>
              <a:endPara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9" name="Textfeld 38"/>
          <p:cNvSpPr txBox="1"/>
          <p:nvPr/>
        </p:nvSpPr>
        <p:spPr>
          <a:xfrm>
            <a:off x="6857426" y="2280875"/>
            <a:ext cx="3374137" cy="2876913"/>
          </a:xfrm>
          <a:prstGeom prst="rect">
            <a:avLst/>
          </a:prstGeom>
          <a:noFill/>
        </p:spPr>
        <p:txBody>
          <a:bodyPr wrap="square" rtlCol="0" anchor="t" anchorCtr="0">
            <a:normAutofit/>
          </a:bodyPr>
          <a:lstStyle/>
          <a:p>
            <a:pPr marL="342900" indent="-342900">
              <a:lnSpc>
                <a:spcPct val="150000"/>
              </a:lnSpc>
              <a:buClr>
                <a:srgbClr val="1D2262"/>
              </a:buClr>
              <a:buFont typeface="Helvetica" charset="0"/>
              <a:buChar char="●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Erste Ebene</a:t>
            </a:r>
          </a:p>
          <a:p>
            <a:pPr marL="800100" lvl="1" indent="-342900">
              <a:lnSpc>
                <a:spcPct val="150000"/>
              </a:lnSpc>
              <a:buFont typeface="Courier New" charset="0"/>
              <a:buChar char="o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Zweite Ebene</a:t>
            </a:r>
          </a:p>
          <a:p>
            <a:pPr marL="1257300" lvl="2" indent="-342900">
              <a:lnSpc>
                <a:spcPct val="150000"/>
              </a:lnSpc>
              <a:buFont typeface="Symbol" charset="2"/>
              <a:buChar char="-"/>
            </a:pPr>
            <a:r>
              <a:rPr lang="de-DE" sz="1400" dirty="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Dritte Ebene</a:t>
            </a:r>
          </a:p>
          <a:p>
            <a:pPr>
              <a:lnSpc>
                <a:spcPct val="150000"/>
              </a:lnSpc>
            </a:pPr>
            <a:endParaRPr lang="de-DE" sz="14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0" name="Abgerundetes Rechteck 39"/>
          <p:cNvSpPr/>
          <p:nvPr/>
        </p:nvSpPr>
        <p:spPr>
          <a:xfrm>
            <a:off x="6672064" y="1484784"/>
            <a:ext cx="3744862" cy="504056"/>
          </a:xfrm>
          <a:prstGeom prst="roundRect">
            <a:avLst/>
          </a:prstGeom>
          <a:solidFill>
            <a:srgbClr val="2F5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10000"/>
          </a:bodyPr>
          <a:lstStyle/>
          <a:p>
            <a:pPr algn="ctr"/>
            <a:r>
              <a:rPr lang="de-DE" sz="1500" b="1" dirty="0">
                <a:latin typeface="Arial" charset="0"/>
                <a:ea typeface="Arial" charset="0"/>
                <a:cs typeface="Arial" charset="0"/>
              </a:rPr>
              <a:t>Titel</a:t>
            </a:r>
          </a:p>
          <a:p>
            <a:pPr algn="ctr"/>
            <a:r>
              <a:rPr lang="de-DE" sz="1200" dirty="0">
                <a:latin typeface="Arial" charset="0"/>
                <a:ea typeface="Arial" charset="0"/>
                <a:cs typeface="Arial" charset="0"/>
              </a:rPr>
              <a:t>Einheit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87964" y="6432034"/>
            <a:ext cx="4114800" cy="365125"/>
          </a:xfrm>
        </p:spPr>
        <p:txBody>
          <a:bodyPr/>
          <a:lstStyle/>
          <a:p>
            <a:pPr algn="l"/>
            <a:r>
              <a:rPr lang="de-DE" sz="1000">
                <a:solidFill>
                  <a:srgbClr val="1D2262"/>
                </a:solidFill>
                <a:latin typeface="Arial" charset="0"/>
                <a:ea typeface="Arial" charset="0"/>
                <a:cs typeface="Arial" charset="0"/>
              </a:rPr>
              <a:t>Fußzeile </a:t>
            </a:r>
            <a:endParaRPr lang="de-DE" sz="1000" dirty="0">
              <a:solidFill>
                <a:srgbClr val="1D226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1856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8WOtjl0y.jXwXheS_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oMdPeTLkCN_XVRYF39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l.EkOxj0SD1j7mmMaz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oMdPeTLkCN_XVRYF39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l.EkOxj0SD1j7mmMaz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WPSuAch0GOGwMH9lRS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9pUHYIu0iLmrsT3OF2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uT4lTvU6jKzZdSuxs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uzc3gmgkqoHJdbzRUZ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oMdPeTLkCN_XVRYF39.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l.EkOxj0SD1j7mmMaz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9pUHYIu0iLmrsT3OF2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LJYTj8ECbYWRpEq3G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RkIZsLxEWFTtrOGJiH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WPSuAch0GOGwMH9lRS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9pUHYIu0iLmrsT3OF2Z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L9IyJ1jkeKbQP0oRT5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2jWH3.EKQgnRSLAOa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uT4lTvU6jKzZdSuxs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y8lfwtESG1OZnbaUH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LJYTj8ECbYWRpEq3G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p3A7arx0mIL496QYN_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UdhtcFM0GS44Oq65nu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YizrWSNEystm2bWe1T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3xyTvjY06FHqa79_Ix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RkIZsLxEWFTtrOGJiHow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01</Words>
  <Application>Microsoft Office PowerPoint</Application>
  <PresentationFormat>Breitbild</PresentationFormat>
  <Paragraphs>1049</Paragraphs>
  <Slides>74</Slides>
  <Notes>7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4</vt:i4>
      </vt:variant>
    </vt:vector>
  </HeadingPairs>
  <TitlesOfParts>
    <vt:vector size="87" baseType="lpstr">
      <vt:lpstr>SimSun</vt:lpstr>
      <vt:lpstr>Arial</vt:lpstr>
      <vt:lpstr>Calibri</vt:lpstr>
      <vt:lpstr>Calibri Light</vt:lpstr>
      <vt:lpstr>Courier New</vt:lpstr>
      <vt:lpstr>Georgia</vt:lpstr>
      <vt:lpstr>Helvetica</vt:lpstr>
      <vt:lpstr>Symbol</vt:lpstr>
      <vt:lpstr>Tahoma</vt:lpstr>
      <vt:lpstr>Times</vt:lpstr>
      <vt:lpstr>Trebuchet MS</vt:lpstr>
      <vt:lpstr>Wingdings 3</vt:lpstr>
      <vt:lpstr>Office-Design</vt:lpstr>
      <vt:lpstr>Präsentationstitel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ura Molkenstroth</dc:creator>
  <cp:lastModifiedBy>Christian Ringwald</cp:lastModifiedBy>
  <cp:revision>566</cp:revision>
  <cp:lastPrinted>2017-05-27T23:38:33Z</cp:lastPrinted>
  <dcterms:created xsi:type="dcterms:W3CDTF">2017-05-19T18:46:55Z</dcterms:created>
  <dcterms:modified xsi:type="dcterms:W3CDTF">2017-08-20T10:30:39Z</dcterms:modified>
</cp:coreProperties>
</file>